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5" r:id="rId6"/>
  </p:sldMasterIdLst>
  <p:notesMasterIdLst>
    <p:notesMasterId r:id="rId43"/>
  </p:notesMasterIdLst>
  <p:handoutMasterIdLst>
    <p:handoutMasterId r:id="rId44"/>
  </p:handoutMasterIdLst>
  <p:sldIdLst>
    <p:sldId id="256" r:id="rId7"/>
    <p:sldId id="279" r:id="rId8"/>
    <p:sldId id="288" r:id="rId9"/>
    <p:sldId id="292" r:id="rId10"/>
    <p:sldId id="282" r:id="rId11"/>
    <p:sldId id="284" r:id="rId12"/>
    <p:sldId id="286" r:id="rId13"/>
    <p:sldId id="276" r:id="rId14"/>
    <p:sldId id="287" r:id="rId15"/>
    <p:sldId id="267" r:id="rId16"/>
    <p:sldId id="268" r:id="rId17"/>
    <p:sldId id="269" r:id="rId18"/>
    <p:sldId id="274" r:id="rId19"/>
    <p:sldId id="275" r:id="rId20"/>
    <p:sldId id="318" r:id="rId21"/>
    <p:sldId id="356" r:id="rId22"/>
    <p:sldId id="319" r:id="rId23"/>
    <p:sldId id="342" r:id="rId24"/>
    <p:sldId id="343" r:id="rId25"/>
    <p:sldId id="353" r:id="rId26"/>
    <p:sldId id="340" r:id="rId27"/>
    <p:sldId id="337" r:id="rId28"/>
    <p:sldId id="341" r:id="rId29"/>
    <p:sldId id="339" r:id="rId30"/>
    <p:sldId id="338" r:id="rId31"/>
    <p:sldId id="354" r:id="rId32"/>
    <p:sldId id="357" r:id="rId33"/>
    <p:sldId id="344" r:id="rId34"/>
    <p:sldId id="355" r:id="rId35"/>
    <p:sldId id="261" r:id="rId36"/>
    <p:sldId id="351" r:id="rId37"/>
    <p:sldId id="346" r:id="rId38"/>
    <p:sldId id="347" r:id="rId39"/>
    <p:sldId id="348" r:id="rId40"/>
    <p:sldId id="349" r:id="rId41"/>
    <p:sldId id="350" r:id="rId42"/>
  </p:sldIdLst>
  <p:sldSz cx="9144000" cy="5143500" type="screen16x9"/>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4E21"/>
    <a:srgbClr val="F2F2F2"/>
    <a:srgbClr val="BBB0A6"/>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16" autoAdjust="0"/>
    <p:restoredTop sz="96433" autoAdjust="0"/>
  </p:normalViewPr>
  <p:slideViewPr>
    <p:cSldViewPr>
      <p:cViewPr varScale="1">
        <p:scale>
          <a:sx n="115" d="100"/>
          <a:sy n="115" d="100"/>
        </p:scale>
        <p:origin x="912" y="84"/>
      </p:cViewPr>
      <p:guideLst>
        <p:guide orient="horz" pos="1620"/>
        <p:guide pos="2880"/>
      </p:guideLst>
    </p:cSldViewPr>
  </p:slideViewPr>
  <p:notesTextViewPr>
    <p:cViewPr>
      <p:scale>
        <a:sx n="1" d="1"/>
        <a:sy n="1" d="1"/>
      </p:scale>
      <p:origin x="0" y="0"/>
    </p:cViewPr>
  </p:notesTextViewPr>
  <p:sorterViewPr>
    <p:cViewPr>
      <p:scale>
        <a:sx n="100" d="100"/>
        <a:sy n="100" d="100"/>
      </p:scale>
      <p:origin x="0" y="-5550"/>
    </p:cViewPr>
  </p:sorterViewPr>
  <p:notesViewPr>
    <p:cSldViewPr>
      <p:cViewPr varScale="1">
        <p:scale>
          <a:sx n="97" d="100"/>
          <a:sy n="97" d="100"/>
        </p:scale>
        <p:origin x="-3540" y="-10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F43C49-D8E7-4642-A6A8-0628F22E5E47}"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78B3E94F-A953-4855-86C6-8537B38C0884}">
      <dgm:prSet phldrT="[Text]" custT="1"/>
      <dgm:spPr/>
      <dgm:t>
        <a:bodyPr/>
        <a:lstStyle/>
        <a:p>
          <a:r>
            <a:rPr lang="bg-BG" sz="1200" dirty="0" smtClean="0">
              <a:latin typeface="+mj-lt"/>
            </a:rPr>
            <a:t>Стъпка</a:t>
          </a:r>
          <a:r>
            <a:rPr lang="en-US" sz="1200" dirty="0" smtClean="0">
              <a:latin typeface="+mj-lt"/>
            </a:rPr>
            <a:t> 1</a:t>
          </a:r>
          <a:endParaRPr lang="en-US" sz="1200" dirty="0">
            <a:latin typeface="+mj-lt"/>
          </a:endParaRPr>
        </a:p>
      </dgm:t>
    </dgm:pt>
    <dgm:pt modelId="{F5CBF082-7C35-4214-8534-671472A7B273}" type="parTrans" cxnId="{869DCAE1-9D49-43A1-8570-616010C0DDB7}">
      <dgm:prSet/>
      <dgm:spPr/>
      <dgm:t>
        <a:bodyPr/>
        <a:lstStyle/>
        <a:p>
          <a:endParaRPr lang="en-US" sz="1200">
            <a:latin typeface="+mj-lt"/>
          </a:endParaRPr>
        </a:p>
      </dgm:t>
    </dgm:pt>
    <dgm:pt modelId="{9D2ECEB1-4580-475D-B3FB-F8E24D286BFC}" type="sibTrans" cxnId="{869DCAE1-9D49-43A1-8570-616010C0DDB7}">
      <dgm:prSet/>
      <dgm:spPr/>
      <dgm:t>
        <a:bodyPr/>
        <a:lstStyle/>
        <a:p>
          <a:endParaRPr lang="en-US" sz="1200">
            <a:latin typeface="+mj-lt"/>
          </a:endParaRPr>
        </a:p>
      </dgm:t>
    </dgm:pt>
    <dgm:pt modelId="{B43B7AEA-EA86-488F-9F74-27E5986B9A5D}">
      <dgm:prSet phldrT="[Text]" custT="1"/>
      <dgm:spPr/>
      <dgm:t>
        <a:bodyPr/>
        <a:lstStyle/>
        <a:p>
          <a:r>
            <a:rPr lang="bg-BG" sz="1200" dirty="0" smtClean="0">
              <a:latin typeface="+mj-lt"/>
            </a:rPr>
            <a:t>Стъпка</a:t>
          </a:r>
          <a:r>
            <a:rPr lang="en-US" sz="1200" dirty="0" smtClean="0">
              <a:latin typeface="+mj-lt"/>
            </a:rPr>
            <a:t> 2</a:t>
          </a:r>
          <a:endParaRPr lang="en-US" sz="1200" dirty="0">
            <a:latin typeface="+mj-lt"/>
          </a:endParaRPr>
        </a:p>
      </dgm:t>
    </dgm:pt>
    <dgm:pt modelId="{A39B6CEC-1386-441F-B668-94DCB064313D}" type="parTrans" cxnId="{406643BD-189C-40AE-A4A7-1872289677E6}">
      <dgm:prSet/>
      <dgm:spPr/>
      <dgm:t>
        <a:bodyPr/>
        <a:lstStyle/>
        <a:p>
          <a:endParaRPr lang="en-US" sz="1200">
            <a:latin typeface="+mj-lt"/>
          </a:endParaRPr>
        </a:p>
      </dgm:t>
    </dgm:pt>
    <dgm:pt modelId="{9147CF6D-B4A3-47F3-9865-08F8D8417B69}" type="sibTrans" cxnId="{406643BD-189C-40AE-A4A7-1872289677E6}">
      <dgm:prSet/>
      <dgm:spPr/>
      <dgm:t>
        <a:bodyPr/>
        <a:lstStyle/>
        <a:p>
          <a:endParaRPr lang="en-US" sz="1200">
            <a:latin typeface="+mj-lt"/>
          </a:endParaRPr>
        </a:p>
      </dgm:t>
    </dgm:pt>
    <dgm:pt modelId="{ACD7E1B7-8235-4D21-BD19-6E357990A96D}">
      <dgm:prSet phldrT="[Text]" custT="1"/>
      <dgm:spPr/>
      <dgm:t>
        <a:bodyPr/>
        <a:lstStyle/>
        <a:p>
          <a:r>
            <a:rPr lang="bg-BG" sz="1200" dirty="0" smtClean="0">
              <a:latin typeface="+mj-lt"/>
            </a:rPr>
            <a:t>Стъпка</a:t>
          </a:r>
          <a:r>
            <a:rPr lang="en-US" sz="1200" dirty="0" smtClean="0">
              <a:latin typeface="+mj-lt"/>
            </a:rPr>
            <a:t> 3</a:t>
          </a:r>
          <a:endParaRPr lang="en-US" sz="1200" dirty="0">
            <a:latin typeface="+mj-lt"/>
          </a:endParaRPr>
        </a:p>
      </dgm:t>
    </dgm:pt>
    <dgm:pt modelId="{E48CB143-2474-4BDF-9C05-C05C27D7B272}" type="parTrans" cxnId="{F1432792-32DF-4D9E-BFD3-9C0C7F265A9F}">
      <dgm:prSet/>
      <dgm:spPr/>
      <dgm:t>
        <a:bodyPr/>
        <a:lstStyle/>
        <a:p>
          <a:endParaRPr lang="en-US" sz="1200">
            <a:latin typeface="+mj-lt"/>
          </a:endParaRPr>
        </a:p>
      </dgm:t>
    </dgm:pt>
    <dgm:pt modelId="{5DAD736F-47FE-4016-A56D-CA3E27E7E5E5}" type="sibTrans" cxnId="{F1432792-32DF-4D9E-BFD3-9C0C7F265A9F}">
      <dgm:prSet/>
      <dgm:spPr/>
      <dgm:t>
        <a:bodyPr/>
        <a:lstStyle/>
        <a:p>
          <a:endParaRPr lang="en-US" sz="1200">
            <a:latin typeface="+mj-lt"/>
          </a:endParaRPr>
        </a:p>
      </dgm:t>
    </dgm:pt>
    <dgm:pt modelId="{E879433B-AFF7-43D4-BD62-59011AC064BA}">
      <dgm:prSet phldrT="[Text]" custT="1"/>
      <dgm:spPr/>
      <dgm:t>
        <a:bodyPr/>
        <a:lstStyle/>
        <a:p>
          <a:r>
            <a:rPr lang="bg-BG" sz="1400" dirty="0" smtClean="0">
              <a:latin typeface="+mj-lt"/>
            </a:rPr>
            <a:t>Запрашени газове се всмукват в горната камера</a:t>
          </a:r>
          <a:endParaRPr lang="en-US" sz="1400" dirty="0">
            <a:latin typeface="+mj-lt"/>
          </a:endParaRPr>
        </a:p>
      </dgm:t>
    </dgm:pt>
    <dgm:pt modelId="{69876A53-A9FA-4BF1-BCB3-C878776819B1}" type="parTrans" cxnId="{525DEA3D-F51B-4660-B8CD-2D5E726025DB}">
      <dgm:prSet/>
      <dgm:spPr/>
      <dgm:t>
        <a:bodyPr/>
        <a:lstStyle/>
        <a:p>
          <a:endParaRPr lang="en-US"/>
        </a:p>
      </dgm:t>
    </dgm:pt>
    <dgm:pt modelId="{7A9AF1AB-A2DA-48AC-AB7B-54194DF1DEB3}" type="sibTrans" cxnId="{525DEA3D-F51B-4660-B8CD-2D5E726025DB}">
      <dgm:prSet/>
      <dgm:spPr/>
      <dgm:t>
        <a:bodyPr/>
        <a:lstStyle/>
        <a:p>
          <a:endParaRPr lang="en-US"/>
        </a:p>
      </dgm:t>
    </dgm:pt>
    <dgm:pt modelId="{D562B09D-B08C-4CAD-854C-1B14D05D27D2}">
      <dgm:prSet phldrT="[Text]" custT="1"/>
      <dgm:spPr/>
      <dgm:t>
        <a:bodyPr/>
        <a:lstStyle/>
        <a:p>
          <a:r>
            <a:rPr lang="bg-BG" sz="1400" dirty="0" smtClean="0">
              <a:latin typeface="+mj-lt"/>
            </a:rPr>
            <a:t>Замърсените частици се отделят в контейнер за съхранение</a:t>
          </a:r>
          <a:endParaRPr lang="en-US" sz="1400" dirty="0">
            <a:latin typeface="+mj-lt"/>
          </a:endParaRPr>
        </a:p>
      </dgm:t>
    </dgm:pt>
    <dgm:pt modelId="{102E9EA2-CE34-43F2-A446-87648A752B7D}" type="parTrans" cxnId="{F5685946-4567-4C75-AF5D-2BF80F388569}">
      <dgm:prSet/>
      <dgm:spPr/>
      <dgm:t>
        <a:bodyPr/>
        <a:lstStyle/>
        <a:p>
          <a:endParaRPr lang="en-US"/>
        </a:p>
      </dgm:t>
    </dgm:pt>
    <dgm:pt modelId="{5889E9FC-27D0-4BAA-9E5A-0DAD8587D25E}" type="sibTrans" cxnId="{F5685946-4567-4C75-AF5D-2BF80F388569}">
      <dgm:prSet/>
      <dgm:spPr/>
      <dgm:t>
        <a:bodyPr/>
        <a:lstStyle/>
        <a:p>
          <a:endParaRPr lang="en-US"/>
        </a:p>
      </dgm:t>
    </dgm:pt>
    <dgm:pt modelId="{91A4EB27-2AE7-4147-8681-4A626E3C0781}">
      <dgm:prSet phldrT="[Text]" custT="1"/>
      <dgm:spPr/>
      <dgm:t>
        <a:bodyPr/>
        <a:lstStyle/>
        <a:p>
          <a:r>
            <a:rPr lang="bg-BG" sz="1400" dirty="0" smtClean="0">
              <a:latin typeface="+mj-lt"/>
            </a:rPr>
            <a:t>Пречистения въздух се отделя в атмосферата</a:t>
          </a:r>
          <a:endParaRPr lang="en-US" sz="1400" dirty="0">
            <a:latin typeface="+mj-lt"/>
          </a:endParaRPr>
        </a:p>
      </dgm:t>
    </dgm:pt>
    <dgm:pt modelId="{171707C9-5624-459D-9831-ADADFC3FFFA5}" type="parTrans" cxnId="{9C0EA3DF-9B0C-4FCF-A1CD-CE12538E7EF4}">
      <dgm:prSet/>
      <dgm:spPr/>
      <dgm:t>
        <a:bodyPr/>
        <a:lstStyle/>
        <a:p>
          <a:endParaRPr lang="en-US"/>
        </a:p>
      </dgm:t>
    </dgm:pt>
    <dgm:pt modelId="{D16E923A-40B5-4A14-88DA-6A7C07CFD02A}" type="sibTrans" cxnId="{9C0EA3DF-9B0C-4FCF-A1CD-CE12538E7EF4}">
      <dgm:prSet/>
      <dgm:spPr/>
      <dgm:t>
        <a:bodyPr/>
        <a:lstStyle/>
        <a:p>
          <a:endParaRPr lang="en-US"/>
        </a:p>
      </dgm:t>
    </dgm:pt>
    <dgm:pt modelId="{D06CF649-B4A7-4198-B251-E86F315002B4}" type="pres">
      <dgm:prSet presAssocID="{9FF43C49-D8E7-4642-A6A8-0628F22E5E47}" presName="linearFlow" presStyleCnt="0">
        <dgm:presLayoutVars>
          <dgm:dir/>
          <dgm:animLvl val="lvl"/>
          <dgm:resizeHandles val="exact"/>
        </dgm:presLayoutVars>
      </dgm:prSet>
      <dgm:spPr/>
      <dgm:t>
        <a:bodyPr/>
        <a:lstStyle/>
        <a:p>
          <a:endParaRPr lang="en-US"/>
        </a:p>
      </dgm:t>
    </dgm:pt>
    <dgm:pt modelId="{221F9020-1E62-4137-832F-1AA10A8CAB81}" type="pres">
      <dgm:prSet presAssocID="{78B3E94F-A953-4855-86C6-8537B38C0884}" presName="composite" presStyleCnt="0"/>
      <dgm:spPr/>
    </dgm:pt>
    <dgm:pt modelId="{0B8EFA34-2D40-4F90-A581-18EBD7EEEA3B}" type="pres">
      <dgm:prSet presAssocID="{78B3E94F-A953-4855-86C6-8537B38C0884}" presName="parentText" presStyleLbl="alignNode1" presStyleIdx="0" presStyleCnt="3">
        <dgm:presLayoutVars>
          <dgm:chMax val="1"/>
          <dgm:bulletEnabled val="1"/>
        </dgm:presLayoutVars>
      </dgm:prSet>
      <dgm:spPr/>
      <dgm:t>
        <a:bodyPr/>
        <a:lstStyle/>
        <a:p>
          <a:endParaRPr lang="en-US"/>
        </a:p>
      </dgm:t>
    </dgm:pt>
    <dgm:pt modelId="{F48585BC-E095-4C21-BE63-3846FB7DF04E}" type="pres">
      <dgm:prSet presAssocID="{78B3E94F-A953-4855-86C6-8537B38C0884}" presName="descendantText" presStyleLbl="alignAcc1" presStyleIdx="0" presStyleCnt="3">
        <dgm:presLayoutVars>
          <dgm:bulletEnabled val="1"/>
        </dgm:presLayoutVars>
      </dgm:prSet>
      <dgm:spPr/>
      <dgm:t>
        <a:bodyPr/>
        <a:lstStyle/>
        <a:p>
          <a:endParaRPr lang="en-US"/>
        </a:p>
      </dgm:t>
    </dgm:pt>
    <dgm:pt modelId="{FE67BE0D-3937-4DD4-8980-CB6D137C878E}" type="pres">
      <dgm:prSet presAssocID="{9D2ECEB1-4580-475D-B3FB-F8E24D286BFC}" presName="sp" presStyleCnt="0"/>
      <dgm:spPr/>
    </dgm:pt>
    <dgm:pt modelId="{E01AD6FC-5486-4EA0-9068-2ED3D863D034}" type="pres">
      <dgm:prSet presAssocID="{B43B7AEA-EA86-488F-9F74-27E5986B9A5D}" presName="composite" presStyleCnt="0"/>
      <dgm:spPr/>
    </dgm:pt>
    <dgm:pt modelId="{A2C4E774-2372-4C24-A259-BFE579EC2FEF}" type="pres">
      <dgm:prSet presAssocID="{B43B7AEA-EA86-488F-9F74-27E5986B9A5D}" presName="parentText" presStyleLbl="alignNode1" presStyleIdx="1" presStyleCnt="3">
        <dgm:presLayoutVars>
          <dgm:chMax val="1"/>
          <dgm:bulletEnabled val="1"/>
        </dgm:presLayoutVars>
      </dgm:prSet>
      <dgm:spPr/>
      <dgm:t>
        <a:bodyPr/>
        <a:lstStyle/>
        <a:p>
          <a:endParaRPr lang="en-US"/>
        </a:p>
      </dgm:t>
    </dgm:pt>
    <dgm:pt modelId="{10BAF3FB-696F-41F6-A16C-70CEFC50117A}" type="pres">
      <dgm:prSet presAssocID="{B43B7AEA-EA86-488F-9F74-27E5986B9A5D}" presName="descendantText" presStyleLbl="alignAcc1" presStyleIdx="1" presStyleCnt="3">
        <dgm:presLayoutVars>
          <dgm:bulletEnabled val="1"/>
        </dgm:presLayoutVars>
      </dgm:prSet>
      <dgm:spPr/>
      <dgm:t>
        <a:bodyPr/>
        <a:lstStyle/>
        <a:p>
          <a:endParaRPr lang="en-US"/>
        </a:p>
      </dgm:t>
    </dgm:pt>
    <dgm:pt modelId="{C515A201-C297-4AFE-A7D5-756BE867419B}" type="pres">
      <dgm:prSet presAssocID="{9147CF6D-B4A3-47F3-9865-08F8D8417B69}" presName="sp" presStyleCnt="0"/>
      <dgm:spPr/>
    </dgm:pt>
    <dgm:pt modelId="{43DCB9C4-7707-44A2-BC4F-883DB9273CB3}" type="pres">
      <dgm:prSet presAssocID="{ACD7E1B7-8235-4D21-BD19-6E357990A96D}" presName="composite" presStyleCnt="0"/>
      <dgm:spPr/>
    </dgm:pt>
    <dgm:pt modelId="{A2E2BA07-509D-4ED1-996E-63746B4B311F}" type="pres">
      <dgm:prSet presAssocID="{ACD7E1B7-8235-4D21-BD19-6E357990A96D}" presName="parentText" presStyleLbl="alignNode1" presStyleIdx="2" presStyleCnt="3">
        <dgm:presLayoutVars>
          <dgm:chMax val="1"/>
          <dgm:bulletEnabled val="1"/>
        </dgm:presLayoutVars>
      </dgm:prSet>
      <dgm:spPr/>
      <dgm:t>
        <a:bodyPr/>
        <a:lstStyle/>
        <a:p>
          <a:endParaRPr lang="en-US"/>
        </a:p>
      </dgm:t>
    </dgm:pt>
    <dgm:pt modelId="{2BC51DDE-1A4A-4149-BA96-F15F4BF5C089}" type="pres">
      <dgm:prSet presAssocID="{ACD7E1B7-8235-4D21-BD19-6E357990A96D}" presName="descendantText" presStyleLbl="alignAcc1" presStyleIdx="2" presStyleCnt="3">
        <dgm:presLayoutVars>
          <dgm:bulletEnabled val="1"/>
        </dgm:presLayoutVars>
      </dgm:prSet>
      <dgm:spPr/>
      <dgm:t>
        <a:bodyPr/>
        <a:lstStyle/>
        <a:p>
          <a:endParaRPr lang="en-US"/>
        </a:p>
      </dgm:t>
    </dgm:pt>
  </dgm:ptLst>
  <dgm:cxnLst>
    <dgm:cxn modelId="{F400696A-C7AE-4647-9421-0FD7AB79AB65}" type="presOf" srcId="{E879433B-AFF7-43D4-BD62-59011AC064BA}" destId="{F48585BC-E095-4C21-BE63-3846FB7DF04E}" srcOrd="0" destOrd="0" presId="urn:microsoft.com/office/officeart/2005/8/layout/chevron2"/>
    <dgm:cxn modelId="{8605C7DA-629E-4CAD-984C-6B0019F5253A}" type="presOf" srcId="{91A4EB27-2AE7-4147-8681-4A626E3C0781}" destId="{2BC51DDE-1A4A-4149-BA96-F15F4BF5C089}" srcOrd="0" destOrd="0" presId="urn:microsoft.com/office/officeart/2005/8/layout/chevron2"/>
    <dgm:cxn modelId="{EC5A7490-A676-4E90-A157-64D4350FBBD0}" type="presOf" srcId="{78B3E94F-A953-4855-86C6-8537B38C0884}" destId="{0B8EFA34-2D40-4F90-A581-18EBD7EEEA3B}" srcOrd="0" destOrd="0" presId="urn:microsoft.com/office/officeart/2005/8/layout/chevron2"/>
    <dgm:cxn modelId="{869DCAE1-9D49-43A1-8570-616010C0DDB7}" srcId="{9FF43C49-D8E7-4642-A6A8-0628F22E5E47}" destId="{78B3E94F-A953-4855-86C6-8537B38C0884}" srcOrd="0" destOrd="0" parTransId="{F5CBF082-7C35-4214-8534-671472A7B273}" sibTransId="{9D2ECEB1-4580-475D-B3FB-F8E24D286BFC}"/>
    <dgm:cxn modelId="{F5685946-4567-4C75-AF5D-2BF80F388569}" srcId="{B43B7AEA-EA86-488F-9F74-27E5986B9A5D}" destId="{D562B09D-B08C-4CAD-854C-1B14D05D27D2}" srcOrd="0" destOrd="0" parTransId="{102E9EA2-CE34-43F2-A446-87648A752B7D}" sibTransId="{5889E9FC-27D0-4BAA-9E5A-0DAD8587D25E}"/>
    <dgm:cxn modelId="{73C7D613-1A11-4222-A4F1-BCBD6A24CC4C}" type="presOf" srcId="{D562B09D-B08C-4CAD-854C-1B14D05D27D2}" destId="{10BAF3FB-696F-41F6-A16C-70CEFC50117A}" srcOrd="0" destOrd="0" presId="urn:microsoft.com/office/officeart/2005/8/layout/chevron2"/>
    <dgm:cxn modelId="{35F1292C-2B6C-409B-80B5-7EF0BA261108}" type="presOf" srcId="{ACD7E1B7-8235-4D21-BD19-6E357990A96D}" destId="{A2E2BA07-509D-4ED1-996E-63746B4B311F}" srcOrd="0" destOrd="0" presId="urn:microsoft.com/office/officeart/2005/8/layout/chevron2"/>
    <dgm:cxn modelId="{5BE15AA6-F48C-4C15-8430-E543854DC143}" type="presOf" srcId="{B43B7AEA-EA86-488F-9F74-27E5986B9A5D}" destId="{A2C4E774-2372-4C24-A259-BFE579EC2FEF}" srcOrd="0" destOrd="0" presId="urn:microsoft.com/office/officeart/2005/8/layout/chevron2"/>
    <dgm:cxn modelId="{406643BD-189C-40AE-A4A7-1872289677E6}" srcId="{9FF43C49-D8E7-4642-A6A8-0628F22E5E47}" destId="{B43B7AEA-EA86-488F-9F74-27E5986B9A5D}" srcOrd="1" destOrd="0" parTransId="{A39B6CEC-1386-441F-B668-94DCB064313D}" sibTransId="{9147CF6D-B4A3-47F3-9865-08F8D8417B69}"/>
    <dgm:cxn modelId="{C0821871-D220-4A67-B41A-B4270029FF23}" type="presOf" srcId="{9FF43C49-D8E7-4642-A6A8-0628F22E5E47}" destId="{D06CF649-B4A7-4198-B251-E86F315002B4}" srcOrd="0" destOrd="0" presId="urn:microsoft.com/office/officeart/2005/8/layout/chevron2"/>
    <dgm:cxn modelId="{9C0EA3DF-9B0C-4FCF-A1CD-CE12538E7EF4}" srcId="{ACD7E1B7-8235-4D21-BD19-6E357990A96D}" destId="{91A4EB27-2AE7-4147-8681-4A626E3C0781}" srcOrd="0" destOrd="0" parTransId="{171707C9-5624-459D-9831-ADADFC3FFFA5}" sibTransId="{D16E923A-40B5-4A14-88DA-6A7C07CFD02A}"/>
    <dgm:cxn modelId="{525DEA3D-F51B-4660-B8CD-2D5E726025DB}" srcId="{78B3E94F-A953-4855-86C6-8537B38C0884}" destId="{E879433B-AFF7-43D4-BD62-59011AC064BA}" srcOrd="0" destOrd="0" parTransId="{69876A53-A9FA-4BF1-BCB3-C878776819B1}" sibTransId="{7A9AF1AB-A2DA-48AC-AB7B-54194DF1DEB3}"/>
    <dgm:cxn modelId="{F1432792-32DF-4D9E-BFD3-9C0C7F265A9F}" srcId="{9FF43C49-D8E7-4642-A6A8-0628F22E5E47}" destId="{ACD7E1B7-8235-4D21-BD19-6E357990A96D}" srcOrd="2" destOrd="0" parTransId="{E48CB143-2474-4BDF-9C05-C05C27D7B272}" sibTransId="{5DAD736F-47FE-4016-A56D-CA3E27E7E5E5}"/>
    <dgm:cxn modelId="{C4FBFA1C-335B-4A7C-8BE9-C94ED36C48C1}" type="presParOf" srcId="{D06CF649-B4A7-4198-B251-E86F315002B4}" destId="{221F9020-1E62-4137-832F-1AA10A8CAB81}" srcOrd="0" destOrd="0" presId="urn:microsoft.com/office/officeart/2005/8/layout/chevron2"/>
    <dgm:cxn modelId="{F874F6AC-F625-45E4-AB1F-54E1B230C9CB}" type="presParOf" srcId="{221F9020-1E62-4137-832F-1AA10A8CAB81}" destId="{0B8EFA34-2D40-4F90-A581-18EBD7EEEA3B}" srcOrd="0" destOrd="0" presId="urn:microsoft.com/office/officeart/2005/8/layout/chevron2"/>
    <dgm:cxn modelId="{B59B1AAD-D127-4048-B788-8B5AD7A08780}" type="presParOf" srcId="{221F9020-1E62-4137-832F-1AA10A8CAB81}" destId="{F48585BC-E095-4C21-BE63-3846FB7DF04E}" srcOrd="1" destOrd="0" presId="urn:microsoft.com/office/officeart/2005/8/layout/chevron2"/>
    <dgm:cxn modelId="{A08598B8-64DA-464C-91A2-97DA20B660C0}" type="presParOf" srcId="{D06CF649-B4A7-4198-B251-E86F315002B4}" destId="{FE67BE0D-3937-4DD4-8980-CB6D137C878E}" srcOrd="1" destOrd="0" presId="urn:microsoft.com/office/officeart/2005/8/layout/chevron2"/>
    <dgm:cxn modelId="{0F1C5BEE-2205-453B-A6CE-362FA1DE3FBC}" type="presParOf" srcId="{D06CF649-B4A7-4198-B251-E86F315002B4}" destId="{E01AD6FC-5486-4EA0-9068-2ED3D863D034}" srcOrd="2" destOrd="0" presId="urn:microsoft.com/office/officeart/2005/8/layout/chevron2"/>
    <dgm:cxn modelId="{C33C5204-D653-425B-A5F7-955E735866D7}" type="presParOf" srcId="{E01AD6FC-5486-4EA0-9068-2ED3D863D034}" destId="{A2C4E774-2372-4C24-A259-BFE579EC2FEF}" srcOrd="0" destOrd="0" presId="urn:microsoft.com/office/officeart/2005/8/layout/chevron2"/>
    <dgm:cxn modelId="{350710C9-C611-45F2-8DAF-91174A3A1A32}" type="presParOf" srcId="{E01AD6FC-5486-4EA0-9068-2ED3D863D034}" destId="{10BAF3FB-696F-41F6-A16C-70CEFC50117A}" srcOrd="1" destOrd="0" presId="urn:microsoft.com/office/officeart/2005/8/layout/chevron2"/>
    <dgm:cxn modelId="{507B6FDE-19A3-47BE-BB5A-98DBC618B38B}" type="presParOf" srcId="{D06CF649-B4A7-4198-B251-E86F315002B4}" destId="{C515A201-C297-4AFE-A7D5-756BE867419B}" srcOrd="3" destOrd="0" presId="urn:microsoft.com/office/officeart/2005/8/layout/chevron2"/>
    <dgm:cxn modelId="{938B1AA7-A501-4BBC-BCA2-7615E7308F62}" type="presParOf" srcId="{D06CF649-B4A7-4198-B251-E86F315002B4}" destId="{43DCB9C4-7707-44A2-BC4F-883DB9273CB3}" srcOrd="4" destOrd="0" presId="urn:microsoft.com/office/officeart/2005/8/layout/chevron2"/>
    <dgm:cxn modelId="{784675D3-9685-4A4A-9841-6252C6F4D2EF}" type="presParOf" srcId="{43DCB9C4-7707-44A2-BC4F-883DB9273CB3}" destId="{A2E2BA07-509D-4ED1-996E-63746B4B311F}" srcOrd="0" destOrd="0" presId="urn:microsoft.com/office/officeart/2005/8/layout/chevron2"/>
    <dgm:cxn modelId="{AB22A0CF-E4B6-4CD5-AC8E-A8E241EF71F1}" type="presParOf" srcId="{43DCB9C4-7707-44A2-BC4F-883DB9273CB3}" destId="{2BC51DDE-1A4A-4149-BA96-F15F4BF5C089}"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F43C49-D8E7-4642-A6A8-0628F22E5E47}"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78B3E94F-A953-4855-86C6-8537B38C0884}">
      <dgm:prSet phldrT="[Text]"/>
      <dgm:spPr/>
      <dgm:t>
        <a:bodyPr/>
        <a:lstStyle/>
        <a:p>
          <a:r>
            <a:rPr lang="bg-BG" dirty="0" smtClean="0"/>
            <a:t>Стъпка</a:t>
          </a:r>
          <a:r>
            <a:rPr lang="en-US" dirty="0" smtClean="0"/>
            <a:t> 1</a:t>
          </a:r>
          <a:endParaRPr lang="en-US" dirty="0"/>
        </a:p>
      </dgm:t>
    </dgm:pt>
    <dgm:pt modelId="{F5CBF082-7C35-4214-8534-671472A7B273}" type="parTrans" cxnId="{869DCAE1-9D49-43A1-8570-616010C0DDB7}">
      <dgm:prSet/>
      <dgm:spPr/>
      <dgm:t>
        <a:bodyPr/>
        <a:lstStyle/>
        <a:p>
          <a:endParaRPr lang="en-US"/>
        </a:p>
      </dgm:t>
    </dgm:pt>
    <dgm:pt modelId="{9D2ECEB1-4580-475D-B3FB-F8E24D286BFC}" type="sibTrans" cxnId="{869DCAE1-9D49-43A1-8570-616010C0DDB7}">
      <dgm:prSet/>
      <dgm:spPr/>
      <dgm:t>
        <a:bodyPr/>
        <a:lstStyle/>
        <a:p>
          <a:endParaRPr lang="en-US"/>
        </a:p>
      </dgm:t>
    </dgm:pt>
    <dgm:pt modelId="{B43B7AEA-EA86-488F-9F74-27E5986B9A5D}">
      <dgm:prSet phldrT="[Text]"/>
      <dgm:spPr/>
      <dgm:t>
        <a:bodyPr/>
        <a:lstStyle/>
        <a:p>
          <a:r>
            <a:rPr lang="bg-BG" dirty="0" smtClean="0"/>
            <a:t>Стъпка</a:t>
          </a:r>
          <a:r>
            <a:rPr lang="en-US" dirty="0" smtClean="0"/>
            <a:t> 2</a:t>
          </a:r>
          <a:endParaRPr lang="en-US" dirty="0"/>
        </a:p>
      </dgm:t>
    </dgm:pt>
    <dgm:pt modelId="{A39B6CEC-1386-441F-B668-94DCB064313D}" type="parTrans" cxnId="{406643BD-189C-40AE-A4A7-1872289677E6}">
      <dgm:prSet/>
      <dgm:spPr/>
      <dgm:t>
        <a:bodyPr/>
        <a:lstStyle/>
        <a:p>
          <a:endParaRPr lang="en-US"/>
        </a:p>
      </dgm:t>
    </dgm:pt>
    <dgm:pt modelId="{9147CF6D-B4A3-47F3-9865-08F8D8417B69}" type="sibTrans" cxnId="{406643BD-189C-40AE-A4A7-1872289677E6}">
      <dgm:prSet/>
      <dgm:spPr/>
      <dgm:t>
        <a:bodyPr/>
        <a:lstStyle/>
        <a:p>
          <a:endParaRPr lang="en-US"/>
        </a:p>
      </dgm:t>
    </dgm:pt>
    <dgm:pt modelId="{ED579A61-9709-45AB-B899-73F827402FC9}">
      <dgm:prSet phldrT="[Text]"/>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solidFill>
                <a:srgbClr val="191919"/>
              </a:solidFill>
              <a:latin typeface="+mj-lt"/>
            </a:rPr>
            <a:t> </a:t>
          </a:r>
          <a:r>
            <a:rPr lang="bg-BG" dirty="0" smtClean="0">
              <a:solidFill>
                <a:srgbClr val="191919"/>
              </a:solidFill>
              <a:latin typeface="+mj-lt"/>
            </a:rPr>
            <a:t>Топлия въздух преминава              през </a:t>
          </a:r>
          <a:r>
            <a:rPr lang="bg-BG" dirty="0" smtClean="0">
              <a:solidFill>
                <a:srgbClr val="191919"/>
              </a:solidFill>
              <a:latin typeface="+mj-lt"/>
            </a:rPr>
            <a:t>охладител</a:t>
          </a:r>
          <a:endParaRPr lang="en-US" dirty="0">
            <a:latin typeface="+mj-lt"/>
          </a:endParaRPr>
        </a:p>
      </dgm:t>
    </dgm:pt>
    <dgm:pt modelId="{3F0180EC-AE9A-4905-882C-67033FFCD8C7}" type="parTrans" cxnId="{DE34BA4E-F2FC-4391-8417-1E67969E5887}">
      <dgm:prSet/>
      <dgm:spPr/>
      <dgm:t>
        <a:bodyPr/>
        <a:lstStyle/>
        <a:p>
          <a:endParaRPr lang="en-US"/>
        </a:p>
      </dgm:t>
    </dgm:pt>
    <dgm:pt modelId="{4B19B919-6E33-45D3-AF3E-264FF5E542A6}" type="sibTrans" cxnId="{DE34BA4E-F2FC-4391-8417-1E67969E5887}">
      <dgm:prSet/>
      <dgm:spPr/>
      <dgm:t>
        <a:bodyPr/>
        <a:lstStyle/>
        <a:p>
          <a:endParaRPr lang="en-US"/>
        </a:p>
      </dgm:t>
    </dgm:pt>
    <dgm:pt modelId="{ACD7E1B7-8235-4D21-BD19-6E357990A96D}">
      <dgm:prSet phldrT="[Text]"/>
      <dgm:spPr/>
      <dgm:t>
        <a:bodyPr/>
        <a:lstStyle/>
        <a:p>
          <a:r>
            <a:rPr lang="bg-BG" dirty="0" smtClean="0"/>
            <a:t>Стъпка</a:t>
          </a:r>
          <a:r>
            <a:rPr lang="en-US" dirty="0" smtClean="0"/>
            <a:t> 3</a:t>
          </a:r>
          <a:endParaRPr lang="en-US" dirty="0"/>
        </a:p>
      </dgm:t>
    </dgm:pt>
    <dgm:pt modelId="{E48CB143-2474-4BDF-9C05-C05C27D7B272}" type="parTrans" cxnId="{F1432792-32DF-4D9E-BFD3-9C0C7F265A9F}">
      <dgm:prSet/>
      <dgm:spPr/>
      <dgm:t>
        <a:bodyPr/>
        <a:lstStyle/>
        <a:p>
          <a:endParaRPr lang="en-US"/>
        </a:p>
      </dgm:t>
    </dgm:pt>
    <dgm:pt modelId="{5DAD736F-47FE-4016-A56D-CA3E27E7E5E5}" type="sibTrans" cxnId="{F1432792-32DF-4D9E-BFD3-9C0C7F265A9F}">
      <dgm:prSet/>
      <dgm:spPr/>
      <dgm:t>
        <a:bodyPr/>
        <a:lstStyle/>
        <a:p>
          <a:endParaRPr lang="en-US"/>
        </a:p>
      </dgm:t>
    </dgm:pt>
    <dgm:pt modelId="{F9CEAA2D-9670-4572-8418-E9F0F6AEA532}">
      <dgm:prSet phldrT="[Text]"/>
      <dgm:spPr/>
      <dgm:t>
        <a:bodyPr/>
        <a:lstStyle/>
        <a:p>
          <a:r>
            <a:rPr lang="bg-BG" dirty="0" smtClean="0">
              <a:latin typeface="+mj-lt"/>
            </a:rPr>
            <a:t>Улавя топлия въздух от работната среда</a:t>
          </a:r>
          <a:endParaRPr lang="en-US" dirty="0">
            <a:latin typeface="+mj-lt"/>
          </a:endParaRPr>
        </a:p>
      </dgm:t>
    </dgm:pt>
    <dgm:pt modelId="{C8383755-39DE-483A-8207-F74F9805BB9D}" type="parTrans" cxnId="{85FE347C-160A-4600-A1E1-C0141FF4C476}">
      <dgm:prSet/>
      <dgm:spPr/>
      <dgm:t>
        <a:bodyPr/>
        <a:lstStyle/>
        <a:p>
          <a:endParaRPr lang="en-US"/>
        </a:p>
      </dgm:t>
    </dgm:pt>
    <dgm:pt modelId="{E057348F-CA74-4973-AD2E-F7FBC413951F}" type="sibTrans" cxnId="{85FE347C-160A-4600-A1E1-C0141FF4C476}">
      <dgm:prSet/>
      <dgm:spPr/>
      <dgm:t>
        <a:bodyPr/>
        <a:lstStyle/>
        <a:p>
          <a:endParaRPr lang="en-US"/>
        </a:p>
      </dgm:t>
    </dgm:pt>
    <dgm:pt modelId="{A3A7CD79-0891-4592-8368-8B1EA82E7863}">
      <dgm:prSet phldrT="[Text]"/>
      <dgm:spPr/>
      <dgm:t>
        <a:bodyPr/>
        <a:lstStyle/>
        <a:p>
          <a:r>
            <a:rPr lang="bg-BG" dirty="0" smtClean="0">
              <a:latin typeface="+mj-lt"/>
            </a:rPr>
            <a:t>Вкарва се охладен въздух обратно в работната среда</a:t>
          </a:r>
          <a:endParaRPr lang="en-US" dirty="0">
            <a:latin typeface="+mj-lt"/>
          </a:endParaRPr>
        </a:p>
      </dgm:t>
    </dgm:pt>
    <dgm:pt modelId="{B7252E86-B56D-4063-910F-00064B022677}" type="parTrans" cxnId="{F06C3A93-96DD-46BF-BDD8-018F544E0981}">
      <dgm:prSet/>
      <dgm:spPr/>
      <dgm:t>
        <a:bodyPr/>
        <a:lstStyle/>
        <a:p>
          <a:endParaRPr lang="en-US"/>
        </a:p>
      </dgm:t>
    </dgm:pt>
    <dgm:pt modelId="{F818FB6E-1930-4E84-9FA2-A4FBF021CF84}" type="sibTrans" cxnId="{F06C3A93-96DD-46BF-BDD8-018F544E0981}">
      <dgm:prSet/>
      <dgm:spPr/>
      <dgm:t>
        <a:bodyPr/>
        <a:lstStyle/>
        <a:p>
          <a:endParaRPr lang="en-US"/>
        </a:p>
      </dgm:t>
    </dgm:pt>
    <dgm:pt modelId="{D06CF649-B4A7-4198-B251-E86F315002B4}" type="pres">
      <dgm:prSet presAssocID="{9FF43C49-D8E7-4642-A6A8-0628F22E5E47}" presName="linearFlow" presStyleCnt="0">
        <dgm:presLayoutVars>
          <dgm:dir/>
          <dgm:animLvl val="lvl"/>
          <dgm:resizeHandles val="exact"/>
        </dgm:presLayoutVars>
      </dgm:prSet>
      <dgm:spPr/>
      <dgm:t>
        <a:bodyPr/>
        <a:lstStyle/>
        <a:p>
          <a:endParaRPr lang="en-US"/>
        </a:p>
      </dgm:t>
    </dgm:pt>
    <dgm:pt modelId="{221F9020-1E62-4137-832F-1AA10A8CAB81}" type="pres">
      <dgm:prSet presAssocID="{78B3E94F-A953-4855-86C6-8537B38C0884}" presName="composite" presStyleCnt="0"/>
      <dgm:spPr/>
    </dgm:pt>
    <dgm:pt modelId="{0B8EFA34-2D40-4F90-A581-18EBD7EEEA3B}" type="pres">
      <dgm:prSet presAssocID="{78B3E94F-A953-4855-86C6-8537B38C0884}" presName="parentText" presStyleLbl="alignNode1" presStyleIdx="0" presStyleCnt="3">
        <dgm:presLayoutVars>
          <dgm:chMax val="1"/>
          <dgm:bulletEnabled val="1"/>
        </dgm:presLayoutVars>
      </dgm:prSet>
      <dgm:spPr/>
      <dgm:t>
        <a:bodyPr/>
        <a:lstStyle/>
        <a:p>
          <a:endParaRPr lang="en-US"/>
        </a:p>
      </dgm:t>
    </dgm:pt>
    <dgm:pt modelId="{F48585BC-E095-4C21-BE63-3846FB7DF04E}" type="pres">
      <dgm:prSet presAssocID="{78B3E94F-A953-4855-86C6-8537B38C0884}" presName="descendantText" presStyleLbl="alignAcc1" presStyleIdx="0" presStyleCnt="3" custLinFactNeighborX="-445" custLinFactNeighborY="2342">
        <dgm:presLayoutVars>
          <dgm:bulletEnabled val="1"/>
        </dgm:presLayoutVars>
      </dgm:prSet>
      <dgm:spPr/>
      <dgm:t>
        <a:bodyPr/>
        <a:lstStyle/>
        <a:p>
          <a:endParaRPr lang="en-US"/>
        </a:p>
      </dgm:t>
    </dgm:pt>
    <dgm:pt modelId="{FE67BE0D-3937-4DD4-8980-CB6D137C878E}" type="pres">
      <dgm:prSet presAssocID="{9D2ECEB1-4580-475D-B3FB-F8E24D286BFC}" presName="sp" presStyleCnt="0"/>
      <dgm:spPr/>
    </dgm:pt>
    <dgm:pt modelId="{E01AD6FC-5486-4EA0-9068-2ED3D863D034}" type="pres">
      <dgm:prSet presAssocID="{B43B7AEA-EA86-488F-9F74-27E5986B9A5D}" presName="composite" presStyleCnt="0"/>
      <dgm:spPr/>
    </dgm:pt>
    <dgm:pt modelId="{A2C4E774-2372-4C24-A259-BFE579EC2FEF}" type="pres">
      <dgm:prSet presAssocID="{B43B7AEA-EA86-488F-9F74-27E5986B9A5D}" presName="parentText" presStyleLbl="alignNode1" presStyleIdx="1" presStyleCnt="3">
        <dgm:presLayoutVars>
          <dgm:chMax val="1"/>
          <dgm:bulletEnabled val="1"/>
        </dgm:presLayoutVars>
      </dgm:prSet>
      <dgm:spPr/>
      <dgm:t>
        <a:bodyPr/>
        <a:lstStyle/>
        <a:p>
          <a:endParaRPr lang="en-US"/>
        </a:p>
      </dgm:t>
    </dgm:pt>
    <dgm:pt modelId="{10BAF3FB-696F-41F6-A16C-70CEFC50117A}" type="pres">
      <dgm:prSet presAssocID="{B43B7AEA-EA86-488F-9F74-27E5986B9A5D}" presName="descendantText" presStyleLbl="alignAcc1" presStyleIdx="1" presStyleCnt="3">
        <dgm:presLayoutVars>
          <dgm:bulletEnabled val="1"/>
        </dgm:presLayoutVars>
      </dgm:prSet>
      <dgm:spPr/>
      <dgm:t>
        <a:bodyPr/>
        <a:lstStyle/>
        <a:p>
          <a:endParaRPr lang="en-US"/>
        </a:p>
      </dgm:t>
    </dgm:pt>
    <dgm:pt modelId="{C515A201-C297-4AFE-A7D5-756BE867419B}" type="pres">
      <dgm:prSet presAssocID="{9147CF6D-B4A3-47F3-9865-08F8D8417B69}" presName="sp" presStyleCnt="0"/>
      <dgm:spPr/>
    </dgm:pt>
    <dgm:pt modelId="{43DCB9C4-7707-44A2-BC4F-883DB9273CB3}" type="pres">
      <dgm:prSet presAssocID="{ACD7E1B7-8235-4D21-BD19-6E357990A96D}" presName="composite" presStyleCnt="0"/>
      <dgm:spPr/>
    </dgm:pt>
    <dgm:pt modelId="{A2E2BA07-509D-4ED1-996E-63746B4B311F}" type="pres">
      <dgm:prSet presAssocID="{ACD7E1B7-8235-4D21-BD19-6E357990A96D}" presName="parentText" presStyleLbl="alignNode1" presStyleIdx="2" presStyleCnt="3">
        <dgm:presLayoutVars>
          <dgm:chMax val="1"/>
          <dgm:bulletEnabled val="1"/>
        </dgm:presLayoutVars>
      </dgm:prSet>
      <dgm:spPr/>
      <dgm:t>
        <a:bodyPr/>
        <a:lstStyle/>
        <a:p>
          <a:endParaRPr lang="en-US"/>
        </a:p>
      </dgm:t>
    </dgm:pt>
    <dgm:pt modelId="{2BC51DDE-1A4A-4149-BA96-F15F4BF5C089}" type="pres">
      <dgm:prSet presAssocID="{ACD7E1B7-8235-4D21-BD19-6E357990A96D}" presName="descendantText" presStyleLbl="alignAcc1" presStyleIdx="2" presStyleCnt="3">
        <dgm:presLayoutVars>
          <dgm:bulletEnabled val="1"/>
        </dgm:presLayoutVars>
      </dgm:prSet>
      <dgm:spPr/>
      <dgm:t>
        <a:bodyPr/>
        <a:lstStyle/>
        <a:p>
          <a:endParaRPr lang="en-US"/>
        </a:p>
      </dgm:t>
    </dgm:pt>
  </dgm:ptLst>
  <dgm:cxnLst>
    <dgm:cxn modelId="{F7F12286-4987-47C5-AF38-D2DB97DD3A56}" type="presOf" srcId="{A3A7CD79-0891-4592-8368-8B1EA82E7863}" destId="{2BC51DDE-1A4A-4149-BA96-F15F4BF5C089}" srcOrd="0" destOrd="0" presId="urn:microsoft.com/office/officeart/2005/8/layout/chevron2"/>
    <dgm:cxn modelId="{F06C3A93-96DD-46BF-BDD8-018F544E0981}" srcId="{ACD7E1B7-8235-4D21-BD19-6E357990A96D}" destId="{A3A7CD79-0891-4592-8368-8B1EA82E7863}" srcOrd="0" destOrd="0" parTransId="{B7252E86-B56D-4063-910F-00064B022677}" sibTransId="{F818FB6E-1930-4E84-9FA2-A4FBF021CF84}"/>
    <dgm:cxn modelId="{85FE347C-160A-4600-A1E1-C0141FF4C476}" srcId="{78B3E94F-A953-4855-86C6-8537B38C0884}" destId="{F9CEAA2D-9670-4572-8418-E9F0F6AEA532}" srcOrd="0" destOrd="0" parTransId="{C8383755-39DE-483A-8207-F74F9805BB9D}" sibTransId="{E057348F-CA74-4973-AD2E-F7FBC413951F}"/>
    <dgm:cxn modelId="{EC5A7490-A676-4E90-A157-64D4350FBBD0}" type="presOf" srcId="{78B3E94F-A953-4855-86C6-8537B38C0884}" destId="{0B8EFA34-2D40-4F90-A581-18EBD7EEEA3B}" srcOrd="0" destOrd="0" presId="urn:microsoft.com/office/officeart/2005/8/layout/chevron2"/>
    <dgm:cxn modelId="{869DCAE1-9D49-43A1-8570-616010C0DDB7}" srcId="{9FF43C49-D8E7-4642-A6A8-0628F22E5E47}" destId="{78B3E94F-A953-4855-86C6-8537B38C0884}" srcOrd="0" destOrd="0" parTransId="{F5CBF082-7C35-4214-8534-671472A7B273}" sibTransId="{9D2ECEB1-4580-475D-B3FB-F8E24D286BFC}"/>
    <dgm:cxn modelId="{67663477-BDA0-4E88-ABEF-29C6C94D0641}" type="presOf" srcId="{ED579A61-9709-45AB-B899-73F827402FC9}" destId="{10BAF3FB-696F-41F6-A16C-70CEFC50117A}" srcOrd="0" destOrd="0" presId="urn:microsoft.com/office/officeart/2005/8/layout/chevron2"/>
    <dgm:cxn modelId="{5BE15AA6-F48C-4C15-8430-E543854DC143}" type="presOf" srcId="{B43B7AEA-EA86-488F-9F74-27E5986B9A5D}" destId="{A2C4E774-2372-4C24-A259-BFE579EC2FEF}" srcOrd="0" destOrd="0" presId="urn:microsoft.com/office/officeart/2005/8/layout/chevron2"/>
    <dgm:cxn modelId="{35F1292C-2B6C-409B-80B5-7EF0BA261108}" type="presOf" srcId="{ACD7E1B7-8235-4D21-BD19-6E357990A96D}" destId="{A2E2BA07-509D-4ED1-996E-63746B4B311F}" srcOrd="0" destOrd="0" presId="urn:microsoft.com/office/officeart/2005/8/layout/chevron2"/>
    <dgm:cxn modelId="{DE34BA4E-F2FC-4391-8417-1E67969E5887}" srcId="{B43B7AEA-EA86-488F-9F74-27E5986B9A5D}" destId="{ED579A61-9709-45AB-B899-73F827402FC9}" srcOrd="0" destOrd="0" parTransId="{3F0180EC-AE9A-4905-882C-67033FFCD8C7}" sibTransId="{4B19B919-6E33-45D3-AF3E-264FF5E542A6}"/>
    <dgm:cxn modelId="{35DE4027-A3F7-4BB8-BC56-0EB41F7A365C}" type="presOf" srcId="{F9CEAA2D-9670-4572-8418-E9F0F6AEA532}" destId="{F48585BC-E095-4C21-BE63-3846FB7DF04E}" srcOrd="0" destOrd="0" presId="urn:microsoft.com/office/officeart/2005/8/layout/chevron2"/>
    <dgm:cxn modelId="{406643BD-189C-40AE-A4A7-1872289677E6}" srcId="{9FF43C49-D8E7-4642-A6A8-0628F22E5E47}" destId="{B43B7AEA-EA86-488F-9F74-27E5986B9A5D}" srcOrd="1" destOrd="0" parTransId="{A39B6CEC-1386-441F-B668-94DCB064313D}" sibTransId="{9147CF6D-B4A3-47F3-9865-08F8D8417B69}"/>
    <dgm:cxn modelId="{C0821871-D220-4A67-B41A-B4270029FF23}" type="presOf" srcId="{9FF43C49-D8E7-4642-A6A8-0628F22E5E47}" destId="{D06CF649-B4A7-4198-B251-E86F315002B4}" srcOrd="0" destOrd="0" presId="urn:microsoft.com/office/officeart/2005/8/layout/chevron2"/>
    <dgm:cxn modelId="{F1432792-32DF-4D9E-BFD3-9C0C7F265A9F}" srcId="{9FF43C49-D8E7-4642-A6A8-0628F22E5E47}" destId="{ACD7E1B7-8235-4D21-BD19-6E357990A96D}" srcOrd="2" destOrd="0" parTransId="{E48CB143-2474-4BDF-9C05-C05C27D7B272}" sibTransId="{5DAD736F-47FE-4016-A56D-CA3E27E7E5E5}"/>
    <dgm:cxn modelId="{C4FBFA1C-335B-4A7C-8BE9-C94ED36C48C1}" type="presParOf" srcId="{D06CF649-B4A7-4198-B251-E86F315002B4}" destId="{221F9020-1E62-4137-832F-1AA10A8CAB81}" srcOrd="0" destOrd="0" presId="urn:microsoft.com/office/officeart/2005/8/layout/chevron2"/>
    <dgm:cxn modelId="{F874F6AC-F625-45E4-AB1F-54E1B230C9CB}" type="presParOf" srcId="{221F9020-1E62-4137-832F-1AA10A8CAB81}" destId="{0B8EFA34-2D40-4F90-A581-18EBD7EEEA3B}" srcOrd="0" destOrd="0" presId="urn:microsoft.com/office/officeart/2005/8/layout/chevron2"/>
    <dgm:cxn modelId="{B59B1AAD-D127-4048-B788-8B5AD7A08780}" type="presParOf" srcId="{221F9020-1E62-4137-832F-1AA10A8CAB81}" destId="{F48585BC-E095-4C21-BE63-3846FB7DF04E}" srcOrd="1" destOrd="0" presId="urn:microsoft.com/office/officeart/2005/8/layout/chevron2"/>
    <dgm:cxn modelId="{A08598B8-64DA-464C-91A2-97DA20B660C0}" type="presParOf" srcId="{D06CF649-B4A7-4198-B251-E86F315002B4}" destId="{FE67BE0D-3937-4DD4-8980-CB6D137C878E}" srcOrd="1" destOrd="0" presId="urn:microsoft.com/office/officeart/2005/8/layout/chevron2"/>
    <dgm:cxn modelId="{0F1C5BEE-2205-453B-A6CE-362FA1DE3FBC}" type="presParOf" srcId="{D06CF649-B4A7-4198-B251-E86F315002B4}" destId="{E01AD6FC-5486-4EA0-9068-2ED3D863D034}" srcOrd="2" destOrd="0" presId="urn:microsoft.com/office/officeart/2005/8/layout/chevron2"/>
    <dgm:cxn modelId="{C33C5204-D653-425B-A5F7-955E735866D7}" type="presParOf" srcId="{E01AD6FC-5486-4EA0-9068-2ED3D863D034}" destId="{A2C4E774-2372-4C24-A259-BFE579EC2FEF}" srcOrd="0" destOrd="0" presId="urn:microsoft.com/office/officeart/2005/8/layout/chevron2"/>
    <dgm:cxn modelId="{350710C9-C611-45F2-8DAF-91174A3A1A32}" type="presParOf" srcId="{E01AD6FC-5486-4EA0-9068-2ED3D863D034}" destId="{10BAF3FB-696F-41F6-A16C-70CEFC50117A}" srcOrd="1" destOrd="0" presId="urn:microsoft.com/office/officeart/2005/8/layout/chevron2"/>
    <dgm:cxn modelId="{507B6FDE-19A3-47BE-BB5A-98DBC618B38B}" type="presParOf" srcId="{D06CF649-B4A7-4198-B251-E86F315002B4}" destId="{C515A201-C297-4AFE-A7D5-756BE867419B}" srcOrd="3" destOrd="0" presId="urn:microsoft.com/office/officeart/2005/8/layout/chevron2"/>
    <dgm:cxn modelId="{938B1AA7-A501-4BBC-BCA2-7615E7308F62}" type="presParOf" srcId="{D06CF649-B4A7-4198-B251-E86F315002B4}" destId="{43DCB9C4-7707-44A2-BC4F-883DB9273CB3}" srcOrd="4" destOrd="0" presId="urn:microsoft.com/office/officeart/2005/8/layout/chevron2"/>
    <dgm:cxn modelId="{784675D3-9685-4A4A-9841-6252C6F4D2EF}" type="presParOf" srcId="{43DCB9C4-7707-44A2-BC4F-883DB9273CB3}" destId="{A2E2BA07-509D-4ED1-996E-63746B4B311F}" srcOrd="0" destOrd="0" presId="urn:microsoft.com/office/officeart/2005/8/layout/chevron2"/>
    <dgm:cxn modelId="{AB22A0CF-E4B6-4CD5-AC8E-A8E241EF71F1}" type="presParOf" srcId="{43DCB9C4-7707-44A2-BC4F-883DB9273CB3}" destId="{2BC51DDE-1A4A-4149-BA96-F15F4BF5C089}" srcOrd="1" destOrd="0" presId="urn:microsoft.com/office/officeart/2005/8/layout/chevron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8EFA34-2D40-4F90-A581-18EBD7EEEA3B}">
      <dsp:nvSpPr>
        <dsp:cNvPr id="0" name=""/>
        <dsp:cNvSpPr/>
      </dsp:nvSpPr>
      <dsp:spPr>
        <a:xfrm rot="5400000">
          <a:off x="-181928" y="182512"/>
          <a:ext cx="1212856" cy="84899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bg-BG" sz="1200" kern="1200" dirty="0" smtClean="0">
              <a:latin typeface="+mj-lt"/>
            </a:rPr>
            <a:t>Стъпка</a:t>
          </a:r>
          <a:r>
            <a:rPr lang="en-US" sz="1200" kern="1200" dirty="0" smtClean="0">
              <a:latin typeface="+mj-lt"/>
            </a:rPr>
            <a:t> 1</a:t>
          </a:r>
          <a:endParaRPr lang="en-US" sz="1200" kern="1200" dirty="0">
            <a:latin typeface="+mj-lt"/>
          </a:endParaRPr>
        </a:p>
      </dsp:txBody>
      <dsp:txXfrm rot="-5400000">
        <a:off x="1" y="425084"/>
        <a:ext cx="848999" cy="363857"/>
      </dsp:txXfrm>
    </dsp:sp>
    <dsp:sp modelId="{F48585BC-E095-4C21-BE63-3846FB7DF04E}">
      <dsp:nvSpPr>
        <dsp:cNvPr id="0" name=""/>
        <dsp:cNvSpPr/>
      </dsp:nvSpPr>
      <dsp:spPr>
        <a:xfrm rot="5400000">
          <a:off x="1782921" y="-933337"/>
          <a:ext cx="788356" cy="265620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bg-BG" sz="1400" kern="1200" dirty="0" smtClean="0">
              <a:latin typeface="+mj-lt"/>
            </a:rPr>
            <a:t>Запрашени газове се всмукват в горната камера</a:t>
          </a:r>
          <a:endParaRPr lang="en-US" sz="1400" kern="1200" dirty="0">
            <a:latin typeface="+mj-lt"/>
          </a:endParaRPr>
        </a:p>
      </dsp:txBody>
      <dsp:txXfrm rot="-5400000">
        <a:off x="848999" y="39069"/>
        <a:ext cx="2617716" cy="711388"/>
      </dsp:txXfrm>
    </dsp:sp>
    <dsp:sp modelId="{A2C4E774-2372-4C24-A259-BFE579EC2FEF}">
      <dsp:nvSpPr>
        <dsp:cNvPr id="0" name=""/>
        <dsp:cNvSpPr/>
      </dsp:nvSpPr>
      <dsp:spPr>
        <a:xfrm rot="5400000">
          <a:off x="-181928" y="1194750"/>
          <a:ext cx="1212856" cy="84899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bg-BG" sz="1200" kern="1200" dirty="0" smtClean="0">
              <a:latin typeface="+mj-lt"/>
            </a:rPr>
            <a:t>Стъпка</a:t>
          </a:r>
          <a:r>
            <a:rPr lang="en-US" sz="1200" kern="1200" dirty="0" smtClean="0">
              <a:latin typeface="+mj-lt"/>
            </a:rPr>
            <a:t> 2</a:t>
          </a:r>
          <a:endParaRPr lang="en-US" sz="1200" kern="1200" dirty="0">
            <a:latin typeface="+mj-lt"/>
          </a:endParaRPr>
        </a:p>
      </dsp:txBody>
      <dsp:txXfrm rot="-5400000">
        <a:off x="1" y="1437322"/>
        <a:ext cx="848999" cy="363857"/>
      </dsp:txXfrm>
    </dsp:sp>
    <dsp:sp modelId="{10BAF3FB-696F-41F6-A16C-70CEFC50117A}">
      <dsp:nvSpPr>
        <dsp:cNvPr id="0" name=""/>
        <dsp:cNvSpPr/>
      </dsp:nvSpPr>
      <dsp:spPr>
        <a:xfrm rot="5400000">
          <a:off x="1782921" y="78900"/>
          <a:ext cx="788356" cy="265620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bg-BG" sz="1400" kern="1200" dirty="0" smtClean="0">
              <a:latin typeface="+mj-lt"/>
            </a:rPr>
            <a:t>Замърсените частици се отделят в контейнер за съхранение</a:t>
          </a:r>
          <a:endParaRPr lang="en-US" sz="1400" kern="1200" dirty="0">
            <a:latin typeface="+mj-lt"/>
          </a:endParaRPr>
        </a:p>
      </dsp:txBody>
      <dsp:txXfrm rot="-5400000">
        <a:off x="848999" y="1051306"/>
        <a:ext cx="2617716" cy="711388"/>
      </dsp:txXfrm>
    </dsp:sp>
    <dsp:sp modelId="{A2E2BA07-509D-4ED1-996E-63746B4B311F}">
      <dsp:nvSpPr>
        <dsp:cNvPr id="0" name=""/>
        <dsp:cNvSpPr/>
      </dsp:nvSpPr>
      <dsp:spPr>
        <a:xfrm rot="5400000">
          <a:off x="-181928" y="2206988"/>
          <a:ext cx="1212856" cy="848999"/>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bg-BG" sz="1200" kern="1200" dirty="0" smtClean="0">
              <a:latin typeface="+mj-lt"/>
            </a:rPr>
            <a:t>Стъпка</a:t>
          </a:r>
          <a:r>
            <a:rPr lang="en-US" sz="1200" kern="1200" dirty="0" smtClean="0">
              <a:latin typeface="+mj-lt"/>
            </a:rPr>
            <a:t> 3</a:t>
          </a:r>
          <a:endParaRPr lang="en-US" sz="1200" kern="1200" dirty="0">
            <a:latin typeface="+mj-lt"/>
          </a:endParaRPr>
        </a:p>
      </dsp:txBody>
      <dsp:txXfrm rot="-5400000">
        <a:off x="1" y="2449560"/>
        <a:ext cx="848999" cy="363857"/>
      </dsp:txXfrm>
    </dsp:sp>
    <dsp:sp modelId="{2BC51DDE-1A4A-4149-BA96-F15F4BF5C089}">
      <dsp:nvSpPr>
        <dsp:cNvPr id="0" name=""/>
        <dsp:cNvSpPr/>
      </dsp:nvSpPr>
      <dsp:spPr>
        <a:xfrm rot="5400000">
          <a:off x="1782921" y="1091138"/>
          <a:ext cx="788356" cy="2656200"/>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bg-BG" sz="1400" kern="1200" dirty="0" smtClean="0">
              <a:latin typeface="+mj-lt"/>
            </a:rPr>
            <a:t>Пречистения въздух се отделя в атмосферата</a:t>
          </a:r>
          <a:endParaRPr lang="en-US" sz="1400" kern="1200" dirty="0">
            <a:latin typeface="+mj-lt"/>
          </a:endParaRPr>
        </a:p>
      </dsp:txBody>
      <dsp:txXfrm rot="-5400000">
        <a:off x="848999" y="2063544"/>
        <a:ext cx="2617716" cy="7113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8EFA34-2D40-4F90-A581-18EBD7EEEA3B}">
      <dsp:nvSpPr>
        <dsp:cNvPr id="0" name=""/>
        <dsp:cNvSpPr/>
      </dsp:nvSpPr>
      <dsp:spPr>
        <a:xfrm rot="5400000">
          <a:off x="-177421" y="179420"/>
          <a:ext cx="1182811" cy="82796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bg-BG" sz="1800" kern="1200" dirty="0" smtClean="0"/>
            <a:t>Стъпка</a:t>
          </a:r>
          <a:r>
            <a:rPr lang="en-US" sz="1800" kern="1200" dirty="0" smtClean="0"/>
            <a:t> 1</a:t>
          </a:r>
          <a:endParaRPr lang="en-US" sz="1800" kern="1200" dirty="0"/>
        </a:p>
      </dsp:txBody>
      <dsp:txXfrm rot="-5400000">
        <a:off x="1" y="415982"/>
        <a:ext cx="827968" cy="354843"/>
      </dsp:txXfrm>
    </dsp:sp>
    <dsp:sp modelId="{F48585BC-E095-4C21-BE63-3846FB7DF04E}">
      <dsp:nvSpPr>
        <dsp:cNvPr id="0" name=""/>
        <dsp:cNvSpPr/>
      </dsp:nvSpPr>
      <dsp:spPr>
        <a:xfrm rot="5400000">
          <a:off x="1808017" y="-972297"/>
          <a:ext cx="768827" cy="275343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bg-BG" sz="1800" kern="1200" dirty="0" smtClean="0">
              <a:latin typeface="+mj-lt"/>
            </a:rPr>
            <a:t>Улавя топлия въздух от работната среда</a:t>
          </a:r>
          <a:endParaRPr lang="en-US" sz="1800" kern="1200" dirty="0">
            <a:latin typeface="+mj-lt"/>
          </a:endParaRPr>
        </a:p>
      </dsp:txBody>
      <dsp:txXfrm rot="-5400000">
        <a:off x="815716" y="57535"/>
        <a:ext cx="2715900" cy="693765"/>
      </dsp:txXfrm>
    </dsp:sp>
    <dsp:sp modelId="{A2C4E774-2372-4C24-A259-BFE579EC2FEF}">
      <dsp:nvSpPr>
        <dsp:cNvPr id="0" name=""/>
        <dsp:cNvSpPr/>
      </dsp:nvSpPr>
      <dsp:spPr>
        <a:xfrm rot="5400000">
          <a:off x="-177421" y="1205266"/>
          <a:ext cx="1182811" cy="82796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bg-BG" sz="1800" kern="1200" dirty="0" smtClean="0"/>
            <a:t>Стъпка</a:t>
          </a:r>
          <a:r>
            <a:rPr lang="en-US" sz="1800" kern="1200" dirty="0" smtClean="0"/>
            <a:t> 2</a:t>
          </a:r>
          <a:endParaRPr lang="en-US" sz="1800" kern="1200" dirty="0"/>
        </a:p>
      </dsp:txBody>
      <dsp:txXfrm rot="-5400000">
        <a:off x="1" y="1441828"/>
        <a:ext cx="827968" cy="354843"/>
      </dsp:txXfrm>
    </dsp:sp>
    <dsp:sp modelId="{10BAF3FB-696F-41F6-A16C-70CEFC50117A}">
      <dsp:nvSpPr>
        <dsp:cNvPr id="0" name=""/>
        <dsp:cNvSpPr/>
      </dsp:nvSpPr>
      <dsp:spPr>
        <a:xfrm rot="5400000">
          <a:off x="1820270" y="35542"/>
          <a:ext cx="768827" cy="275343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Char char="••"/>
            <a:tabLst/>
            <a:defRPr/>
          </a:pPr>
          <a:r>
            <a:rPr lang="en-US" sz="1800" kern="1200" dirty="0" smtClean="0">
              <a:solidFill>
                <a:srgbClr val="191919"/>
              </a:solidFill>
              <a:latin typeface="+mj-lt"/>
            </a:rPr>
            <a:t> </a:t>
          </a:r>
          <a:r>
            <a:rPr lang="bg-BG" sz="1800" kern="1200" dirty="0" smtClean="0">
              <a:solidFill>
                <a:srgbClr val="191919"/>
              </a:solidFill>
              <a:latin typeface="+mj-lt"/>
            </a:rPr>
            <a:t>Топлия въздух преминава              през </a:t>
          </a:r>
          <a:r>
            <a:rPr lang="bg-BG" sz="1800" kern="1200" dirty="0" smtClean="0">
              <a:solidFill>
                <a:srgbClr val="191919"/>
              </a:solidFill>
              <a:latin typeface="+mj-lt"/>
            </a:rPr>
            <a:t>охладител</a:t>
          </a:r>
          <a:endParaRPr lang="en-US" sz="1800" kern="1200" dirty="0">
            <a:latin typeface="+mj-lt"/>
          </a:endParaRPr>
        </a:p>
      </dsp:txBody>
      <dsp:txXfrm rot="-5400000">
        <a:off x="827969" y="1065375"/>
        <a:ext cx="2715900" cy="693765"/>
      </dsp:txXfrm>
    </dsp:sp>
    <dsp:sp modelId="{A2E2BA07-509D-4ED1-996E-63746B4B311F}">
      <dsp:nvSpPr>
        <dsp:cNvPr id="0" name=""/>
        <dsp:cNvSpPr/>
      </dsp:nvSpPr>
      <dsp:spPr>
        <a:xfrm rot="5400000">
          <a:off x="-177421" y="2231112"/>
          <a:ext cx="1182811" cy="827968"/>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bg-BG" sz="1800" kern="1200" dirty="0" smtClean="0"/>
            <a:t>Стъпка</a:t>
          </a:r>
          <a:r>
            <a:rPr lang="en-US" sz="1800" kern="1200" dirty="0" smtClean="0"/>
            <a:t> 3</a:t>
          </a:r>
          <a:endParaRPr lang="en-US" sz="1800" kern="1200" dirty="0"/>
        </a:p>
      </dsp:txBody>
      <dsp:txXfrm rot="-5400000">
        <a:off x="1" y="2467674"/>
        <a:ext cx="827968" cy="354843"/>
      </dsp:txXfrm>
    </dsp:sp>
    <dsp:sp modelId="{2BC51DDE-1A4A-4149-BA96-F15F4BF5C089}">
      <dsp:nvSpPr>
        <dsp:cNvPr id="0" name=""/>
        <dsp:cNvSpPr/>
      </dsp:nvSpPr>
      <dsp:spPr>
        <a:xfrm rot="5400000">
          <a:off x="1820270" y="1061388"/>
          <a:ext cx="768827" cy="275343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bg-BG" sz="1800" kern="1200" dirty="0" smtClean="0">
              <a:latin typeface="+mj-lt"/>
            </a:rPr>
            <a:t>Вкарва се охладен въздух обратно в работната среда</a:t>
          </a:r>
          <a:endParaRPr lang="en-US" sz="1800" kern="1200" dirty="0">
            <a:latin typeface="+mj-lt"/>
          </a:endParaRPr>
        </a:p>
      </dsp:txBody>
      <dsp:txXfrm rot="-5400000">
        <a:off x="827969" y="2091221"/>
        <a:ext cx="2715900" cy="69376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6363" cy="511731"/>
          </a:xfrm>
          <a:prstGeom prst="rect">
            <a:avLst/>
          </a:prstGeom>
        </p:spPr>
        <p:txBody>
          <a:bodyPr vert="horz" lIns="99030" tIns="49514" rIns="99030" bIns="49514" rtlCol="0"/>
          <a:lstStyle>
            <a:lvl1pPr algn="l">
              <a:defRPr sz="1300"/>
            </a:lvl1pPr>
          </a:lstStyle>
          <a:p>
            <a:endParaRPr lang="en-US"/>
          </a:p>
        </p:txBody>
      </p:sp>
      <p:sp>
        <p:nvSpPr>
          <p:cNvPr id="3" name="Date Placeholder 2"/>
          <p:cNvSpPr>
            <a:spLocks noGrp="1"/>
          </p:cNvSpPr>
          <p:nvPr>
            <p:ph type="dt" sz="quarter" idx="1"/>
          </p:nvPr>
        </p:nvSpPr>
        <p:spPr>
          <a:xfrm>
            <a:off x="4021295" y="1"/>
            <a:ext cx="3076363" cy="511731"/>
          </a:xfrm>
          <a:prstGeom prst="rect">
            <a:avLst/>
          </a:prstGeom>
        </p:spPr>
        <p:txBody>
          <a:bodyPr vert="horz" lIns="99030" tIns="49514" rIns="99030" bIns="49514" rtlCol="0"/>
          <a:lstStyle>
            <a:lvl1pPr algn="r">
              <a:defRPr sz="1300"/>
            </a:lvl1pPr>
          </a:lstStyle>
          <a:p>
            <a:fld id="{6ACAA2AF-9732-42D6-8F91-068902FF5372}" type="datetimeFigureOut">
              <a:rPr lang="en-US" smtClean="0"/>
              <a:t>6/25/2020</a:t>
            </a:fld>
            <a:endParaRPr lang="en-US"/>
          </a:p>
        </p:txBody>
      </p:sp>
      <p:sp>
        <p:nvSpPr>
          <p:cNvPr id="4" name="Footer Placeholder 3"/>
          <p:cNvSpPr>
            <a:spLocks noGrp="1"/>
          </p:cNvSpPr>
          <p:nvPr>
            <p:ph type="ftr" sz="quarter" idx="2"/>
          </p:nvPr>
        </p:nvSpPr>
        <p:spPr>
          <a:xfrm>
            <a:off x="1" y="9721107"/>
            <a:ext cx="3076363" cy="511731"/>
          </a:xfrm>
          <a:prstGeom prst="rect">
            <a:avLst/>
          </a:prstGeom>
        </p:spPr>
        <p:txBody>
          <a:bodyPr vert="horz" lIns="99030" tIns="49514" rIns="99030" bIns="49514" rtlCol="0" anchor="b"/>
          <a:lstStyle>
            <a:lvl1pPr algn="l">
              <a:defRPr sz="1300"/>
            </a:lvl1pPr>
          </a:lstStyle>
          <a:p>
            <a:endParaRPr lang="en-US"/>
          </a:p>
        </p:txBody>
      </p:sp>
      <p:sp>
        <p:nvSpPr>
          <p:cNvPr id="5" name="Slide Number Placeholder 4"/>
          <p:cNvSpPr>
            <a:spLocks noGrp="1"/>
          </p:cNvSpPr>
          <p:nvPr>
            <p:ph type="sldNum" sz="quarter" idx="3"/>
          </p:nvPr>
        </p:nvSpPr>
        <p:spPr>
          <a:xfrm>
            <a:off x="4021295" y="9721107"/>
            <a:ext cx="3076363" cy="511731"/>
          </a:xfrm>
          <a:prstGeom prst="rect">
            <a:avLst/>
          </a:prstGeom>
        </p:spPr>
        <p:txBody>
          <a:bodyPr vert="horz" lIns="99030" tIns="49514" rIns="99030" bIns="49514" rtlCol="0" anchor="b"/>
          <a:lstStyle>
            <a:lvl1pPr algn="r">
              <a:defRPr sz="1300"/>
            </a:lvl1pPr>
          </a:lstStyle>
          <a:p>
            <a:fld id="{1EBE7C5D-4480-4EC7-8990-C4747C8C5353}" type="slidenum">
              <a:rPr lang="en-US" smtClean="0"/>
              <a:t>‹#›</a:t>
            </a:fld>
            <a:endParaRPr lang="en-US"/>
          </a:p>
        </p:txBody>
      </p:sp>
    </p:spTree>
    <p:extLst>
      <p:ext uri="{BB962C8B-B14F-4D97-AF65-F5344CB8AC3E}">
        <p14:creationId xmlns:p14="http://schemas.microsoft.com/office/powerpoint/2010/main" val="9203191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6363" cy="511731"/>
          </a:xfrm>
          <a:prstGeom prst="rect">
            <a:avLst/>
          </a:prstGeom>
        </p:spPr>
        <p:txBody>
          <a:bodyPr vert="horz" lIns="99030" tIns="49514" rIns="99030" bIns="49514" rtlCol="0"/>
          <a:lstStyle>
            <a:lvl1pPr algn="l">
              <a:defRPr sz="1300"/>
            </a:lvl1pPr>
          </a:lstStyle>
          <a:p>
            <a:endParaRPr lang="en-US"/>
          </a:p>
        </p:txBody>
      </p:sp>
      <p:sp>
        <p:nvSpPr>
          <p:cNvPr id="3" name="Date Placeholder 2"/>
          <p:cNvSpPr>
            <a:spLocks noGrp="1"/>
          </p:cNvSpPr>
          <p:nvPr>
            <p:ph type="dt" idx="1"/>
          </p:nvPr>
        </p:nvSpPr>
        <p:spPr>
          <a:xfrm>
            <a:off x="4021295" y="1"/>
            <a:ext cx="3076363" cy="511731"/>
          </a:xfrm>
          <a:prstGeom prst="rect">
            <a:avLst/>
          </a:prstGeom>
        </p:spPr>
        <p:txBody>
          <a:bodyPr vert="horz" lIns="99030" tIns="49514" rIns="99030" bIns="49514" rtlCol="0"/>
          <a:lstStyle>
            <a:lvl1pPr algn="r">
              <a:defRPr sz="1300"/>
            </a:lvl1pPr>
          </a:lstStyle>
          <a:p>
            <a:fld id="{12940AB7-140B-4A7C-A311-89C6FFF6ADE2}" type="datetimeFigureOut">
              <a:rPr lang="en-US" smtClean="0"/>
              <a:t>6/25/2020</a:t>
            </a:fld>
            <a:endParaRPr lang="en-US"/>
          </a:p>
        </p:txBody>
      </p:sp>
      <p:sp>
        <p:nvSpPr>
          <p:cNvPr id="4" name="Slide Image Placeholder 3"/>
          <p:cNvSpPr>
            <a:spLocks noGrp="1" noRot="1" noChangeAspect="1"/>
          </p:cNvSpPr>
          <p:nvPr>
            <p:ph type="sldImg" idx="2"/>
          </p:nvPr>
        </p:nvSpPr>
        <p:spPr>
          <a:xfrm>
            <a:off x="139700" y="769938"/>
            <a:ext cx="6819900" cy="3836987"/>
          </a:xfrm>
          <a:prstGeom prst="rect">
            <a:avLst/>
          </a:prstGeom>
          <a:noFill/>
          <a:ln w="12700">
            <a:solidFill>
              <a:prstClr val="black"/>
            </a:solidFill>
          </a:ln>
        </p:spPr>
        <p:txBody>
          <a:bodyPr vert="horz" lIns="99030" tIns="49514" rIns="99030" bIns="49514" rtlCol="0" anchor="ctr"/>
          <a:lstStyle/>
          <a:p>
            <a:endParaRPr lang="en-US"/>
          </a:p>
        </p:txBody>
      </p:sp>
      <p:sp>
        <p:nvSpPr>
          <p:cNvPr id="5" name="Notes Placeholder 4"/>
          <p:cNvSpPr>
            <a:spLocks noGrp="1"/>
          </p:cNvSpPr>
          <p:nvPr>
            <p:ph type="body" sz="quarter" idx="3"/>
          </p:nvPr>
        </p:nvSpPr>
        <p:spPr>
          <a:xfrm>
            <a:off x="709931" y="4861443"/>
            <a:ext cx="5679440" cy="4605576"/>
          </a:xfrm>
          <a:prstGeom prst="rect">
            <a:avLst/>
          </a:prstGeom>
        </p:spPr>
        <p:txBody>
          <a:bodyPr vert="horz" lIns="99030" tIns="49514" rIns="99030" bIns="495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721107"/>
            <a:ext cx="3076363" cy="511731"/>
          </a:xfrm>
          <a:prstGeom prst="rect">
            <a:avLst/>
          </a:prstGeom>
        </p:spPr>
        <p:txBody>
          <a:bodyPr vert="horz" lIns="99030" tIns="49514" rIns="99030" bIns="49514" rtlCol="0" anchor="b"/>
          <a:lstStyle>
            <a:lvl1pPr algn="l">
              <a:defRPr sz="1300"/>
            </a:lvl1pPr>
          </a:lstStyle>
          <a:p>
            <a:endParaRPr lang="en-US"/>
          </a:p>
        </p:txBody>
      </p:sp>
      <p:sp>
        <p:nvSpPr>
          <p:cNvPr id="7" name="Slide Number Placeholder 6"/>
          <p:cNvSpPr>
            <a:spLocks noGrp="1"/>
          </p:cNvSpPr>
          <p:nvPr>
            <p:ph type="sldNum" sz="quarter" idx="5"/>
          </p:nvPr>
        </p:nvSpPr>
        <p:spPr>
          <a:xfrm>
            <a:off x="4021295" y="9721107"/>
            <a:ext cx="3076363" cy="511731"/>
          </a:xfrm>
          <a:prstGeom prst="rect">
            <a:avLst/>
          </a:prstGeom>
        </p:spPr>
        <p:txBody>
          <a:bodyPr vert="horz" lIns="99030" tIns="49514" rIns="99030" bIns="49514" rtlCol="0" anchor="b"/>
          <a:lstStyle>
            <a:lvl1pPr algn="r">
              <a:defRPr sz="1300"/>
            </a:lvl1pPr>
          </a:lstStyle>
          <a:p>
            <a:fld id="{AEC5B357-A0BF-43C0-9DED-C16391EB018E}" type="slidenum">
              <a:rPr lang="en-US" smtClean="0"/>
              <a:t>‹#›</a:t>
            </a:fld>
            <a:endParaRPr lang="en-US"/>
          </a:p>
        </p:txBody>
      </p:sp>
    </p:spTree>
    <p:extLst>
      <p:ext uri="{BB962C8B-B14F-4D97-AF65-F5344CB8AC3E}">
        <p14:creationId xmlns:p14="http://schemas.microsoft.com/office/powerpoint/2010/main" val="1790023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EC5B357-A0BF-43C0-9DED-C16391EB018E}" type="slidenum">
              <a:rPr lang="en-US" smtClean="0"/>
              <a:t>4</a:t>
            </a:fld>
            <a:endParaRPr lang="en-US"/>
          </a:p>
        </p:txBody>
      </p:sp>
    </p:spTree>
    <p:extLst>
      <p:ext uri="{BB962C8B-B14F-4D97-AF65-F5344CB8AC3E}">
        <p14:creationId xmlns:p14="http://schemas.microsoft.com/office/powerpoint/2010/main" val="2690353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AEC5B357-A0BF-43C0-9DED-C16391EB018E}" type="slidenum">
              <a:rPr lang="en-US" smtClean="0"/>
              <a:t>13</a:t>
            </a:fld>
            <a:endParaRPr lang="en-US"/>
          </a:p>
        </p:txBody>
      </p:sp>
    </p:spTree>
    <p:extLst>
      <p:ext uri="{BB962C8B-B14F-4D97-AF65-F5344CB8AC3E}">
        <p14:creationId xmlns:p14="http://schemas.microsoft.com/office/powerpoint/2010/main" val="196006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AEC5B357-A0BF-43C0-9DED-C16391EB018E}" type="slidenum">
              <a:rPr lang="en-US" smtClean="0"/>
              <a:t>16</a:t>
            </a:fld>
            <a:endParaRPr lang="en-US"/>
          </a:p>
        </p:txBody>
      </p:sp>
    </p:spTree>
    <p:extLst>
      <p:ext uri="{BB962C8B-B14F-4D97-AF65-F5344CB8AC3E}">
        <p14:creationId xmlns:p14="http://schemas.microsoft.com/office/powerpoint/2010/main" val="31032919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7.tif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p:cNvSpPr/>
          <p:nvPr userDrawn="1"/>
        </p:nvSpPr>
        <p:spPr>
          <a:xfrm>
            <a:off x="0" y="0"/>
            <a:ext cx="2514600" cy="5143500"/>
          </a:xfrm>
          <a:prstGeom prst="rect">
            <a:avLst/>
          </a:prstGeom>
          <a:solidFill>
            <a:srgbClr val="BC4E21">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BBB0A6"/>
              </a:solidFill>
            </a:endParaRPr>
          </a:p>
        </p:txBody>
      </p:sp>
      <p:sp>
        <p:nvSpPr>
          <p:cNvPr id="18" name="Title Placeholder 1"/>
          <p:cNvSpPr>
            <a:spLocks noGrp="1"/>
          </p:cNvSpPr>
          <p:nvPr>
            <p:ph type="title" hasCustomPrompt="1"/>
          </p:nvPr>
        </p:nvSpPr>
        <p:spPr>
          <a:xfrm>
            <a:off x="249115" y="3867150"/>
            <a:ext cx="1828800" cy="246184"/>
          </a:xfrm>
          <a:prstGeom prst="rect">
            <a:avLst/>
          </a:prstGeom>
        </p:spPr>
        <p:txBody>
          <a:bodyPr vert="horz" lIns="91440" tIns="45720" rIns="91440" bIns="45720" rtlCol="0" anchor="ctr">
            <a:noAutofit/>
          </a:bodyPr>
          <a:lstStyle>
            <a:lvl1pPr algn="l">
              <a:defRPr sz="1600" b="0">
                <a:solidFill>
                  <a:schemeClr val="bg1"/>
                </a:solidFill>
              </a:defRPr>
            </a:lvl1pPr>
          </a:lstStyle>
          <a:p>
            <a:r>
              <a:rPr lang="en-CA" dirty="0" smtClean="0"/>
              <a:t>Name</a:t>
            </a:r>
            <a:endParaRPr lang="en-US" dirty="0"/>
          </a:p>
        </p:txBody>
      </p:sp>
      <p:sp>
        <p:nvSpPr>
          <p:cNvPr id="24" name="Text Placeholder 23"/>
          <p:cNvSpPr>
            <a:spLocks noGrp="1"/>
          </p:cNvSpPr>
          <p:nvPr>
            <p:ph type="body" sz="quarter" idx="10" hasCustomPrompt="1"/>
          </p:nvPr>
        </p:nvSpPr>
        <p:spPr>
          <a:xfrm>
            <a:off x="228600" y="590550"/>
            <a:ext cx="2057400" cy="12954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29" name="Text Placeholder 28"/>
          <p:cNvSpPr>
            <a:spLocks noGrp="1"/>
          </p:cNvSpPr>
          <p:nvPr>
            <p:ph type="body" sz="quarter" idx="11" hasCustomPrompt="1"/>
          </p:nvPr>
        </p:nvSpPr>
        <p:spPr>
          <a:xfrm>
            <a:off x="249115" y="4248150"/>
            <a:ext cx="1828800" cy="228600"/>
          </a:xfrm>
          <a:prstGeom prst="rect">
            <a:avLst/>
          </a:prstGeom>
        </p:spPr>
        <p:txBody>
          <a:bodyPr>
            <a:noAutofit/>
          </a:bodyPr>
          <a:lstStyle>
            <a:lvl1pPr marL="0" indent="0">
              <a:buNone/>
              <a:defRPr sz="1600">
                <a:solidFill>
                  <a:schemeClr val="bg1"/>
                </a:solidFill>
              </a:defRPr>
            </a:lvl1pPr>
          </a:lstStyle>
          <a:p>
            <a:pPr lvl="0"/>
            <a:r>
              <a:rPr lang="en-US" dirty="0" smtClean="0"/>
              <a:t>Date</a:t>
            </a:r>
            <a:endParaRPr lang="en-CA" dirty="0"/>
          </a:p>
        </p:txBody>
      </p:sp>
    </p:spTree>
    <p:extLst>
      <p:ext uri="{BB962C8B-B14F-4D97-AF65-F5344CB8AC3E}">
        <p14:creationId xmlns:p14="http://schemas.microsoft.com/office/powerpoint/2010/main" val="19530605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Skyjack">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750" b="6563"/>
          <a:stretch/>
        </p:blipFill>
        <p:spPr>
          <a:xfrm>
            <a:off x="0" y="-19050"/>
            <a:ext cx="9144000" cy="5162550"/>
          </a:xfrm>
          <a:prstGeom prst="rect">
            <a:avLst/>
          </a:prstGeom>
        </p:spPr>
      </p:pic>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8750" b="6563"/>
          <a:stretch/>
        </p:blipFill>
        <p:spPr>
          <a:xfrm>
            <a:off x="0" y="-19050"/>
            <a:ext cx="9144000" cy="5162550"/>
          </a:xfrm>
          <a:prstGeom prst="rect">
            <a:avLst/>
          </a:prstGeom>
        </p:spPr>
      </p:pic>
      <p:sp>
        <p:nvSpPr>
          <p:cNvPr id="4" name="Text Placeholder 23"/>
          <p:cNvSpPr>
            <a:spLocks noGrp="1"/>
          </p:cNvSpPr>
          <p:nvPr>
            <p:ph type="body" sz="quarter" idx="10" hasCustomPrompt="1"/>
          </p:nvPr>
        </p:nvSpPr>
        <p:spPr>
          <a:xfrm>
            <a:off x="304800" y="4259799"/>
            <a:ext cx="4114800" cy="6096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5" name="Title Placeholder 1"/>
          <p:cNvSpPr>
            <a:spLocks noGrp="1"/>
          </p:cNvSpPr>
          <p:nvPr>
            <p:ph type="title" hasCustomPrompt="1"/>
          </p:nvPr>
        </p:nvSpPr>
        <p:spPr>
          <a:xfrm>
            <a:off x="7086600" y="4259799"/>
            <a:ext cx="1828800" cy="246184"/>
          </a:xfrm>
          <a:prstGeom prst="rect">
            <a:avLst/>
          </a:prstGeom>
        </p:spPr>
        <p:txBody>
          <a:bodyPr vert="horz" lIns="91440" tIns="45720" rIns="91440" bIns="45720" rtlCol="0" anchor="ctr">
            <a:noAutofit/>
          </a:bodyPr>
          <a:lstStyle>
            <a:lvl1pPr algn="r">
              <a:defRPr sz="1600" b="0">
                <a:solidFill>
                  <a:schemeClr val="bg1"/>
                </a:solidFill>
              </a:defRPr>
            </a:lvl1pPr>
          </a:lstStyle>
          <a:p>
            <a:r>
              <a:rPr lang="en-CA" dirty="0" smtClean="0"/>
              <a:t>Name</a:t>
            </a:r>
            <a:endParaRPr lang="en-US" dirty="0"/>
          </a:p>
        </p:txBody>
      </p:sp>
      <p:sp>
        <p:nvSpPr>
          <p:cNvPr id="10" name="Text Placeholder 9"/>
          <p:cNvSpPr>
            <a:spLocks noGrp="1"/>
          </p:cNvSpPr>
          <p:nvPr>
            <p:ph type="body" sz="quarter" idx="11" hasCustomPrompt="1"/>
          </p:nvPr>
        </p:nvSpPr>
        <p:spPr>
          <a:xfrm>
            <a:off x="7086600" y="4623337"/>
            <a:ext cx="1828800" cy="246062"/>
          </a:xfrm>
        </p:spPr>
        <p:txBody>
          <a:bodyPr>
            <a:noAutofit/>
          </a:bodyPr>
          <a:lstStyle>
            <a:lvl1pPr marL="0" indent="0" algn="r">
              <a:buNone/>
              <a:defRPr sz="1600" b="0">
                <a:solidFill>
                  <a:schemeClr val="bg1"/>
                </a:solidFill>
              </a:defRPr>
            </a:lvl1pPr>
          </a:lstStyle>
          <a:p>
            <a:pPr lvl="0"/>
            <a:r>
              <a:rPr lang="en-US" dirty="0" smtClean="0"/>
              <a:t>Date</a:t>
            </a:r>
            <a:endParaRPr lang="en-CA" dirty="0"/>
          </a:p>
        </p:txBody>
      </p:sp>
    </p:spTree>
    <p:extLst>
      <p:ext uri="{BB962C8B-B14F-4D97-AF65-F5344CB8AC3E}">
        <p14:creationId xmlns:p14="http://schemas.microsoft.com/office/powerpoint/2010/main" val="24582964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Forward Looking Statement">
    <p:spTree>
      <p:nvGrpSpPr>
        <p:cNvPr id="1" name=""/>
        <p:cNvGrpSpPr/>
        <p:nvPr/>
      </p:nvGrpSpPr>
      <p:grpSpPr>
        <a:xfrm>
          <a:off x="0" y="0"/>
          <a:ext cx="0" cy="0"/>
          <a:chOff x="0" y="0"/>
          <a:chExt cx="0" cy="0"/>
        </a:xfrm>
      </p:grpSpPr>
      <p:sp>
        <p:nvSpPr>
          <p:cNvPr id="12" name="Slide Number Placeholder 5"/>
          <p:cNvSpPr txBox="1">
            <a:spLocks/>
          </p:cNvSpPr>
          <p:nvPr/>
        </p:nvSpPr>
        <p:spPr>
          <a:xfrm>
            <a:off x="8305800" y="4781550"/>
            <a:ext cx="381000" cy="27384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82EBD9-7F2B-4227-A656-BB7A7BC50A1E}" type="slidenum">
              <a:rPr lang="en-US" smtClean="0">
                <a:solidFill>
                  <a:schemeClr val="bg1"/>
                </a:solidFill>
              </a:rPr>
              <a:pPr/>
              <a:t>‹#›</a:t>
            </a:fld>
            <a:endParaRPr lang="en-US" dirty="0">
              <a:solidFill>
                <a:schemeClr val="bg1"/>
              </a:solidFill>
            </a:endParaRPr>
          </a:p>
        </p:txBody>
      </p:sp>
      <p:sp>
        <p:nvSpPr>
          <p:cNvPr id="22" name="Right Triangle 21"/>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9" name="Straight Connector 18"/>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TextBox 9"/>
          <p:cNvSpPr txBox="1"/>
          <p:nvPr/>
        </p:nvSpPr>
        <p:spPr>
          <a:xfrm>
            <a:off x="228599" y="964376"/>
            <a:ext cx="8686361" cy="38933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dirty="0" smtClean="0">
                <a:solidFill>
                  <a:srgbClr val="404040"/>
                </a:solidFill>
                <a:latin typeface="Arial Narrow" panose="020B0606020202030204" pitchFamily="34" charset="0"/>
              </a:rPr>
              <a:t>Certain information regarding Linamar set forth in this presentation and oral summary, including management’s assessment of the Company’s future plans and operations may constitute forward-looking statements. This information is based on current expectations that are subject to significant risks and uncertainties that are difficult to predict. Actual results may differ materially from these anticipated in the forward-looking statements due to factors such as customer demand and timing of buying decisions, product mix, competitive products and pricing pressure. In addition, uncertainties and difficulties in domestic and foreign financial markets and economies could adversely affect demand from customers. These factors, as well as general economic and political conditions, may in </a:t>
            </a:r>
            <a:r>
              <a:rPr lang="en-US" sz="1900" baseline="0" dirty="0" smtClean="0">
                <a:solidFill>
                  <a:srgbClr val="404040"/>
                </a:solidFill>
                <a:latin typeface="Arial Narrow" panose="020B0606020202030204" pitchFamily="34" charset="0"/>
              </a:rPr>
              <a:t>t</a:t>
            </a:r>
            <a:r>
              <a:rPr lang="en-US" sz="1900" dirty="0" smtClean="0">
                <a:solidFill>
                  <a:srgbClr val="404040"/>
                </a:solidFill>
                <a:latin typeface="Arial Narrow" panose="020B0606020202030204" pitchFamily="34" charset="0"/>
              </a:rPr>
              <a:t>urn have a material adverse effect on the Company’s financial results. The Company assumes no obligation to update the forward-looking statements, or to update the reasons why actual results could differ from those reflected in the forward-looking statements. </a:t>
            </a:r>
            <a:r>
              <a:rPr lang="en-US" sz="1900" b="0" i="0" kern="1200" dirty="0" smtClean="0">
                <a:solidFill>
                  <a:srgbClr val="404040"/>
                </a:solidFill>
                <a:effectLst/>
                <a:latin typeface="+mn-lt"/>
                <a:ea typeface="+mn-ea"/>
                <a:cs typeface="+mn-cs"/>
              </a:rPr>
              <a:t>Content</a:t>
            </a:r>
            <a:r>
              <a:rPr lang="en-US" sz="1900" b="0" i="0" kern="1200" baseline="0" dirty="0" smtClean="0">
                <a:solidFill>
                  <a:srgbClr val="404040"/>
                </a:solidFill>
                <a:effectLst/>
                <a:latin typeface="+mn-lt"/>
                <a:ea typeface="+mn-ea"/>
                <a:cs typeface="+mn-cs"/>
              </a:rPr>
              <a:t> is protected by copyright and </a:t>
            </a:r>
            <a:r>
              <a:rPr lang="en-US" sz="1900" b="0" i="0" kern="1200" dirty="0" smtClean="0">
                <a:solidFill>
                  <a:srgbClr val="404040"/>
                </a:solidFill>
                <a:effectLst/>
                <a:latin typeface="+mn-lt"/>
                <a:ea typeface="+mn-ea"/>
                <a:cs typeface="+mn-cs"/>
              </a:rPr>
              <a:t>may not be reproduced or repurposed </a:t>
            </a:r>
            <a:r>
              <a:rPr lang="en-US" sz="1900" b="0" i="0" kern="1200" baseline="0" dirty="0" smtClean="0">
                <a:solidFill>
                  <a:srgbClr val="404040"/>
                </a:solidFill>
                <a:effectLst/>
                <a:latin typeface="+mn-lt"/>
                <a:ea typeface="+mn-ea"/>
                <a:cs typeface="+mn-cs"/>
              </a:rPr>
              <a:t>without express written consent by the Company.</a:t>
            </a:r>
            <a:endParaRPr lang="en-CA" sz="1900" dirty="0">
              <a:solidFill>
                <a:srgbClr val="404040"/>
              </a:solidFill>
            </a:endParaRPr>
          </a:p>
        </p:txBody>
      </p:sp>
      <p:sp>
        <p:nvSpPr>
          <p:cNvPr id="11" name="TextBox 10"/>
          <p:cNvSpPr txBox="1"/>
          <p:nvPr/>
        </p:nvSpPr>
        <p:spPr>
          <a:xfrm>
            <a:off x="228600" y="57150"/>
            <a:ext cx="4419600" cy="830997"/>
          </a:xfrm>
          <a:prstGeom prst="rect">
            <a:avLst/>
          </a:prstGeom>
          <a:noFill/>
        </p:spPr>
        <p:txBody>
          <a:bodyPr wrap="square" rtlCol="0" anchor="t">
            <a:spAutoFit/>
          </a:bodyPr>
          <a:lstStyle/>
          <a:p>
            <a:r>
              <a:rPr lang="en-US" sz="2400" b="1" dirty="0" smtClean="0">
                <a:solidFill>
                  <a:srgbClr val="BC4E21"/>
                </a:solidFill>
                <a:latin typeface="Arial Narrow" panose="020B0606020202030204" pitchFamily="34" charset="0"/>
              </a:rPr>
              <a:t>Forward Looking Information, Risk and Uncertainties</a:t>
            </a:r>
            <a:endParaRPr lang="en-CA" sz="2400" b="1" dirty="0">
              <a:solidFill>
                <a:srgbClr val="BC4E21"/>
              </a:solidFill>
              <a:latin typeface="Arial Narrow" panose="020B0606020202030204" pitchFamily="34" charset="0"/>
            </a:endParaRPr>
          </a:p>
        </p:txBody>
      </p:sp>
      <p:sp>
        <p:nvSpPr>
          <p:cNvPr id="9" name="Rectangle 8"/>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Slide Number Placeholder 5"/>
          <p:cNvSpPr txBox="1">
            <a:spLocks/>
          </p:cNvSpPr>
          <p:nvPr/>
        </p:nvSpPr>
        <p:spPr>
          <a:xfrm>
            <a:off x="8305800" y="4781550"/>
            <a:ext cx="381000" cy="27384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82EBD9-7F2B-4227-A656-BB7A7BC50A1E}" type="slidenum">
              <a:rPr lang="en-US" smtClean="0">
                <a:solidFill>
                  <a:schemeClr val="bg1"/>
                </a:solidFill>
              </a:rPr>
              <a:pPr/>
              <a:t>‹#›</a:t>
            </a:fld>
            <a:endParaRPr lang="en-US" dirty="0">
              <a:solidFill>
                <a:schemeClr val="bg1"/>
              </a:solidFill>
            </a:endParaRPr>
          </a:p>
        </p:txBody>
      </p:sp>
      <p:sp>
        <p:nvSpPr>
          <p:cNvPr id="20" name="Right Triangle 19"/>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TextBox 24"/>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3" name="Slide Number Placeholder 5"/>
          <p:cNvSpPr txBox="1">
            <a:spLocks/>
          </p:cNvSpPr>
          <p:nvPr/>
        </p:nvSpPr>
        <p:spPr>
          <a:xfrm>
            <a:off x="8305800" y="4781550"/>
            <a:ext cx="381000" cy="27384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82EBD9-7F2B-4227-A656-BB7A7BC50A1E}" type="slidenum">
              <a:rPr lang="en-US" smtClean="0">
                <a:solidFill>
                  <a:schemeClr val="bg1"/>
                </a:solidFill>
              </a:rPr>
              <a:pPr/>
              <a:t>‹#›</a:t>
            </a:fld>
            <a:endParaRPr lang="en-US" dirty="0">
              <a:solidFill>
                <a:schemeClr val="bg1"/>
              </a:solidFill>
            </a:endParaRPr>
          </a:p>
        </p:txBody>
      </p:sp>
      <p:sp>
        <p:nvSpPr>
          <p:cNvPr id="15" name="Right Triangle 14"/>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6" name="Straight Connector 1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8" name="TextBox 17"/>
          <p:cNvSpPr txBox="1"/>
          <p:nvPr/>
        </p:nvSpPr>
        <p:spPr>
          <a:xfrm>
            <a:off x="228600" y="57150"/>
            <a:ext cx="4419600" cy="830997"/>
          </a:xfrm>
          <a:prstGeom prst="rect">
            <a:avLst/>
          </a:prstGeom>
          <a:noFill/>
        </p:spPr>
        <p:txBody>
          <a:bodyPr wrap="square" rtlCol="0" anchor="t">
            <a:spAutoFit/>
          </a:bodyPr>
          <a:lstStyle/>
          <a:p>
            <a:r>
              <a:rPr lang="en-US" sz="2400" b="1" dirty="0" smtClean="0">
                <a:solidFill>
                  <a:srgbClr val="BC4E21"/>
                </a:solidFill>
                <a:latin typeface="Arial Narrow" panose="020B0606020202030204" pitchFamily="34" charset="0"/>
              </a:rPr>
              <a:t>Forward Looking Information, Risk and Uncertainties</a:t>
            </a:r>
            <a:endParaRPr lang="en-CA" sz="2400" b="1" dirty="0">
              <a:solidFill>
                <a:srgbClr val="BC4E21"/>
              </a:solidFill>
              <a:latin typeface="Arial Narrow" panose="020B0606020202030204" pitchFamily="34" charset="0"/>
            </a:endParaRPr>
          </a:p>
        </p:txBody>
      </p:sp>
      <p:sp>
        <p:nvSpPr>
          <p:cNvPr id="21" name="TextBox 2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8033674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Agenda 3 items">
    <p:spTree>
      <p:nvGrpSpPr>
        <p:cNvPr id="1" name=""/>
        <p:cNvGrpSpPr/>
        <p:nvPr/>
      </p:nvGrpSpPr>
      <p:grpSpPr>
        <a:xfrm>
          <a:off x="0" y="0"/>
          <a:ext cx="0" cy="0"/>
          <a:chOff x="0" y="0"/>
          <a:chExt cx="0" cy="0"/>
        </a:xfrm>
      </p:grpSpPr>
      <p:pic>
        <p:nvPicPr>
          <p:cNvPr id="37" name="Picture 36"/>
          <p:cNvPicPr>
            <a:picLocks noChangeAspect="1"/>
          </p:cNvPicPr>
          <p:nvPr/>
        </p:nvPicPr>
        <p:blipFill rotWithShape="1">
          <a:blip r:embed="rId2">
            <a:extLst>
              <a:ext uri="{28A0092B-C50C-407E-A947-70E740481C1C}">
                <a14:useLocalDpi xmlns:a14="http://schemas.microsoft.com/office/drawing/2010/main" val="0"/>
              </a:ext>
            </a:extLst>
          </a:blip>
          <a:srcRect l="27099" t="364" r="39804" b="1234"/>
          <a:stretch/>
        </p:blipFill>
        <p:spPr>
          <a:xfrm>
            <a:off x="-6796" y="0"/>
            <a:ext cx="2597596" cy="5143500"/>
          </a:xfrm>
          <a:prstGeom prst="rect">
            <a:avLst/>
          </a:prstGeom>
        </p:spPr>
      </p:pic>
      <p:sp>
        <p:nvSpPr>
          <p:cNvPr id="22" name="Right Triangle 21"/>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TextBox 30"/>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33" name="TextBox 32"/>
          <p:cNvSpPr txBox="1"/>
          <p:nvPr/>
        </p:nvSpPr>
        <p:spPr>
          <a:xfrm>
            <a:off x="3276598" y="2314120"/>
            <a:ext cx="2590800" cy="369332"/>
          </a:xfrm>
          <a:prstGeom prst="rect">
            <a:avLst/>
          </a:prstGeom>
          <a:noFill/>
        </p:spPr>
        <p:txBody>
          <a:bodyPr wrap="square" rtlCol="0">
            <a:spAutoFit/>
          </a:bodyPr>
          <a:lstStyle/>
          <a:p>
            <a:endParaRPr lang="en-CA"/>
          </a:p>
        </p:txBody>
      </p:sp>
      <p:sp>
        <p:nvSpPr>
          <p:cNvPr id="34" name="TextBox 33"/>
          <p:cNvSpPr txBox="1"/>
          <p:nvPr/>
        </p:nvSpPr>
        <p:spPr>
          <a:xfrm>
            <a:off x="3276598" y="3287917"/>
            <a:ext cx="2590800" cy="369332"/>
          </a:xfrm>
          <a:prstGeom prst="rect">
            <a:avLst/>
          </a:prstGeom>
          <a:noFill/>
        </p:spPr>
        <p:txBody>
          <a:bodyPr wrap="square" rtlCol="0">
            <a:spAutoFit/>
          </a:bodyPr>
          <a:lstStyle/>
          <a:p>
            <a:endParaRPr lang="en-CA"/>
          </a:p>
        </p:txBody>
      </p:sp>
      <p:cxnSp>
        <p:nvCxnSpPr>
          <p:cNvPr id="16" name="Straight Connector 15"/>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0" name="Content Placeholder 4"/>
          <p:cNvSpPr>
            <a:spLocks noGrp="1"/>
          </p:cNvSpPr>
          <p:nvPr>
            <p:ph sz="quarter" idx="11" hasCustomPrompt="1"/>
          </p:nvPr>
        </p:nvSpPr>
        <p:spPr>
          <a:xfrm>
            <a:off x="3257548" y="427552"/>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Oval 25"/>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Triangle 16"/>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TextBox 17"/>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19" name="TextBox 18"/>
          <p:cNvSpPr txBox="1"/>
          <p:nvPr/>
        </p:nvSpPr>
        <p:spPr>
          <a:xfrm>
            <a:off x="3276598" y="2314120"/>
            <a:ext cx="2590800" cy="369332"/>
          </a:xfrm>
          <a:prstGeom prst="rect">
            <a:avLst/>
          </a:prstGeom>
          <a:noFill/>
        </p:spPr>
        <p:txBody>
          <a:bodyPr wrap="square" rtlCol="0">
            <a:spAutoFit/>
          </a:bodyPr>
          <a:lstStyle/>
          <a:p>
            <a:endParaRPr lang="en-CA"/>
          </a:p>
        </p:txBody>
      </p:sp>
      <p:sp>
        <p:nvSpPr>
          <p:cNvPr id="25" name="TextBox 24"/>
          <p:cNvSpPr txBox="1"/>
          <p:nvPr/>
        </p:nvSpPr>
        <p:spPr>
          <a:xfrm>
            <a:off x="3276598" y="3287917"/>
            <a:ext cx="2590800" cy="369332"/>
          </a:xfrm>
          <a:prstGeom prst="rect">
            <a:avLst/>
          </a:prstGeom>
          <a:noFill/>
        </p:spPr>
        <p:txBody>
          <a:bodyPr wrap="square" rtlCol="0">
            <a:spAutoFit/>
          </a:bodyPr>
          <a:lstStyle/>
          <a:p>
            <a:endParaRPr lang="en-CA"/>
          </a:p>
        </p:txBody>
      </p:sp>
      <p:cxnSp>
        <p:nvCxnSpPr>
          <p:cNvPr id="29" name="Straight Connector 28"/>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32" name="Oval 31"/>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995142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genda 3 items">
    <p:spTree>
      <p:nvGrpSpPr>
        <p:cNvPr id="1" name=""/>
        <p:cNvGrpSpPr/>
        <p:nvPr/>
      </p:nvGrpSpPr>
      <p:grpSpPr>
        <a:xfrm>
          <a:off x="0" y="0"/>
          <a:ext cx="0" cy="0"/>
          <a:chOff x="0" y="0"/>
          <a:chExt cx="0" cy="0"/>
        </a:xfrm>
      </p:grpSpPr>
      <p:pic>
        <p:nvPicPr>
          <p:cNvPr id="37" name="Picture 36"/>
          <p:cNvPicPr>
            <a:picLocks noChangeAspect="1"/>
          </p:cNvPicPr>
          <p:nvPr/>
        </p:nvPicPr>
        <p:blipFill rotWithShape="1">
          <a:blip r:embed="rId2">
            <a:extLst>
              <a:ext uri="{28A0092B-C50C-407E-A947-70E740481C1C}">
                <a14:useLocalDpi xmlns:a14="http://schemas.microsoft.com/office/drawing/2010/main" val="0"/>
              </a:ext>
            </a:extLst>
          </a:blip>
          <a:srcRect l="27099" t="364" r="39804" b="1234"/>
          <a:stretch/>
        </p:blipFill>
        <p:spPr>
          <a:xfrm>
            <a:off x="-6796" y="0"/>
            <a:ext cx="2597596" cy="5143500"/>
          </a:xfrm>
          <a:prstGeom prst="rect">
            <a:avLst/>
          </a:prstGeom>
        </p:spPr>
      </p:pic>
      <p:sp>
        <p:nvSpPr>
          <p:cNvPr id="22" name="Right Triangle 21"/>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TextBox 30"/>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33" name="TextBox 32"/>
          <p:cNvSpPr txBox="1"/>
          <p:nvPr/>
        </p:nvSpPr>
        <p:spPr>
          <a:xfrm>
            <a:off x="3276598" y="2314120"/>
            <a:ext cx="2590800" cy="369332"/>
          </a:xfrm>
          <a:prstGeom prst="rect">
            <a:avLst/>
          </a:prstGeom>
          <a:noFill/>
        </p:spPr>
        <p:txBody>
          <a:bodyPr wrap="square" rtlCol="0">
            <a:spAutoFit/>
          </a:bodyPr>
          <a:lstStyle/>
          <a:p>
            <a:endParaRPr lang="en-CA"/>
          </a:p>
        </p:txBody>
      </p:sp>
      <p:sp>
        <p:nvSpPr>
          <p:cNvPr id="34" name="TextBox 33"/>
          <p:cNvSpPr txBox="1"/>
          <p:nvPr/>
        </p:nvSpPr>
        <p:spPr>
          <a:xfrm>
            <a:off x="3276598" y="3287917"/>
            <a:ext cx="2590800" cy="369332"/>
          </a:xfrm>
          <a:prstGeom prst="rect">
            <a:avLst/>
          </a:prstGeom>
          <a:noFill/>
        </p:spPr>
        <p:txBody>
          <a:bodyPr wrap="square" rtlCol="0">
            <a:spAutoFit/>
          </a:bodyPr>
          <a:lstStyle/>
          <a:p>
            <a:endParaRPr lang="en-CA"/>
          </a:p>
        </p:txBody>
      </p:sp>
      <p:cxnSp>
        <p:nvCxnSpPr>
          <p:cNvPr id="16" name="Straight Connector 15"/>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0" name="Content Placeholder 4"/>
          <p:cNvSpPr>
            <a:spLocks noGrp="1"/>
          </p:cNvSpPr>
          <p:nvPr>
            <p:ph sz="quarter" idx="11" hasCustomPrompt="1"/>
          </p:nvPr>
        </p:nvSpPr>
        <p:spPr>
          <a:xfrm>
            <a:off x="3257548" y="427552"/>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3" name="Content Placeholder 4"/>
          <p:cNvSpPr>
            <a:spLocks noGrp="1"/>
          </p:cNvSpPr>
          <p:nvPr>
            <p:ph sz="quarter" idx="12" hasCustomPrompt="1"/>
          </p:nvPr>
        </p:nvSpPr>
        <p:spPr>
          <a:xfrm>
            <a:off x="3276598" y="1350441"/>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Oval 25"/>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Triangle 16"/>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TextBox 17"/>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19" name="TextBox 18"/>
          <p:cNvSpPr txBox="1"/>
          <p:nvPr/>
        </p:nvSpPr>
        <p:spPr>
          <a:xfrm>
            <a:off x="3276598" y="2314120"/>
            <a:ext cx="2590800" cy="369332"/>
          </a:xfrm>
          <a:prstGeom prst="rect">
            <a:avLst/>
          </a:prstGeom>
          <a:noFill/>
        </p:spPr>
        <p:txBody>
          <a:bodyPr wrap="square" rtlCol="0">
            <a:spAutoFit/>
          </a:bodyPr>
          <a:lstStyle/>
          <a:p>
            <a:endParaRPr lang="en-CA"/>
          </a:p>
        </p:txBody>
      </p:sp>
      <p:sp>
        <p:nvSpPr>
          <p:cNvPr id="25" name="TextBox 24"/>
          <p:cNvSpPr txBox="1"/>
          <p:nvPr/>
        </p:nvSpPr>
        <p:spPr>
          <a:xfrm>
            <a:off x="3276598" y="3287917"/>
            <a:ext cx="2590800" cy="369332"/>
          </a:xfrm>
          <a:prstGeom prst="rect">
            <a:avLst/>
          </a:prstGeom>
          <a:noFill/>
        </p:spPr>
        <p:txBody>
          <a:bodyPr wrap="square" rtlCol="0">
            <a:spAutoFit/>
          </a:bodyPr>
          <a:lstStyle/>
          <a:p>
            <a:endParaRPr lang="en-CA"/>
          </a:p>
        </p:txBody>
      </p:sp>
      <p:cxnSp>
        <p:nvCxnSpPr>
          <p:cNvPr id="29" name="Straight Connector 28"/>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32" name="Oval 31"/>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473433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3 items">
    <p:spTree>
      <p:nvGrpSpPr>
        <p:cNvPr id="1" name=""/>
        <p:cNvGrpSpPr/>
        <p:nvPr/>
      </p:nvGrpSpPr>
      <p:grpSpPr>
        <a:xfrm>
          <a:off x="0" y="0"/>
          <a:ext cx="0" cy="0"/>
          <a:chOff x="0" y="0"/>
          <a:chExt cx="0" cy="0"/>
        </a:xfrm>
      </p:grpSpPr>
      <p:pic>
        <p:nvPicPr>
          <p:cNvPr id="37" name="Picture 36"/>
          <p:cNvPicPr>
            <a:picLocks noChangeAspect="1"/>
          </p:cNvPicPr>
          <p:nvPr/>
        </p:nvPicPr>
        <p:blipFill rotWithShape="1">
          <a:blip r:embed="rId2">
            <a:extLst>
              <a:ext uri="{28A0092B-C50C-407E-A947-70E740481C1C}">
                <a14:useLocalDpi xmlns:a14="http://schemas.microsoft.com/office/drawing/2010/main" val="0"/>
              </a:ext>
            </a:extLst>
          </a:blip>
          <a:srcRect l="27099" t="364" r="39804" b="1234"/>
          <a:stretch/>
        </p:blipFill>
        <p:spPr>
          <a:xfrm>
            <a:off x="-6796" y="0"/>
            <a:ext cx="2597596" cy="5143500"/>
          </a:xfrm>
          <a:prstGeom prst="rect">
            <a:avLst/>
          </a:prstGeom>
        </p:spPr>
      </p:pic>
      <p:sp>
        <p:nvSpPr>
          <p:cNvPr id="22" name="Right Triangle 21"/>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TextBox 30"/>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33" name="TextBox 32"/>
          <p:cNvSpPr txBox="1"/>
          <p:nvPr/>
        </p:nvSpPr>
        <p:spPr>
          <a:xfrm>
            <a:off x="3276598" y="2314120"/>
            <a:ext cx="2590800" cy="369332"/>
          </a:xfrm>
          <a:prstGeom prst="rect">
            <a:avLst/>
          </a:prstGeom>
          <a:noFill/>
        </p:spPr>
        <p:txBody>
          <a:bodyPr wrap="square" rtlCol="0">
            <a:spAutoFit/>
          </a:bodyPr>
          <a:lstStyle/>
          <a:p>
            <a:endParaRPr lang="en-CA"/>
          </a:p>
        </p:txBody>
      </p:sp>
      <p:sp>
        <p:nvSpPr>
          <p:cNvPr id="34" name="TextBox 33"/>
          <p:cNvSpPr txBox="1"/>
          <p:nvPr/>
        </p:nvSpPr>
        <p:spPr>
          <a:xfrm>
            <a:off x="3276598" y="3287917"/>
            <a:ext cx="2590800" cy="369332"/>
          </a:xfrm>
          <a:prstGeom prst="rect">
            <a:avLst/>
          </a:prstGeom>
          <a:noFill/>
        </p:spPr>
        <p:txBody>
          <a:bodyPr wrap="square" rtlCol="0">
            <a:spAutoFit/>
          </a:bodyPr>
          <a:lstStyle/>
          <a:p>
            <a:endParaRPr lang="en-CA"/>
          </a:p>
        </p:txBody>
      </p:sp>
      <p:cxnSp>
        <p:nvCxnSpPr>
          <p:cNvPr id="16" name="Straight Connector 15"/>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0" name="Content Placeholder 4"/>
          <p:cNvSpPr>
            <a:spLocks noGrp="1"/>
          </p:cNvSpPr>
          <p:nvPr>
            <p:ph sz="quarter" idx="11" hasCustomPrompt="1"/>
          </p:nvPr>
        </p:nvSpPr>
        <p:spPr>
          <a:xfrm>
            <a:off x="3257548" y="427552"/>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3" name="Content Placeholder 4"/>
          <p:cNvSpPr>
            <a:spLocks noGrp="1"/>
          </p:cNvSpPr>
          <p:nvPr>
            <p:ph sz="quarter" idx="12" hasCustomPrompt="1"/>
          </p:nvPr>
        </p:nvSpPr>
        <p:spPr>
          <a:xfrm>
            <a:off x="3276598" y="1350441"/>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4" name="Content Placeholder 4"/>
          <p:cNvSpPr>
            <a:spLocks noGrp="1"/>
          </p:cNvSpPr>
          <p:nvPr>
            <p:ph sz="quarter" idx="13" hasCustomPrompt="1"/>
          </p:nvPr>
        </p:nvSpPr>
        <p:spPr>
          <a:xfrm>
            <a:off x="3257548" y="2282330"/>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Oval 25"/>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ight Triangle 16"/>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TextBox 17"/>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19" name="TextBox 18"/>
          <p:cNvSpPr txBox="1"/>
          <p:nvPr/>
        </p:nvSpPr>
        <p:spPr>
          <a:xfrm>
            <a:off x="3276598" y="2314120"/>
            <a:ext cx="2590800" cy="369332"/>
          </a:xfrm>
          <a:prstGeom prst="rect">
            <a:avLst/>
          </a:prstGeom>
          <a:noFill/>
        </p:spPr>
        <p:txBody>
          <a:bodyPr wrap="square" rtlCol="0">
            <a:spAutoFit/>
          </a:bodyPr>
          <a:lstStyle/>
          <a:p>
            <a:endParaRPr lang="en-CA"/>
          </a:p>
        </p:txBody>
      </p:sp>
      <p:sp>
        <p:nvSpPr>
          <p:cNvPr id="25" name="TextBox 24"/>
          <p:cNvSpPr txBox="1"/>
          <p:nvPr/>
        </p:nvSpPr>
        <p:spPr>
          <a:xfrm>
            <a:off x="3276598" y="3287917"/>
            <a:ext cx="2590800" cy="369332"/>
          </a:xfrm>
          <a:prstGeom prst="rect">
            <a:avLst/>
          </a:prstGeom>
          <a:noFill/>
        </p:spPr>
        <p:txBody>
          <a:bodyPr wrap="square" rtlCol="0">
            <a:spAutoFit/>
          </a:bodyPr>
          <a:lstStyle/>
          <a:p>
            <a:endParaRPr lang="en-CA"/>
          </a:p>
        </p:txBody>
      </p:sp>
      <p:cxnSp>
        <p:nvCxnSpPr>
          <p:cNvPr id="29" name="Straight Connector 28"/>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32" name="Oval 31"/>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4818766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4 items">
    <p:spTree>
      <p:nvGrpSpPr>
        <p:cNvPr id="1" name=""/>
        <p:cNvGrpSpPr/>
        <p:nvPr/>
      </p:nvGrpSpPr>
      <p:grpSpPr>
        <a:xfrm>
          <a:off x="0" y="0"/>
          <a:ext cx="0" cy="0"/>
          <a:chOff x="0" y="0"/>
          <a:chExt cx="0" cy="0"/>
        </a:xfrm>
      </p:grpSpPr>
      <p:pic>
        <p:nvPicPr>
          <p:cNvPr id="45" name="Picture 44"/>
          <p:cNvPicPr>
            <a:picLocks noChangeAspect="1"/>
          </p:cNvPicPr>
          <p:nvPr/>
        </p:nvPicPr>
        <p:blipFill rotWithShape="1">
          <a:blip r:embed="rId2">
            <a:extLst>
              <a:ext uri="{28A0092B-C50C-407E-A947-70E740481C1C}">
                <a14:useLocalDpi xmlns:a14="http://schemas.microsoft.com/office/drawing/2010/main" val="0"/>
              </a:ext>
            </a:extLst>
          </a:blip>
          <a:srcRect l="27099" t="364" r="39804" b="1234"/>
          <a:stretch/>
        </p:blipFill>
        <p:spPr>
          <a:xfrm>
            <a:off x="-6796" y="0"/>
            <a:ext cx="2597596" cy="5143500"/>
          </a:xfrm>
          <a:prstGeom prst="rect">
            <a:avLst/>
          </a:prstGeom>
        </p:spPr>
      </p:pic>
      <p:sp>
        <p:nvSpPr>
          <p:cNvPr id="22" name="Right Triangle 21"/>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TextBox 31"/>
          <p:cNvSpPr txBox="1"/>
          <p:nvPr/>
        </p:nvSpPr>
        <p:spPr>
          <a:xfrm>
            <a:off x="3282694" y="1428522"/>
            <a:ext cx="2590800" cy="369332"/>
          </a:xfrm>
          <a:prstGeom prst="rect">
            <a:avLst/>
          </a:prstGeom>
          <a:noFill/>
        </p:spPr>
        <p:txBody>
          <a:bodyPr wrap="square" rtlCol="0">
            <a:spAutoFit/>
          </a:bodyPr>
          <a:lstStyle/>
          <a:p>
            <a:endParaRPr lang="en-CA"/>
          </a:p>
        </p:txBody>
      </p:sp>
      <p:sp>
        <p:nvSpPr>
          <p:cNvPr id="33" name="TextBox 32"/>
          <p:cNvSpPr txBox="1"/>
          <p:nvPr/>
        </p:nvSpPr>
        <p:spPr>
          <a:xfrm>
            <a:off x="3276598" y="2314120"/>
            <a:ext cx="2590800" cy="369332"/>
          </a:xfrm>
          <a:prstGeom prst="rect">
            <a:avLst/>
          </a:prstGeom>
          <a:noFill/>
        </p:spPr>
        <p:txBody>
          <a:bodyPr wrap="square" rtlCol="0">
            <a:spAutoFit/>
          </a:bodyPr>
          <a:lstStyle/>
          <a:p>
            <a:endParaRPr lang="en-CA"/>
          </a:p>
        </p:txBody>
      </p:sp>
      <p:sp>
        <p:nvSpPr>
          <p:cNvPr id="34" name="TextBox 33"/>
          <p:cNvSpPr txBox="1"/>
          <p:nvPr/>
        </p:nvSpPr>
        <p:spPr>
          <a:xfrm>
            <a:off x="3276598" y="3287917"/>
            <a:ext cx="2590800" cy="369332"/>
          </a:xfrm>
          <a:prstGeom prst="rect">
            <a:avLst/>
          </a:prstGeom>
          <a:noFill/>
        </p:spPr>
        <p:txBody>
          <a:bodyPr wrap="square" rtlCol="0">
            <a:spAutoFit/>
          </a:bodyPr>
          <a:lstStyle/>
          <a:p>
            <a:endParaRPr lang="en-CA"/>
          </a:p>
        </p:txBody>
      </p:sp>
      <p:cxnSp>
        <p:nvCxnSpPr>
          <p:cNvPr id="16" name="Straight Connector 15"/>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0" name="Content Placeholder 4"/>
          <p:cNvSpPr>
            <a:spLocks noGrp="1"/>
          </p:cNvSpPr>
          <p:nvPr>
            <p:ph sz="quarter" idx="11" hasCustomPrompt="1"/>
          </p:nvPr>
        </p:nvSpPr>
        <p:spPr>
          <a:xfrm>
            <a:off x="3257548" y="427552"/>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1" name="Content Placeholder 4"/>
          <p:cNvSpPr>
            <a:spLocks noGrp="1"/>
          </p:cNvSpPr>
          <p:nvPr>
            <p:ph sz="quarter" idx="12" hasCustomPrompt="1"/>
          </p:nvPr>
        </p:nvSpPr>
        <p:spPr>
          <a:xfrm>
            <a:off x="3276598" y="1350441"/>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5" name="Content Placeholder 4"/>
          <p:cNvSpPr>
            <a:spLocks noGrp="1"/>
          </p:cNvSpPr>
          <p:nvPr>
            <p:ph sz="quarter" idx="13" hasCustomPrompt="1"/>
          </p:nvPr>
        </p:nvSpPr>
        <p:spPr>
          <a:xfrm>
            <a:off x="3257548" y="2282330"/>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Content Placeholder 4"/>
          <p:cNvSpPr>
            <a:spLocks noGrp="1"/>
          </p:cNvSpPr>
          <p:nvPr>
            <p:ph sz="quarter" idx="14" hasCustomPrompt="1"/>
          </p:nvPr>
        </p:nvSpPr>
        <p:spPr>
          <a:xfrm>
            <a:off x="3257548" y="3210137"/>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7" name="Oval 26"/>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Oval 28"/>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Oval 29"/>
          <p:cNvSpPr/>
          <p:nvPr/>
        </p:nvSpPr>
        <p:spPr>
          <a:xfrm>
            <a:off x="2828923" y="3325091"/>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ight Triangle 22"/>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TextBox 30"/>
          <p:cNvSpPr txBox="1"/>
          <p:nvPr/>
        </p:nvSpPr>
        <p:spPr>
          <a:xfrm>
            <a:off x="3282694" y="1428522"/>
            <a:ext cx="2590800" cy="369332"/>
          </a:xfrm>
          <a:prstGeom prst="rect">
            <a:avLst/>
          </a:prstGeom>
          <a:noFill/>
        </p:spPr>
        <p:txBody>
          <a:bodyPr wrap="square" rtlCol="0">
            <a:spAutoFit/>
          </a:bodyPr>
          <a:lstStyle/>
          <a:p>
            <a:endParaRPr lang="en-CA"/>
          </a:p>
        </p:txBody>
      </p:sp>
      <p:sp>
        <p:nvSpPr>
          <p:cNvPr id="35" name="TextBox 34"/>
          <p:cNvSpPr txBox="1"/>
          <p:nvPr/>
        </p:nvSpPr>
        <p:spPr>
          <a:xfrm>
            <a:off x="3276598" y="2314120"/>
            <a:ext cx="2590800" cy="369332"/>
          </a:xfrm>
          <a:prstGeom prst="rect">
            <a:avLst/>
          </a:prstGeom>
          <a:noFill/>
        </p:spPr>
        <p:txBody>
          <a:bodyPr wrap="square" rtlCol="0">
            <a:spAutoFit/>
          </a:bodyPr>
          <a:lstStyle/>
          <a:p>
            <a:endParaRPr lang="en-CA"/>
          </a:p>
        </p:txBody>
      </p:sp>
      <p:sp>
        <p:nvSpPr>
          <p:cNvPr id="36" name="TextBox 35"/>
          <p:cNvSpPr txBox="1"/>
          <p:nvPr/>
        </p:nvSpPr>
        <p:spPr>
          <a:xfrm>
            <a:off x="3276598" y="3287917"/>
            <a:ext cx="2590800" cy="369332"/>
          </a:xfrm>
          <a:prstGeom prst="rect">
            <a:avLst/>
          </a:prstGeom>
          <a:noFill/>
        </p:spPr>
        <p:txBody>
          <a:bodyPr wrap="square" rtlCol="0">
            <a:spAutoFit/>
          </a:bodyPr>
          <a:lstStyle/>
          <a:p>
            <a:endParaRPr lang="en-CA"/>
          </a:p>
        </p:txBody>
      </p:sp>
      <p:cxnSp>
        <p:nvCxnSpPr>
          <p:cNvPr id="37" name="Straight Connector 36"/>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39" name="Oval 38"/>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p:cNvSpPr/>
          <p:nvPr/>
        </p:nvSpPr>
        <p:spPr>
          <a:xfrm>
            <a:off x="2828923" y="3325091"/>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p:cNvSpPr txBox="1"/>
          <p:nvPr/>
        </p:nvSpPr>
        <p:spPr>
          <a:xfrm>
            <a:off x="76200" y="242886"/>
            <a:ext cx="1635064" cy="369332"/>
          </a:xfrm>
          <a:prstGeom prst="rect">
            <a:avLst/>
          </a:prstGeom>
          <a:noFill/>
          <a:ln>
            <a:noFill/>
          </a:ln>
          <a:effectLst/>
        </p:spPr>
        <p:txBody>
          <a:bodyPr wrap="none" lIns="0" tIns="0" rIns="0" bIns="0" rtlCol="0">
            <a:spAutoFit/>
          </a:bodyPr>
          <a:lstStyle/>
          <a:p>
            <a:pPr algn="ctr"/>
            <a:r>
              <a:rPr lang="bg-BG" sz="2400" b="1" dirty="0" smtClean="0">
                <a:solidFill>
                  <a:schemeClr val="lt1"/>
                </a:solidFill>
                <a:latin typeface="+mj-lt"/>
              </a:rPr>
              <a:t>Съдържание</a:t>
            </a:r>
            <a:endParaRPr lang="en-US" sz="2400" b="1" dirty="0">
              <a:solidFill>
                <a:schemeClr val="lt1"/>
              </a:solidFill>
              <a:latin typeface="+mj-lt"/>
            </a:endParaRPr>
          </a:p>
        </p:txBody>
      </p:sp>
    </p:spTree>
    <p:extLst>
      <p:ext uri="{BB962C8B-B14F-4D97-AF65-F5344CB8AC3E}">
        <p14:creationId xmlns:p14="http://schemas.microsoft.com/office/powerpoint/2010/main" val="51525666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5 items">
    <p:spTree>
      <p:nvGrpSpPr>
        <p:cNvPr id="1" name=""/>
        <p:cNvGrpSpPr/>
        <p:nvPr/>
      </p:nvGrpSpPr>
      <p:grpSpPr>
        <a:xfrm>
          <a:off x="0" y="0"/>
          <a:ext cx="0" cy="0"/>
          <a:chOff x="0" y="0"/>
          <a:chExt cx="0" cy="0"/>
        </a:xfrm>
      </p:grpSpPr>
      <p:pic>
        <p:nvPicPr>
          <p:cNvPr id="47" name="Picture 46"/>
          <p:cNvPicPr>
            <a:picLocks noChangeAspect="1"/>
          </p:cNvPicPr>
          <p:nvPr/>
        </p:nvPicPr>
        <p:blipFill rotWithShape="1">
          <a:blip r:embed="rId2">
            <a:extLst>
              <a:ext uri="{28A0092B-C50C-407E-A947-70E740481C1C}">
                <a14:useLocalDpi xmlns:a14="http://schemas.microsoft.com/office/drawing/2010/main" val="0"/>
              </a:ext>
            </a:extLst>
          </a:blip>
          <a:srcRect l="27099" t="364" r="39804" b="1234"/>
          <a:stretch/>
        </p:blipFill>
        <p:spPr>
          <a:xfrm>
            <a:off x="-6796" y="0"/>
            <a:ext cx="2597596" cy="5143500"/>
          </a:xfrm>
          <a:prstGeom prst="rect">
            <a:avLst/>
          </a:prstGeom>
        </p:spPr>
      </p:pic>
      <p:sp>
        <p:nvSpPr>
          <p:cNvPr id="22" name="Right Triangle 21"/>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TextBox 31"/>
          <p:cNvSpPr txBox="1"/>
          <p:nvPr/>
        </p:nvSpPr>
        <p:spPr>
          <a:xfrm>
            <a:off x="3282694" y="1428522"/>
            <a:ext cx="2590800" cy="369332"/>
          </a:xfrm>
          <a:prstGeom prst="rect">
            <a:avLst/>
          </a:prstGeom>
          <a:noFill/>
        </p:spPr>
        <p:txBody>
          <a:bodyPr wrap="square" rtlCol="0">
            <a:spAutoFit/>
          </a:bodyPr>
          <a:lstStyle/>
          <a:p>
            <a:endParaRPr lang="en-CA"/>
          </a:p>
        </p:txBody>
      </p:sp>
      <p:sp>
        <p:nvSpPr>
          <p:cNvPr id="33" name="TextBox 32"/>
          <p:cNvSpPr txBox="1"/>
          <p:nvPr/>
        </p:nvSpPr>
        <p:spPr>
          <a:xfrm>
            <a:off x="3276598" y="2314120"/>
            <a:ext cx="2590800" cy="369332"/>
          </a:xfrm>
          <a:prstGeom prst="rect">
            <a:avLst/>
          </a:prstGeom>
          <a:noFill/>
        </p:spPr>
        <p:txBody>
          <a:bodyPr wrap="square" rtlCol="0">
            <a:spAutoFit/>
          </a:bodyPr>
          <a:lstStyle/>
          <a:p>
            <a:endParaRPr lang="en-CA"/>
          </a:p>
        </p:txBody>
      </p:sp>
      <p:sp>
        <p:nvSpPr>
          <p:cNvPr id="34" name="TextBox 33"/>
          <p:cNvSpPr txBox="1"/>
          <p:nvPr/>
        </p:nvSpPr>
        <p:spPr>
          <a:xfrm>
            <a:off x="3276598" y="3287917"/>
            <a:ext cx="2590800" cy="369332"/>
          </a:xfrm>
          <a:prstGeom prst="rect">
            <a:avLst/>
          </a:prstGeom>
          <a:noFill/>
        </p:spPr>
        <p:txBody>
          <a:bodyPr wrap="square" rtlCol="0">
            <a:spAutoFit/>
          </a:bodyPr>
          <a:lstStyle/>
          <a:p>
            <a:endParaRPr lang="en-CA"/>
          </a:p>
        </p:txBody>
      </p:sp>
      <p:sp>
        <p:nvSpPr>
          <p:cNvPr id="36" name="Content Placeholder 4"/>
          <p:cNvSpPr>
            <a:spLocks noGrp="1"/>
          </p:cNvSpPr>
          <p:nvPr>
            <p:ph sz="quarter" idx="11" hasCustomPrompt="1"/>
          </p:nvPr>
        </p:nvSpPr>
        <p:spPr>
          <a:xfrm>
            <a:off x="3257548" y="427552"/>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7" name="Content Placeholder 4"/>
          <p:cNvSpPr>
            <a:spLocks noGrp="1"/>
          </p:cNvSpPr>
          <p:nvPr>
            <p:ph sz="quarter" idx="12" hasCustomPrompt="1"/>
          </p:nvPr>
        </p:nvSpPr>
        <p:spPr>
          <a:xfrm>
            <a:off x="3276598" y="1350441"/>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8" name="Content Placeholder 4"/>
          <p:cNvSpPr>
            <a:spLocks noGrp="1"/>
          </p:cNvSpPr>
          <p:nvPr>
            <p:ph sz="quarter" idx="13" hasCustomPrompt="1"/>
          </p:nvPr>
        </p:nvSpPr>
        <p:spPr>
          <a:xfrm>
            <a:off x="3257548" y="2282330"/>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9" name="Content Placeholder 4"/>
          <p:cNvSpPr>
            <a:spLocks noGrp="1"/>
          </p:cNvSpPr>
          <p:nvPr>
            <p:ph sz="quarter" idx="14" hasCustomPrompt="1"/>
          </p:nvPr>
        </p:nvSpPr>
        <p:spPr>
          <a:xfrm>
            <a:off x="3257548" y="3210137"/>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cxnSp>
        <p:nvCxnSpPr>
          <p:cNvPr id="16" name="Straight Connector 15"/>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Oval 18"/>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p:cNvSpPr/>
          <p:nvPr/>
        </p:nvSpPr>
        <p:spPr>
          <a:xfrm>
            <a:off x="2828923" y="3325091"/>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Content Placeholder 4"/>
          <p:cNvSpPr>
            <a:spLocks noGrp="1"/>
          </p:cNvSpPr>
          <p:nvPr>
            <p:ph sz="quarter" idx="15" hasCustomPrompt="1"/>
          </p:nvPr>
        </p:nvSpPr>
        <p:spPr>
          <a:xfrm>
            <a:off x="3276598" y="4137108"/>
            <a:ext cx="4267202" cy="516494"/>
          </a:xfrm>
        </p:spPr>
        <p:txBody>
          <a:bodyPr>
            <a:normAutofit/>
          </a:bodyPr>
          <a:lstStyle>
            <a:lvl1pPr marL="0" indent="0">
              <a:buClr>
                <a:schemeClr val="tx2"/>
              </a:buClr>
              <a:buFont typeface="Wingdings" panose="05000000000000000000" pitchFamily="2" charset="2"/>
              <a:buNone/>
              <a:defRPr sz="1800" b="0" baseline="0">
                <a:solidFill>
                  <a:srgbClr val="404040"/>
                </a:solidFill>
                <a:latin typeface="+mj-lt"/>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1" name="Oval 20"/>
          <p:cNvSpPr/>
          <p:nvPr/>
        </p:nvSpPr>
        <p:spPr>
          <a:xfrm>
            <a:off x="2847973" y="425206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4" name="TextBox 23"/>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
        <p:nvSpPr>
          <p:cNvPr id="27" name="Right Triangle 26"/>
          <p:cNvSpPr/>
          <p:nvPr/>
        </p:nvSpPr>
        <p:spPr>
          <a:xfrm flipH="1">
            <a:off x="6002427" y="4078211"/>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TextBox 27"/>
          <p:cNvSpPr txBox="1"/>
          <p:nvPr/>
        </p:nvSpPr>
        <p:spPr>
          <a:xfrm>
            <a:off x="3282694" y="1428522"/>
            <a:ext cx="2590800" cy="369332"/>
          </a:xfrm>
          <a:prstGeom prst="rect">
            <a:avLst/>
          </a:prstGeom>
          <a:noFill/>
        </p:spPr>
        <p:txBody>
          <a:bodyPr wrap="square" rtlCol="0">
            <a:spAutoFit/>
          </a:bodyPr>
          <a:lstStyle/>
          <a:p>
            <a:endParaRPr lang="en-CA"/>
          </a:p>
        </p:txBody>
      </p:sp>
      <p:sp>
        <p:nvSpPr>
          <p:cNvPr id="29" name="TextBox 28"/>
          <p:cNvSpPr txBox="1"/>
          <p:nvPr/>
        </p:nvSpPr>
        <p:spPr>
          <a:xfrm>
            <a:off x="3276598" y="2314120"/>
            <a:ext cx="2590800" cy="369332"/>
          </a:xfrm>
          <a:prstGeom prst="rect">
            <a:avLst/>
          </a:prstGeom>
          <a:noFill/>
        </p:spPr>
        <p:txBody>
          <a:bodyPr wrap="square" rtlCol="0">
            <a:spAutoFit/>
          </a:bodyPr>
          <a:lstStyle/>
          <a:p>
            <a:endParaRPr lang="en-CA"/>
          </a:p>
        </p:txBody>
      </p:sp>
      <p:sp>
        <p:nvSpPr>
          <p:cNvPr id="30" name="TextBox 29"/>
          <p:cNvSpPr txBox="1"/>
          <p:nvPr/>
        </p:nvSpPr>
        <p:spPr>
          <a:xfrm>
            <a:off x="3276598" y="3287917"/>
            <a:ext cx="2590800" cy="369332"/>
          </a:xfrm>
          <a:prstGeom prst="rect">
            <a:avLst/>
          </a:prstGeom>
          <a:noFill/>
        </p:spPr>
        <p:txBody>
          <a:bodyPr wrap="square" rtlCol="0">
            <a:spAutoFit/>
          </a:bodyPr>
          <a:lstStyle/>
          <a:p>
            <a:endParaRPr lang="en-CA"/>
          </a:p>
        </p:txBody>
      </p:sp>
      <p:cxnSp>
        <p:nvCxnSpPr>
          <p:cNvPr id="31" name="Straight Connector 30"/>
          <p:cNvCxnSpPr/>
          <p:nvPr/>
        </p:nvCxnSpPr>
        <p:spPr>
          <a:xfrm>
            <a:off x="2981323" y="-628650"/>
            <a:ext cx="0" cy="6369627"/>
          </a:xfrm>
          <a:prstGeom prst="line">
            <a:avLst/>
          </a:prstGeom>
          <a:ln>
            <a:solidFill>
              <a:srgbClr val="5D5B6F">
                <a:alpha val="20000"/>
              </a:srgbClr>
            </a:solidFill>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2828923" y="542924"/>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2828923" y="1470313"/>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p:cNvSpPr/>
          <p:nvPr/>
        </p:nvSpPr>
        <p:spPr>
          <a:xfrm>
            <a:off x="2828923" y="239770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p:cNvSpPr/>
          <p:nvPr/>
        </p:nvSpPr>
        <p:spPr>
          <a:xfrm>
            <a:off x="2828923" y="3325091"/>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p:cNvSpPr/>
          <p:nvPr/>
        </p:nvSpPr>
        <p:spPr>
          <a:xfrm>
            <a:off x="2847973" y="4252062"/>
            <a:ext cx="285750" cy="285750"/>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46" name="TextBox 45"/>
          <p:cNvSpPr txBox="1"/>
          <p:nvPr/>
        </p:nvSpPr>
        <p:spPr>
          <a:xfrm>
            <a:off x="152400" y="133350"/>
            <a:ext cx="926536" cy="369332"/>
          </a:xfrm>
          <a:prstGeom prst="rect">
            <a:avLst/>
          </a:prstGeom>
          <a:noFill/>
          <a:ln>
            <a:noFill/>
          </a:ln>
          <a:effectLst/>
        </p:spPr>
        <p:txBody>
          <a:bodyPr wrap="none" lIns="0" tIns="0" rIns="0" bIns="0" rtlCol="0">
            <a:spAutoFit/>
          </a:bodyPr>
          <a:lstStyle/>
          <a:p>
            <a:pPr algn="ctr"/>
            <a:r>
              <a:rPr lang="en-US" sz="2400" b="1" dirty="0" smtClean="0">
                <a:solidFill>
                  <a:schemeClr val="lt1"/>
                </a:solidFill>
                <a:latin typeface="+mj-lt"/>
              </a:rPr>
              <a:t>Agenda</a:t>
            </a:r>
            <a:endParaRPr lang="en-US" sz="2400" b="1" dirty="0">
              <a:solidFill>
                <a:schemeClr val="lt1"/>
              </a:solidFill>
              <a:latin typeface="+mj-lt"/>
            </a:endParaRPr>
          </a:p>
        </p:txBody>
      </p:sp>
    </p:spTree>
    <p:extLst>
      <p:ext uri="{BB962C8B-B14F-4D97-AF65-F5344CB8AC3E}">
        <p14:creationId xmlns:p14="http://schemas.microsoft.com/office/powerpoint/2010/main" val="149609188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Pull Quote">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9296399" cy="5162550"/>
          </a:xfrm>
          <a:prstGeom prst="rect">
            <a:avLst/>
          </a:prstGeom>
        </p:spPr>
      </p:pic>
      <p:sp>
        <p:nvSpPr>
          <p:cNvPr id="6" name="Rectangle 5"/>
          <p:cNvSpPr/>
          <p:nvPr/>
        </p:nvSpPr>
        <p:spPr>
          <a:xfrm>
            <a:off x="533400" y="590550"/>
            <a:ext cx="8153400" cy="3962400"/>
          </a:xfrm>
          <a:prstGeom prst="rect">
            <a:avLst/>
          </a:prstGeom>
          <a:solidFill>
            <a:schemeClr val="accent6">
              <a:alpha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4" name="Content Placeholder 4"/>
          <p:cNvSpPr>
            <a:spLocks noGrp="1"/>
          </p:cNvSpPr>
          <p:nvPr>
            <p:ph sz="quarter" idx="10"/>
          </p:nvPr>
        </p:nvSpPr>
        <p:spPr>
          <a:xfrm>
            <a:off x="762000" y="819150"/>
            <a:ext cx="7696200" cy="2819400"/>
          </a:xfrm>
        </p:spPr>
        <p:txBody>
          <a:bodyPr/>
          <a:lstStyle>
            <a:lvl1pPr marL="342900" indent="-342900">
              <a:buClr>
                <a:schemeClr val="tx2"/>
              </a:buClr>
              <a:buFont typeface="Wingdings" panose="05000000000000000000" pitchFamily="2" charset="2"/>
              <a:buChar char="§"/>
              <a:defRPr>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5" name="Title 2"/>
          <p:cNvSpPr>
            <a:spLocks noGrp="1"/>
          </p:cNvSpPr>
          <p:nvPr>
            <p:ph type="title"/>
          </p:nvPr>
        </p:nvSpPr>
        <p:spPr>
          <a:xfrm>
            <a:off x="4038600" y="3838575"/>
            <a:ext cx="4419600" cy="514350"/>
          </a:xfrm>
        </p:spPr>
        <p:txBody>
          <a:bodyPr/>
          <a:lstStyle>
            <a:lvl1pPr algn="r">
              <a:defRPr>
                <a:solidFill>
                  <a:srgbClr val="BC4E21"/>
                </a:solidFill>
              </a:defRPr>
            </a:lvl1pPr>
          </a:lstStyle>
          <a:p>
            <a:r>
              <a:rPr lang="en-US" smtClean="0"/>
              <a:t>Click to edit Master title style</a:t>
            </a:r>
            <a:endParaRPr lang="en-US" dirty="0"/>
          </a:p>
        </p:txBody>
      </p:sp>
      <p:sp>
        <p:nvSpPr>
          <p:cNvPr id="9" name="TextBox 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404040"/>
                </a:solidFill>
                <a:latin typeface="Arial Narrow" panose="020B0606020202030204" pitchFamily="34" charset="0"/>
              </a:rPr>
              <a:pPr algn="r"/>
              <a:t>‹#›</a:t>
            </a:fld>
            <a:endParaRPr lang="en-CA" sz="1000" dirty="0">
              <a:solidFill>
                <a:srgbClr val="404040"/>
              </a:solidFill>
              <a:latin typeface="Arial Narrow" panose="020B060602020203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200" y="0"/>
            <a:ext cx="9296399" cy="5162550"/>
          </a:xfrm>
          <a:prstGeom prst="rect">
            <a:avLst/>
          </a:prstGeom>
        </p:spPr>
      </p:pic>
      <p:sp>
        <p:nvSpPr>
          <p:cNvPr id="8" name="Rectangle 7"/>
          <p:cNvSpPr/>
          <p:nvPr/>
        </p:nvSpPr>
        <p:spPr>
          <a:xfrm>
            <a:off x="533400" y="590550"/>
            <a:ext cx="8153400" cy="3962400"/>
          </a:xfrm>
          <a:prstGeom prst="rect">
            <a:avLst/>
          </a:prstGeom>
          <a:solidFill>
            <a:schemeClr val="accent6">
              <a:alpha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CA"/>
          </a:p>
        </p:txBody>
      </p:sp>
      <p:sp>
        <p:nvSpPr>
          <p:cNvPr id="10" name="TextBox 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404040"/>
                </a:solidFill>
                <a:latin typeface="Arial Narrow" panose="020B0606020202030204" pitchFamily="34" charset="0"/>
              </a:rPr>
              <a:pPr algn="r"/>
              <a:t>‹#›</a:t>
            </a:fld>
            <a:endParaRPr lang="en-CA" sz="1000" dirty="0">
              <a:solidFill>
                <a:srgbClr val="404040"/>
              </a:solidFill>
              <a:latin typeface="Arial Narrow" panose="020B0606020202030204" pitchFamily="34" charset="0"/>
            </a:endParaRPr>
          </a:p>
        </p:txBody>
      </p:sp>
    </p:spTree>
    <p:extLst>
      <p:ext uri="{BB962C8B-B14F-4D97-AF65-F5344CB8AC3E}">
        <p14:creationId xmlns:p14="http://schemas.microsoft.com/office/powerpoint/2010/main" val="21195760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cxnSp>
        <p:nvCxnSpPr>
          <p:cNvPr id="9" name="Straight Connector 8"/>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364835168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9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367492203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Slide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0"/>
            <a:ext cx="2514600" cy="5143500"/>
          </a:xfrm>
          <a:prstGeom prst="rect">
            <a:avLst/>
          </a:prstGeom>
          <a:solidFill>
            <a:srgbClr val="BC4E21">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BBB0A6"/>
              </a:solidFill>
            </a:endParaRPr>
          </a:p>
        </p:txBody>
      </p:sp>
      <p:sp>
        <p:nvSpPr>
          <p:cNvPr id="8" name="Text Placeholder 23"/>
          <p:cNvSpPr>
            <a:spLocks noGrp="1"/>
          </p:cNvSpPr>
          <p:nvPr>
            <p:ph type="body" sz="quarter" idx="10" hasCustomPrompt="1"/>
          </p:nvPr>
        </p:nvSpPr>
        <p:spPr>
          <a:xfrm>
            <a:off x="228600" y="590550"/>
            <a:ext cx="2057400" cy="1295400"/>
          </a:xfrm>
          <a:prstGeom prst="rect">
            <a:avLst/>
          </a:prstGeom>
        </p:spPr>
        <p:txBody>
          <a:bodyPr>
            <a:normAutofit/>
          </a:bodyPr>
          <a:lstStyle>
            <a:lvl1pPr marL="0" indent="0">
              <a:buNone/>
              <a:defRPr sz="2800" b="1" baseline="0">
                <a:solidFill>
                  <a:schemeClr val="bg1"/>
                </a:solidFill>
              </a:defRPr>
            </a:lvl1pPr>
          </a:lstStyle>
          <a:p>
            <a:pPr lvl="0"/>
            <a:r>
              <a:rPr lang="en-US" dirty="0" smtClean="0"/>
              <a:t>Section Slide </a:t>
            </a:r>
            <a:endParaRPr lang="en-CA" dirty="0"/>
          </a:p>
        </p:txBody>
      </p:sp>
      <p:sp>
        <p:nvSpPr>
          <p:cNvPr id="5" name="Title Placeholder 1"/>
          <p:cNvSpPr>
            <a:spLocks noGrp="1"/>
          </p:cNvSpPr>
          <p:nvPr>
            <p:ph type="title" hasCustomPrompt="1"/>
          </p:nvPr>
        </p:nvSpPr>
        <p:spPr>
          <a:xfrm>
            <a:off x="249115" y="3867150"/>
            <a:ext cx="1828800" cy="246184"/>
          </a:xfrm>
          <a:prstGeom prst="rect">
            <a:avLst/>
          </a:prstGeom>
        </p:spPr>
        <p:txBody>
          <a:bodyPr vert="horz" lIns="91440" tIns="45720" rIns="91440" bIns="45720" rtlCol="0" anchor="ctr">
            <a:noAutofit/>
          </a:bodyPr>
          <a:lstStyle>
            <a:lvl1pPr algn="l">
              <a:defRPr sz="1600" b="0">
                <a:solidFill>
                  <a:schemeClr val="bg1"/>
                </a:solidFill>
              </a:defRPr>
            </a:lvl1pPr>
          </a:lstStyle>
          <a:p>
            <a:r>
              <a:rPr lang="en-CA" dirty="0" smtClean="0"/>
              <a:t>Name</a:t>
            </a:r>
            <a:endParaRPr lang="en-US" dirty="0"/>
          </a:p>
        </p:txBody>
      </p:sp>
    </p:spTree>
    <p:extLst>
      <p:ext uri="{BB962C8B-B14F-4D97-AF65-F5344CB8AC3E}">
        <p14:creationId xmlns:p14="http://schemas.microsoft.com/office/powerpoint/2010/main" val="34773780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0_Employee">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242890303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1_Happy Employee">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a:spLocks noChangeAspect="1"/>
          </p:cNvSpPr>
          <p:nvPr/>
        </p:nvSpPr>
        <p:spPr>
          <a:xfrm>
            <a:off x="708991"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96853529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Rectangle 2"/>
          <p:cNvSpPr/>
          <p:nvPr/>
        </p:nvSpPr>
        <p:spPr>
          <a:xfrm flipH="1">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0 w 8458200"/>
              <a:gd name="connsiteY0" fmla="*/ 0 h 5143500"/>
              <a:gd name="connsiteX1" fmla="*/ 2787604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0" y="0"/>
                </a:moveTo>
                <a:lnTo>
                  <a:pt x="2787604" y="0"/>
                </a:lnTo>
                <a:lnTo>
                  <a:pt x="8458200" y="5143500"/>
                </a:lnTo>
                <a:lnTo>
                  <a:pt x="0" y="5143500"/>
                </a:lnTo>
                <a:lnTo>
                  <a:pt x="0" y="0"/>
                </a:ln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272913603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Rectangle 2"/>
          <p:cNvSpPr/>
          <p:nvPr/>
        </p:nvSpPr>
        <p:spPr>
          <a:xfrm flipH="1">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0 w 8458200"/>
              <a:gd name="connsiteY0" fmla="*/ 0 h 5143500"/>
              <a:gd name="connsiteX1" fmla="*/ 2787604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0" y="0"/>
                </a:moveTo>
                <a:lnTo>
                  <a:pt x="2787604" y="0"/>
                </a:lnTo>
                <a:lnTo>
                  <a:pt x="8458200" y="5143500"/>
                </a:lnTo>
                <a:lnTo>
                  <a:pt x="0" y="5143500"/>
                </a:lnTo>
                <a:lnTo>
                  <a:pt x="0" y="0"/>
                </a:ln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77320137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6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096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50453738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8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76405"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113349501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ection Title 2">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cxnSp>
        <p:nvCxnSpPr>
          <p:cNvPr id="9" name="Straight Connector 8"/>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346095571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MacDon">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cxnSp>
        <p:nvCxnSpPr>
          <p:cNvPr id="9" name="Straight Connector 8"/>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338808482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Section Title MacDon">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28024883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Title People">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cxnSp>
        <p:nvCxnSpPr>
          <p:cNvPr id="9" name="Straight Connector 8"/>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29471133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ward Looking Statement">
    <p:spTree>
      <p:nvGrpSpPr>
        <p:cNvPr id="1" name=""/>
        <p:cNvGrpSpPr/>
        <p:nvPr/>
      </p:nvGrpSpPr>
      <p:grpSpPr>
        <a:xfrm>
          <a:off x="0" y="0"/>
          <a:ext cx="0" cy="0"/>
          <a:chOff x="0" y="0"/>
          <a:chExt cx="0" cy="0"/>
        </a:xfrm>
      </p:grpSpPr>
      <p:sp>
        <p:nvSpPr>
          <p:cNvPr id="17" name="Rectangle 16"/>
          <p:cNvSpPr/>
          <p:nvPr userDrawn="1"/>
        </p:nvSpPr>
        <p:spPr>
          <a:xfrm>
            <a:off x="-2" y="4969792"/>
            <a:ext cx="7315200" cy="173708"/>
          </a:xfrm>
          <a:prstGeom prst="rect">
            <a:avLst/>
          </a:prstGeom>
          <a:solidFill>
            <a:srgbClr val="BBB0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Slide Number Placeholder 5"/>
          <p:cNvSpPr txBox="1">
            <a:spLocks/>
          </p:cNvSpPr>
          <p:nvPr userDrawn="1"/>
        </p:nvSpPr>
        <p:spPr>
          <a:xfrm>
            <a:off x="8305800" y="4781550"/>
            <a:ext cx="381000" cy="273844"/>
          </a:xfrm>
          <a:prstGeom prst="rect">
            <a:avLst/>
          </a:prstGeom>
          <a:no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82EBD9-7F2B-4227-A656-BB7A7BC50A1E}" type="slidenum">
              <a:rPr lang="en-US" smtClean="0">
                <a:solidFill>
                  <a:schemeClr val="bg1"/>
                </a:solidFill>
              </a:rPr>
              <a:pPr/>
              <a:t>‹#›</a:t>
            </a:fld>
            <a:endParaRPr lang="en-US" dirty="0">
              <a:solidFill>
                <a:schemeClr val="bg1"/>
              </a:solidFill>
            </a:endParaRPr>
          </a:p>
        </p:txBody>
      </p:sp>
      <p:cxnSp>
        <p:nvCxnSpPr>
          <p:cNvPr id="15" name="Straight Connector 14"/>
          <p:cNvCxnSpPr/>
          <p:nvPr userDrawn="1"/>
        </p:nvCxnSpPr>
        <p:spPr>
          <a:xfrm>
            <a:off x="304800" y="523874"/>
            <a:ext cx="8610602" cy="0"/>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7559176" y="4944665"/>
            <a:ext cx="1355785" cy="230832"/>
          </a:xfrm>
          <a:prstGeom prst="rect">
            <a:avLst/>
          </a:prstGeom>
          <a:noFill/>
        </p:spPr>
        <p:txBody>
          <a:bodyPr wrap="square" rtlCol="0">
            <a:spAutoFit/>
          </a:bodyPr>
          <a:lstStyle/>
          <a:p>
            <a:r>
              <a:rPr lang="en-CA" sz="900" dirty="0" smtClean="0">
                <a:solidFill>
                  <a:srgbClr val="404040"/>
                </a:solidFill>
                <a:latin typeface="Arial Narrow" panose="020B0606020202030204" pitchFamily="34" charset="0"/>
              </a:rPr>
              <a:t>© Linamar Corporation</a:t>
            </a:r>
            <a:endParaRPr lang="en-CA" sz="900" dirty="0">
              <a:solidFill>
                <a:srgbClr val="404040"/>
              </a:solidFill>
              <a:latin typeface="Arial Narrow" panose="020B0606020202030204" pitchFamily="34" charset="0"/>
            </a:endParaRPr>
          </a:p>
        </p:txBody>
      </p:sp>
      <p:sp>
        <p:nvSpPr>
          <p:cNvPr id="21" name="TextBox 20"/>
          <p:cNvSpPr txBox="1"/>
          <p:nvPr userDrawn="1"/>
        </p:nvSpPr>
        <p:spPr>
          <a:xfrm>
            <a:off x="8748024" y="4939978"/>
            <a:ext cx="457200" cy="230832"/>
          </a:xfrm>
          <a:prstGeom prst="rect">
            <a:avLst/>
          </a:prstGeom>
          <a:noFill/>
        </p:spPr>
        <p:txBody>
          <a:bodyPr wrap="square" rtlCol="0">
            <a:spAutoFit/>
          </a:bodyPr>
          <a:lstStyle/>
          <a:p>
            <a:pPr algn="ctr"/>
            <a:fld id="{C5E48551-6F78-4B9C-807B-D0DFD8E31CE1}" type="slidenum">
              <a:rPr lang="en-CA" sz="900" smtClean="0">
                <a:solidFill>
                  <a:srgbClr val="404040"/>
                </a:solidFill>
                <a:latin typeface="Arial Narrow" panose="020B0606020202030204" pitchFamily="34" charset="0"/>
              </a:rPr>
              <a:pPr algn="ctr"/>
              <a:t>‹#›</a:t>
            </a:fld>
            <a:endParaRPr lang="en-CA" sz="1050" dirty="0">
              <a:solidFill>
                <a:srgbClr val="404040"/>
              </a:solidFill>
              <a:latin typeface="Arial Narrow" panose="020B0606020202030204" pitchFamily="34" charset="0"/>
            </a:endParaRPr>
          </a:p>
        </p:txBody>
      </p:sp>
      <p:sp>
        <p:nvSpPr>
          <p:cNvPr id="22" name="Right Triangle 21"/>
          <p:cNvSpPr/>
          <p:nvPr userDrawn="1"/>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3" name="Straight Connector 22"/>
          <p:cNvCxnSpPr/>
          <p:nvPr userDrawn="1"/>
        </p:nvCxnSpPr>
        <p:spPr>
          <a:xfrm flipV="1">
            <a:off x="-2" y="4966634"/>
            <a:ext cx="9144002" cy="3158"/>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228600" y="34191"/>
            <a:ext cx="7330576" cy="461665"/>
          </a:xfrm>
          <a:prstGeom prst="rect">
            <a:avLst/>
          </a:prstGeom>
          <a:noFill/>
        </p:spPr>
        <p:txBody>
          <a:bodyPr wrap="square" rtlCol="0" anchor="t">
            <a:spAutoFit/>
          </a:bodyPr>
          <a:lstStyle/>
          <a:p>
            <a:r>
              <a:rPr lang="en-US" sz="2400" b="1" dirty="0" smtClean="0">
                <a:solidFill>
                  <a:srgbClr val="BC4E21"/>
                </a:solidFill>
                <a:latin typeface="Arial Narrow" panose="020B0606020202030204" pitchFamily="34" charset="0"/>
              </a:rPr>
              <a:t>Forward Looking Information, Risk and Uncertainties</a:t>
            </a:r>
            <a:endParaRPr lang="en-CA" sz="2400" b="1" dirty="0">
              <a:solidFill>
                <a:srgbClr val="BC4E21"/>
              </a:solidFill>
              <a:latin typeface="Arial Narrow" panose="020B0606020202030204" pitchFamily="34" charset="0"/>
            </a:endParaRPr>
          </a:p>
        </p:txBody>
      </p:sp>
      <p:sp>
        <p:nvSpPr>
          <p:cNvPr id="7" name="TextBox 6"/>
          <p:cNvSpPr txBox="1"/>
          <p:nvPr userDrawn="1"/>
        </p:nvSpPr>
        <p:spPr>
          <a:xfrm>
            <a:off x="228599" y="742951"/>
            <a:ext cx="8686361" cy="38933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dirty="0" smtClean="0">
                <a:solidFill>
                  <a:srgbClr val="404040"/>
                </a:solidFill>
                <a:latin typeface="Arial Narrow" panose="020B0606020202030204" pitchFamily="34" charset="0"/>
              </a:rPr>
              <a:t>Certain information regarding Linamar set forth in this presentation and oral summary, including managements assessment of the Company’s future plans and operations may constitute forward-looking statements. This information is based on current expectations that are subject to significant risks and uncertainties that are difficult to predict. Actual results may differ materially from these anticipated in the forward-looking statements due to factors such as customer demand and timing of buying decisions, product mix, competitive products and pricing pressure. In addition, uncertainties and difficulties in domestic and foreign financial markets and economies could adversely affect demand from customers. These factors, as well as general economic and political conditions, may in </a:t>
            </a:r>
            <a:r>
              <a:rPr lang="en-US" sz="1900" baseline="0" dirty="0" smtClean="0">
                <a:solidFill>
                  <a:srgbClr val="404040"/>
                </a:solidFill>
                <a:latin typeface="Arial Narrow" panose="020B0606020202030204" pitchFamily="34" charset="0"/>
              </a:rPr>
              <a:t>t</a:t>
            </a:r>
            <a:r>
              <a:rPr lang="en-US" sz="1900" dirty="0" smtClean="0">
                <a:solidFill>
                  <a:srgbClr val="404040"/>
                </a:solidFill>
                <a:latin typeface="Arial Narrow" panose="020B0606020202030204" pitchFamily="34" charset="0"/>
              </a:rPr>
              <a:t>urn have a material adverse effect on the Company’s financial results. The Company assumes no obligation to update the forward-looking statements, or to update the reasons why actual results could differ from those reflected in the forward-looking statements. </a:t>
            </a:r>
            <a:r>
              <a:rPr lang="en-US" sz="1900" b="0" i="0" kern="1200" dirty="0" smtClean="0">
                <a:solidFill>
                  <a:srgbClr val="404040"/>
                </a:solidFill>
                <a:effectLst/>
                <a:latin typeface="+mn-lt"/>
                <a:ea typeface="+mn-ea"/>
                <a:cs typeface="+mn-cs"/>
              </a:rPr>
              <a:t>Content</a:t>
            </a:r>
            <a:r>
              <a:rPr lang="en-US" sz="1900" b="0" i="0" kern="1200" baseline="0" dirty="0" smtClean="0">
                <a:solidFill>
                  <a:srgbClr val="404040"/>
                </a:solidFill>
                <a:effectLst/>
                <a:latin typeface="+mn-lt"/>
                <a:ea typeface="+mn-ea"/>
                <a:cs typeface="+mn-cs"/>
              </a:rPr>
              <a:t> is protected by copyright and </a:t>
            </a:r>
            <a:r>
              <a:rPr lang="en-US" sz="1900" b="0" i="0" kern="1200" dirty="0" smtClean="0">
                <a:solidFill>
                  <a:srgbClr val="404040"/>
                </a:solidFill>
                <a:effectLst/>
                <a:latin typeface="+mn-lt"/>
                <a:ea typeface="+mn-ea"/>
                <a:cs typeface="+mn-cs"/>
              </a:rPr>
              <a:t>may not be reproduced or repurposed </a:t>
            </a:r>
            <a:r>
              <a:rPr lang="en-US" sz="1900" b="0" i="0" kern="1200" baseline="0" dirty="0" smtClean="0">
                <a:solidFill>
                  <a:srgbClr val="404040"/>
                </a:solidFill>
                <a:effectLst/>
                <a:latin typeface="+mn-lt"/>
                <a:ea typeface="+mn-ea"/>
                <a:cs typeface="+mn-cs"/>
              </a:rPr>
              <a:t>without express written consent by the Company.</a:t>
            </a:r>
            <a:endParaRPr lang="en-CA" sz="1900" dirty="0">
              <a:solidFill>
                <a:srgbClr val="404040"/>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4238" y="143157"/>
            <a:ext cx="1370723" cy="243733"/>
          </a:xfrm>
          <a:prstGeom prst="rect">
            <a:avLst/>
          </a:prstGeom>
        </p:spPr>
      </p:pic>
    </p:spTree>
    <p:extLst>
      <p:ext uri="{BB962C8B-B14F-4D97-AF65-F5344CB8AC3E}">
        <p14:creationId xmlns:p14="http://schemas.microsoft.com/office/powerpoint/2010/main" val="188705613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Stepping Stool">
    <p:spTree>
      <p:nvGrpSpPr>
        <p:cNvPr id="1" name=""/>
        <p:cNvGrpSpPr/>
        <p:nvPr/>
      </p:nvGrpSpPr>
      <p:grpSpPr>
        <a:xfrm>
          <a:off x="0" y="0"/>
          <a:ext cx="0" cy="0"/>
          <a:chOff x="0" y="0"/>
          <a:chExt cx="0" cy="0"/>
        </a:xfrm>
      </p:grpSpPr>
      <p:sp>
        <p:nvSpPr>
          <p:cNvPr id="6" name="Title 2"/>
          <p:cNvSpPr>
            <a:spLocks noGrp="1"/>
          </p:cNvSpPr>
          <p:nvPr>
            <p:ph type="title"/>
          </p:nvPr>
        </p:nvSpPr>
        <p:spPr>
          <a:xfrm>
            <a:off x="228600" y="2857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1" hasCustomPrompt="1"/>
          </p:nvPr>
        </p:nvSpPr>
        <p:spPr>
          <a:xfrm>
            <a:off x="228600" y="1200150"/>
            <a:ext cx="3505200" cy="7619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 name="Rectangle 1"/>
          <p:cNvSpPr/>
          <p:nvPr/>
        </p:nvSpPr>
        <p:spPr>
          <a:xfrm>
            <a:off x="685800" y="0"/>
            <a:ext cx="8458200" cy="5143500"/>
          </a:xfrm>
          <a:custGeom>
            <a:avLst/>
            <a:gdLst>
              <a:gd name="connsiteX0" fmla="*/ 0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0 w 8458200"/>
              <a:gd name="connsiteY4" fmla="*/ 0 h 5143500"/>
              <a:gd name="connsiteX0" fmla="*/ 60732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6073254 w 8458200"/>
              <a:gd name="connsiteY4" fmla="*/ 0 h 5143500"/>
              <a:gd name="connsiteX0" fmla="*/ 5418161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418161 w 8458200"/>
              <a:gd name="connsiteY4" fmla="*/ 0 h 5143500"/>
              <a:gd name="connsiteX0" fmla="*/ 5616054 w 8458200"/>
              <a:gd name="connsiteY0" fmla="*/ 0 h 5143500"/>
              <a:gd name="connsiteX1" fmla="*/ 8458200 w 8458200"/>
              <a:gd name="connsiteY1" fmla="*/ 0 h 5143500"/>
              <a:gd name="connsiteX2" fmla="*/ 8458200 w 8458200"/>
              <a:gd name="connsiteY2" fmla="*/ 5143500 h 5143500"/>
              <a:gd name="connsiteX3" fmla="*/ 0 w 8458200"/>
              <a:gd name="connsiteY3" fmla="*/ 5143500 h 5143500"/>
              <a:gd name="connsiteX4" fmla="*/ 5616054 w 84582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200" h="5143500">
                <a:moveTo>
                  <a:pt x="5616054" y="0"/>
                </a:moveTo>
                <a:lnTo>
                  <a:pt x="8458200" y="0"/>
                </a:lnTo>
                <a:lnTo>
                  <a:pt x="8458200" y="5143500"/>
                </a:lnTo>
                <a:lnTo>
                  <a:pt x="0" y="5143500"/>
                </a:lnTo>
                <a:lnTo>
                  <a:pt x="5616054" y="0"/>
                </a:lnTo>
                <a:close/>
              </a:path>
            </a:pathLst>
          </a:custGeom>
          <a:blipFill dpi="0" rotWithShape="1">
            <a:blip r:embed="rId2">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cxnSp>
        <p:nvCxnSpPr>
          <p:cNvPr id="9" name="Straight Connector 8"/>
          <p:cNvCxnSpPr/>
          <p:nvPr/>
        </p:nvCxnSpPr>
        <p:spPr>
          <a:xfrm>
            <a:off x="228600" y="2857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chemeClr val="bg1"/>
                </a:solidFill>
                <a:latin typeface="Arial Narrow" panose="020B0606020202030204" pitchFamily="34" charset="0"/>
              </a:rPr>
              <a:pPr algn="r"/>
              <a:t>‹#›</a:t>
            </a:fld>
            <a:endParaRPr lang="en-CA" sz="10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239311852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meline 6">
    <p:spTree>
      <p:nvGrpSpPr>
        <p:cNvPr id="1" name=""/>
        <p:cNvGrpSpPr/>
        <p:nvPr/>
      </p:nvGrpSpPr>
      <p:grpSpPr>
        <a:xfrm>
          <a:off x="0" y="0"/>
          <a:ext cx="0" cy="0"/>
          <a:chOff x="0" y="0"/>
          <a:chExt cx="0" cy="0"/>
        </a:xfrm>
      </p:grpSpPr>
      <p:cxnSp>
        <p:nvCxnSpPr>
          <p:cNvPr id="3" name="Straight Connector 2"/>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a:stCxn id="27" idx="6"/>
            <a:endCxn id="26" idx="2"/>
          </p:cNvCxnSpPr>
          <p:nvPr/>
        </p:nvCxnSpPr>
        <p:spPr>
          <a:xfrm flipV="1">
            <a:off x="409160" y="2321221"/>
            <a:ext cx="7282654"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1710694"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p:cNvSpPr/>
          <p:nvPr/>
        </p:nvSpPr>
        <p:spPr>
          <a:xfrm>
            <a:off x="3192672"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p:cNvSpPr/>
          <p:nvPr/>
        </p:nvSpPr>
        <p:spPr>
          <a:xfrm>
            <a:off x="4685016" y="226824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617813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p:cNvCxnSpPr/>
          <p:nvPr/>
        </p:nvCxnSpPr>
        <p:spPr>
          <a:xfrm>
            <a:off x="7772400"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26" name="Oval 25"/>
          <p:cNvSpPr/>
          <p:nvPr/>
        </p:nvSpPr>
        <p:spPr>
          <a:xfrm>
            <a:off x="7691814"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27" name="Oval 26"/>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31" name="TextBox 30"/>
          <p:cNvSpPr txBox="1"/>
          <p:nvPr/>
        </p:nvSpPr>
        <p:spPr>
          <a:xfrm>
            <a:off x="7653889"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sp>
        <p:nvSpPr>
          <p:cNvPr id="32" name="Title 2"/>
          <p:cNvSpPr>
            <a:spLocks noGrp="1"/>
          </p:cNvSpPr>
          <p:nvPr>
            <p:ph type="title"/>
          </p:nvPr>
        </p:nvSpPr>
        <p:spPr>
          <a:xfrm>
            <a:off x="228600" y="133348"/>
            <a:ext cx="8686800" cy="762001"/>
          </a:xfrm>
        </p:spPr>
        <p:txBody>
          <a:bodyPr/>
          <a:lstStyle>
            <a:lvl1pPr>
              <a:defRPr/>
            </a:lvl1pPr>
          </a:lstStyle>
          <a:p>
            <a:r>
              <a:rPr lang="en-US" smtClean="0"/>
              <a:t>Click to edit Master title style</a:t>
            </a:r>
            <a:endParaRPr lang="en-US" dirty="0"/>
          </a:p>
        </p:txBody>
      </p:sp>
      <p:cxnSp>
        <p:nvCxnSpPr>
          <p:cNvPr id="33" name="Straight Connector 32"/>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34" name="Picture Placeholder 15"/>
          <p:cNvSpPr>
            <a:spLocks noGrp="1"/>
          </p:cNvSpPr>
          <p:nvPr>
            <p:ph type="pic" sz="quarter" idx="11"/>
          </p:nvPr>
        </p:nvSpPr>
        <p:spPr>
          <a:xfrm>
            <a:off x="1940499" y="1437911"/>
            <a:ext cx="1073868" cy="742950"/>
          </a:xfrm>
        </p:spPr>
        <p:txBody>
          <a:bodyPr/>
          <a:lstStyle>
            <a:lvl1pPr marL="0" indent="0">
              <a:buNone/>
              <a:defRPr/>
            </a:lvl1pPr>
          </a:lstStyle>
          <a:p>
            <a:r>
              <a:rPr lang="en-US" smtClean="0"/>
              <a:t>Click icon to add picture</a:t>
            </a:r>
            <a:endParaRPr lang="en-CA" dirty="0"/>
          </a:p>
        </p:txBody>
      </p:sp>
      <p:sp>
        <p:nvSpPr>
          <p:cNvPr id="35" name="Picture Placeholder 15"/>
          <p:cNvSpPr>
            <a:spLocks noGrp="1"/>
          </p:cNvSpPr>
          <p:nvPr>
            <p:ph type="pic" sz="quarter" idx="12"/>
          </p:nvPr>
        </p:nvSpPr>
        <p:spPr>
          <a:xfrm>
            <a:off x="3426293" y="1437668"/>
            <a:ext cx="1083645" cy="742950"/>
          </a:xfrm>
        </p:spPr>
        <p:txBody>
          <a:bodyPr/>
          <a:lstStyle>
            <a:lvl1pPr marL="0" indent="0">
              <a:buNone/>
              <a:defRPr/>
            </a:lvl1pPr>
          </a:lstStyle>
          <a:p>
            <a:r>
              <a:rPr lang="en-US" smtClean="0"/>
              <a:t>Click icon to add picture</a:t>
            </a:r>
            <a:endParaRPr lang="en-CA"/>
          </a:p>
        </p:txBody>
      </p:sp>
      <p:sp>
        <p:nvSpPr>
          <p:cNvPr id="36" name="Picture Placeholder 15"/>
          <p:cNvSpPr>
            <a:spLocks noGrp="1"/>
          </p:cNvSpPr>
          <p:nvPr>
            <p:ph type="pic" sz="quarter" idx="13"/>
          </p:nvPr>
        </p:nvSpPr>
        <p:spPr>
          <a:xfrm>
            <a:off x="4921057" y="1435497"/>
            <a:ext cx="1080373" cy="742950"/>
          </a:xfrm>
        </p:spPr>
        <p:txBody>
          <a:bodyPr/>
          <a:lstStyle>
            <a:lvl1pPr marL="0" indent="0">
              <a:buNone/>
              <a:defRPr/>
            </a:lvl1pPr>
          </a:lstStyle>
          <a:p>
            <a:r>
              <a:rPr lang="en-US" smtClean="0"/>
              <a:t>Click icon to add picture</a:t>
            </a:r>
            <a:endParaRPr lang="en-CA" dirty="0"/>
          </a:p>
        </p:txBody>
      </p:sp>
      <p:sp>
        <p:nvSpPr>
          <p:cNvPr id="37" name="Picture Placeholder 15"/>
          <p:cNvSpPr>
            <a:spLocks noGrp="1"/>
          </p:cNvSpPr>
          <p:nvPr>
            <p:ph type="pic" sz="quarter" idx="14"/>
          </p:nvPr>
        </p:nvSpPr>
        <p:spPr>
          <a:xfrm>
            <a:off x="6412547" y="1435497"/>
            <a:ext cx="1079567" cy="742950"/>
          </a:xfrm>
        </p:spPr>
        <p:txBody>
          <a:bodyPr/>
          <a:lstStyle>
            <a:lvl1pPr marL="0" indent="0">
              <a:buNone/>
              <a:defRPr/>
            </a:lvl1pPr>
          </a:lstStyle>
          <a:p>
            <a:r>
              <a:rPr lang="en-US" smtClean="0"/>
              <a:t>Click icon to add picture</a:t>
            </a:r>
            <a:endParaRPr lang="en-CA"/>
          </a:p>
        </p:txBody>
      </p:sp>
      <p:sp>
        <p:nvSpPr>
          <p:cNvPr id="38" name="Picture Placeholder 15"/>
          <p:cNvSpPr>
            <a:spLocks noGrp="1"/>
          </p:cNvSpPr>
          <p:nvPr>
            <p:ph type="pic" sz="quarter" idx="15"/>
          </p:nvPr>
        </p:nvSpPr>
        <p:spPr>
          <a:xfrm>
            <a:off x="449813" y="1445893"/>
            <a:ext cx="1074187" cy="742950"/>
          </a:xfrm>
        </p:spPr>
        <p:txBody>
          <a:bodyPr/>
          <a:lstStyle>
            <a:lvl1pPr marL="0" indent="0">
              <a:buNone/>
              <a:defRPr/>
            </a:lvl1pPr>
          </a:lstStyle>
          <a:p>
            <a:r>
              <a:rPr lang="en-US" smtClean="0"/>
              <a:t>Click icon to add picture</a:t>
            </a:r>
            <a:endParaRPr lang="en-CA" dirty="0"/>
          </a:p>
        </p:txBody>
      </p:sp>
      <p:sp>
        <p:nvSpPr>
          <p:cNvPr id="23" name="Text Placeholder 22"/>
          <p:cNvSpPr>
            <a:spLocks noGrp="1"/>
          </p:cNvSpPr>
          <p:nvPr>
            <p:ph type="body" sz="quarter" idx="17"/>
          </p:nvPr>
        </p:nvSpPr>
        <p:spPr>
          <a:xfrm>
            <a:off x="449814" y="2550433"/>
            <a:ext cx="1074186"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48" name="Text Placeholder 47"/>
          <p:cNvSpPr>
            <a:spLocks noGrp="1"/>
          </p:cNvSpPr>
          <p:nvPr>
            <p:ph type="body" sz="quarter" idx="18"/>
          </p:nvPr>
        </p:nvSpPr>
        <p:spPr>
          <a:xfrm rot="16200000">
            <a:off x="-512500" y="3215333"/>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59" name="Text Placeholder 22"/>
          <p:cNvSpPr>
            <a:spLocks noGrp="1"/>
          </p:cNvSpPr>
          <p:nvPr>
            <p:ph type="body" sz="quarter" idx="19"/>
          </p:nvPr>
        </p:nvSpPr>
        <p:spPr>
          <a:xfrm>
            <a:off x="1940497" y="2540081"/>
            <a:ext cx="1073869"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0" name="Text Placeholder 47"/>
          <p:cNvSpPr>
            <a:spLocks noGrp="1"/>
          </p:cNvSpPr>
          <p:nvPr>
            <p:ph type="body" sz="quarter" idx="20"/>
          </p:nvPr>
        </p:nvSpPr>
        <p:spPr>
          <a:xfrm rot="16200000">
            <a:off x="978501" y="3201420"/>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61" name="Text Placeholder 22"/>
          <p:cNvSpPr>
            <a:spLocks noGrp="1"/>
          </p:cNvSpPr>
          <p:nvPr>
            <p:ph type="body" sz="quarter" idx="21"/>
          </p:nvPr>
        </p:nvSpPr>
        <p:spPr>
          <a:xfrm>
            <a:off x="3431181" y="2550433"/>
            <a:ext cx="1078757"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2" name="Text Placeholder 47"/>
          <p:cNvSpPr>
            <a:spLocks noGrp="1"/>
          </p:cNvSpPr>
          <p:nvPr>
            <p:ph type="body" sz="quarter" idx="22"/>
          </p:nvPr>
        </p:nvSpPr>
        <p:spPr>
          <a:xfrm rot="16200000">
            <a:off x="2463980" y="3196283"/>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63" name="Text Placeholder 22"/>
          <p:cNvSpPr>
            <a:spLocks noGrp="1"/>
          </p:cNvSpPr>
          <p:nvPr>
            <p:ph type="body" sz="quarter" idx="23"/>
          </p:nvPr>
        </p:nvSpPr>
        <p:spPr>
          <a:xfrm>
            <a:off x="4921866" y="2536520"/>
            <a:ext cx="1079564"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4" name="Text Placeholder 47"/>
          <p:cNvSpPr>
            <a:spLocks noGrp="1"/>
          </p:cNvSpPr>
          <p:nvPr>
            <p:ph type="body" sz="quarter" idx="24"/>
          </p:nvPr>
        </p:nvSpPr>
        <p:spPr>
          <a:xfrm rot="16200000">
            <a:off x="3958745" y="3201420"/>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65" name="Text Placeholder 22"/>
          <p:cNvSpPr>
            <a:spLocks noGrp="1"/>
          </p:cNvSpPr>
          <p:nvPr>
            <p:ph type="body" sz="quarter" idx="25"/>
          </p:nvPr>
        </p:nvSpPr>
        <p:spPr>
          <a:xfrm>
            <a:off x="6412550" y="2536520"/>
            <a:ext cx="1079564"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6" name="Text Placeholder 47"/>
          <p:cNvSpPr>
            <a:spLocks noGrp="1"/>
          </p:cNvSpPr>
          <p:nvPr>
            <p:ph type="body" sz="quarter" idx="26"/>
          </p:nvPr>
        </p:nvSpPr>
        <p:spPr>
          <a:xfrm rot="16200000">
            <a:off x="5450235" y="3190865"/>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68" name="Text Placeholder 47"/>
          <p:cNvSpPr>
            <a:spLocks noGrp="1"/>
          </p:cNvSpPr>
          <p:nvPr>
            <p:ph type="body" sz="quarter" idx="28"/>
          </p:nvPr>
        </p:nvSpPr>
        <p:spPr>
          <a:xfrm rot="16200000">
            <a:off x="6940919" y="3193743"/>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42" name="TextBox 4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40" name="Picture Placeholder 15"/>
          <p:cNvSpPr>
            <a:spLocks noGrp="1"/>
          </p:cNvSpPr>
          <p:nvPr>
            <p:ph type="pic" sz="quarter" idx="16"/>
          </p:nvPr>
        </p:nvSpPr>
        <p:spPr>
          <a:xfrm>
            <a:off x="7869342" y="1429764"/>
            <a:ext cx="1122258" cy="792166"/>
          </a:xfrm>
        </p:spPr>
        <p:txBody>
          <a:bodyPr/>
          <a:lstStyle>
            <a:lvl1pPr marL="0" indent="0">
              <a:buNone/>
              <a:defRPr/>
            </a:lvl1pPr>
          </a:lstStyle>
          <a:p>
            <a:r>
              <a:rPr lang="en-US" smtClean="0"/>
              <a:t>Click icon to add picture</a:t>
            </a:r>
            <a:endParaRPr lang="en-CA"/>
          </a:p>
        </p:txBody>
      </p:sp>
      <p:sp>
        <p:nvSpPr>
          <p:cNvPr id="41" name="Text Placeholder 22"/>
          <p:cNvSpPr>
            <a:spLocks noGrp="1"/>
          </p:cNvSpPr>
          <p:nvPr>
            <p:ph type="body" sz="quarter" idx="27"/>
          </p:nvPr>
        </p:nvSpPr>
        <p:spPr>
          <a:xfrm>
            <a:off x="7903232" y="2528843"/>
            <a:ext cx="1088368"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cxnSp>
        <p:nvCxnSpPr>
          <p:cNvPr id="39" name="Straight Connector 38"/>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27" idx="6"/>
            <a:endCxn id="26" idx="2"/>
          </p:cNvCxnSpPr>
          <p:nvPr/>
        </p:nvCxnSpPr>
        <p:spPr>
          <a:xfrm flipV="1">
            <a:off x="409160" y="2321221"/>
            <a:ext cx="7282654"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1710694"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Oval 44"/>
          <p:cNvSpPr/>
          <p:nvPr/>
        </p:nvSpPr>
        <p:spPr>
          <a:xfrm>
            <a:off x="3192672"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Oval 45"/>
          <p:cNvSpPr/>
          <p:nvPr/>
        </p:nvSpPr>
        <p:spPr>
          <a:xfrm>
            <a:off x="4685016" y="226824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p:cNvSpPr/>
          <p:nvPr/>
        </p:nvSpPr>
        <p:spPr>
          <a:xfrm>
            <a:off x="617813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9" name="Straight Connector 48"/>
          <p:cNvCxnSpPr/>
          <p:nvPr/>
        </p:nvCxnSpPr>
        <p:spPr>
          <a:xfrm>
            <a:off x="7772400"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7691814"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51" name="Oval 50"/>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53" name="TextBox 52"/>
          <p:cNvSpPr txBox="1"/>
          <p:nvPr/>
        </p:nvSpPr>
        <p:spPr>
          <a:xfrm>
            <a:off x="7653889"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cxnSp>
        <p:nvCxnSpPr>
          <p:cNvPr id="54" name="Straight Connector 5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55" name="TextBox 54"/>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550409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3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75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22" presetClass="entr" presetSubtype="8" fill="hold" nodeType="withEffect">
                                  <p:stCondLst>
                                    <p:cond delay="100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800"/>
                                        <p:tgtEl>
                                          <p:spTgt spid="4"/>
                                        </p:tgtEl>
                                      </p:cBhvr>
                                    </p:animEffect>
                                  </p:childTnLst>
                                </p:cTn>
                              </p:par>
                              <p:par>
                                <p:cTn id="14" presetID="10" presetClass="entr" presetSubtype="0" fill="hold" grpId="0" nodeType="withEffect">
                                  <p:stCondLst>
                                    <p:cond delay="37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60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grpId="0" nodeType="withEffect">
                                  <p:stCondLst>
                                    <p:cond delay="86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grpId="0" nodeType="withEffect">
                                  <p:stCondLst>
                                    <p:cond delay="112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53" presetClass="entr" presetSubtype="16" fill="hold" grpId="0" nodeType="withEffect">
                                  <p:stCondLst>
                                    <p:cond delay="13700"/>
                                  </p:stCondLst>
                                  <p:childTnLst>
                                    <p:set>
                                      <p:cBhvr>
                                        <p:cTn id="27" dur="1" fill="hold">
                                          <p:stCondLst>
                                            <p:cond delay="0"/>
                                          </p:stCondLst>
                                        </p:cTn>
                                        <p:tgtEl>
                                          <p:spTgt spid="26"/>
                                        </p:tgtEl>
                                        <p:attrNameLst>
                                          <p:attrName>style.visibility</p:attrName>
                                        </p:attrNameLst>
                                      </p:cBhvr>
                                      <p:to>
                                        <p:strVal val="visible"/>
                                      </p:to>
                                    </p:set>
                                    <p:anim calcmode="lin" valueType="num">
                                      <p:cBhvr>
                                        <p:cTn id="28" dur="550" fill="hold"/>
                                        <p:tgtEl>
                                          <p:spTgt spid="26"/>
                                        </p:tgtEl>
                                        <p:attrNameLst>
                                          <p:attrName>ppt_w</p:attrName>
                                        </p:attrNameLst>
                                      </p:cBhvr>
                                      <p:tavLst>
                                        <p:tav tm="0">
                                          <p:val>
                                            <p:fltVal val="0"/>
                                          </p:val>
                                        </p:tav>
                                        <p:tav tm="100000">
                                          <p:val>
                                            <p:strVal val="#ppt_w"/>
                                          </p:val>
                                        </p:tav>
                                      </p:tavLst>
                                    </p:anim>
                                    <p:anim calcmode="lin" valueType="num">
                                      <p:cBhvr>
                                        <p:cTn id="29" dur="550" fill="hold"/>
                                        <p:tgtEl>
                                          <p:spTgt spid="26"/>
                                        </p:tgtEl>
                                        <p:attrNameLst>
                                          <p:attrName>ppt_h</p:attrName>
                                        </p:attrNameLst>
                                      </p:cBhvr>
                                      <p:tavLst>
                                        <p:tav tm="0">
                                          <p:val>
                                            <p:fltVal val="0"/>
                                          </p:val>
                                        </p:tav>
                                        <p:tav tm="100000">
                                          <p:val>
                                            <p:strVal val="#ppt_h"/>
                                          </p:val>
                                        </p:tav>
                                      </p:tavLst>
                                    </p:anim>
                                    <p:animEffect transition="in" filter="fade">
                                      <p:cBhvr>
                                        <p:cTn id="30" dur="550"/>
                                        <p:tgtEl>
                                          <p:spTgt spid="26"/>
                                        </p:tgtEl>
                                      </p:cBhvr>
                                    </p:animEffect>
                                  </p:childTnLst>
                                </p:cTn>
                              </p:par>
                              <p:par>
                                <p:cTn id="31" presetID="22" presetClass="entr" presetSubtype="4" fill="hold" nodeType="withEffect">
                                  <p:stCondLst>
                                    <p:cond delay="15800"/>
                                  </p:stCondLst>
                                  <p:childTnLst>
                                    <p:set>
                                      <p:cBhvr>
                                        <p:cTn id="32" dur="1" fill="hold">
                                          <p:stCondLst>
                                            <p:cond delay="0"/>
                                          </p:stCondLst>
                                        </p:cTn>
                                        <p:tgtEl>
                                          <p:spTgt spid="24"/>
                                        </p:tgtEl>
                                        <p:attrNameLst>
                                          <p:attrName>style.visibility</p:attrName>
                                        </p:attrNameLst>
                                      </p:cBhvr>
                                      <p:to>
                                        <p:strVal val="visible"/>
                                      </p:to>
                                    </p:set>
                                    <p:animEffect transition="in" filter="wipe(down)">
                                      <p:cBhvr>
                                        <p:cTn id="33" dur="800"/>
                                        <p:tgtEl>
                                          <p:spTgt spid="24"/>
                                        </p:tgtEl>
                                      </p:cBhvr>
                                    </p:animEffect>
                                  </p:childTnLst>
                                </p:cTn>
                              </p:par>
                              <p:par>
                                <p:cTn id="34" presetID="10" presetClass="entr" presetSubtype="0" fill="hold" grpId="0" nodeType="withEffect">
                                  <p:stCondLst>
                                    <p:cond delay="170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par>
                                <p:cTn id="37" presetID="10" presetClass="entr" presetSubtype="0" fill="hold" grpId="0" nodeType="withEffect">
                                  <p:stCondLst>
                                    <p:cond delay="170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par>
                                <p:cTn id="40" presetID="22" presetClass="entr" presetSubtype="4" fill="hold" nodeType="withEffect">
                                  <p:stCondLst>
                                    <p:cond delay="300"/>
                                  </p:stCondLst>
                                  <p:childTnLst>
                                    <p:set>
                                      <p:cBhvr>
                                        <p:cTn id="41" dur="1" fill="hold">
                                          <p:stCondLst>
                                            <p:cond delay="0"/>
                                          </p:stCondLst>
                                        </p:cTn>
                                        <p:tgtEl>
                                          <p:spTgt spid="39"/>
                                        </p:tgtEl>
                                        <p:attrNameLst>
                                          <p:attrName>style.visibility</p:attrName>
                                        </p:attrNameLst>
                                      </p:cBhvr>
                                      <p:to>
                                        <p:strVal val="visible"/>
                                      </p:to>
                                    </p:set>
                                    <p:animEffect transition="in" filter="wipe(down)">
                                      <p:cBhvr>
                                        <p:cTn id="42" dur="750"/>
                                        <p:tgtEl>
                                          <p:spTgt spid="39"/>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51"/>
                                        </p:tgtEl>
                                        <p:attrNameLst>
                                          <p:attrName>style.visibility</p:attrName>
                                        </p:attrNameLst>
                                      </p:cBhvr>
                                      <p:to>
                                        <p:strVal val="visible"/>
                                      </p:to>
                                    </p:set>
                                    <p:animEffect transition="in" filter="fade">
                                      <p:cBhvr>
                                        <p:cTn id="45" dur="500"/>
                                        <p:tgtEl>
                                          <p:spTgt spid="51"/>
                                        </p:tgtEl>
                                      </p:cBhvr>
                                    </p:animEffect>
                                  </p:childTnLst>
                                </p:cTn>
                              </p:par>
                              <p:par>
                                <p:cTn id="46" presetID="22" presetClass="entr" presetSubtype="8" fill="hold" nodeType="withEffect">
                                  <p:stCondLst>
                                    <p:cond delay="1000"/>
                                  </p:stCondLst>
                                  <p:childTnLst>
                                    <p:set>
                                      <p:cBhvr>
                                        <p:cTn id="47" dur="1" fill="hold">
                                          <p:stCondLst>
                                            <p:cond delay="0"/>
                                          </p:stCondLst>
                                        </p:cTn>
                                        <p:tgtEl>
                                          <p:spTgt spid="43"/>
                                        </p:tgtEl>
                                        <p:attrNameLst>
                                          <p:attrName>style.visibility</p:attrName>
                                        </p:attrNameLst>
                                      </p:cBhvr>
                                      <p:to>
                                        <p:strVal val="visible"/>
                                      </p:to>
                                    </p:set>
                                    <p:animEffect transition="in" filter="wipe(left)">
                                      <p:cBhvr>
                                        <p:cTn id="48" dur="800"/>
                                        <p:tgtEl>
                                          <p:spTgt spid="43"/>
                                        </p:tgtEl>
                                      </p:cBhvr>
                                    </p:animEffect>
                                  </p:childTnLst>
                                </p:cTn>
                              </p:par>
                              <p:par>
                                <p:cTn id="49" presetID="10" presetClass="entr" presetSubtype="0" fill="hold" grpId="0" nodeType="withEffect">
                                  <p:stCondLst>
                                    <p:cond delay="3700"/>
                                  </p:stCondLst>
                                  <p:childTnLst>
                                    <p:set>
                                      <p:cBhvr>
                                        <p:cTn id="50" dur="1" fill="hold">
                                          <p:stCondLst>
                                            <p:cond delay="0"/>
                                          </p:stCondLst>
                                        </p:cTn>
                                        <p:tgtEl>
                                          <p:spTgt spid="44"/>
                                        </p:tgtEl>
                                        <p:attrNameLst>
                                          <p:attrName>style.visibility</p:attrName>
                                        </p:attrNameLst>
                                      </p:cBhvr>
                                      <p:to>
                                        <p:strVal val="visible"/>
                                      </p:to>
                                    </p:set>
                                    <p:animEffect transition="in" filter="fade">
                                      <p:cBhvr>
                                        <p:cTn id="51" dur="500"/>
                                        <p:tgtEl>
                                          <p:spTgt spid="44"/>
                                        </p:tgtEl>
                                      </p:cBhvr>
                                    </p:animEffect>
                                  </p:childTnLst>
                                </p:cTn>
                              </p:par>
                              <p:par>
                                <p:cTn id="52" presetID="10" presetClass="entr" presetSubtype="0" fill="hold" grpId="0" nodeType="withEffect">
                                  <p:stCondLst>
                                    <p:cond delay="6000"/>
                                  </p:stCondLst>
                                  <p:childTnLst>
                                    <p:set>
                                      <p:cBhvr>
                                        <p:cTn id="53" dur="1" fill="hold">
                                          <p:stCondLst>
                                            <p:cond delay="0"/>
                                          </p:stCondLst>
                                        </p:cTn>
                                        <p:tgtEl>
                                          <p:spTgt spid="45"/>
                                        </p:tgtEl>
                                        <p:attrNameLst>
                                          <p:attrName>style.visibility</p:attrName>
                                        </p:attrNameLst>
                                      </p:cBhvr>
                                      <p:to>
                                        <p:strVal val="visible"/>
                                      </p:to>
                                    </p:set>
                                    <p:animEffect transition="in" filter="fade">
                                      <p:cBhvr>
                                        <p:cTn id="54" dur="500"/>
                                        <p:tgtEl>
                                          <p:spTgt spid="45"/>
                                        </p:tgtEl>
                                      </p:cBhvr>
                                    </p:animEffect>
                                  </p:childTnLst>
                                </p:cTn>
                              </p:par>
                              <p:par>
                                <p:cTn id="55" presetID="10" presetClass="entr" presetSubtype="0" fill="hold" grpId="0" nodeType="withEffect">
                                  <p:stCondLst>
                                    <p:cond delay="8600"/>
                                  </p:stCondLst>
                                  <p:childTnLst>
                                    <p:set>
                                      <p:cBhvr>
                                        <p:cTn id="56" dur="1" fill="hold">
                                          <p:stCondLst>
                                            <p:cond delay="0"/>
                                          </p:stCondLst>
                                        </p:cTn>
                                        <p:tgtEl>
                                          <p:spTgt spid="46"/>
                                        </p:tgtEl>
                                        <p:attrNameLst>
                                          <p:attrName>style.visibility</p:attrName>
                                        </p:attrNameLst>
                                      </p:cBhvr>
                                      <p:to>
                                        <p:strVal val="visible"/>
                                      </p:to>
                                    </p:set>
                                    <p:animEffect transition="in" filter="fade">
                                      <p:cBhvr>
                                        <p:cTn id="57" dur="500"/>
                                        <p:tgtEl>
                                          <p:spTgt spid="46"/>
                                        </p:tgtEl>
                                      </p:cBhvr>
                                    </p:animEffect>
                                  </p:childTnLst>
                                </p:cTn>
                              </p:par>
                              <p:par>
                                <p:cTn id="58" presetID="10" presetClass="entr" presetSubtype="0" fill="hold" grpId="0" nodeType="withEffect">
                                  <p:stCondLst>
                                    <p:cond delay="11200"/>
                                  </p:stCondLst>
                                  <p:childTnLst>
                                    <p:set>
                                      <p:cBhvr>
                                        <p:cTn id="59" dur="1" fill="hold">
                                          <p:stCondLst>
                                            <p:cond delay="0"/>
                                          </p:stCondLst>
                                        </p:cTn>
                                        <p:tgtEl>
                                          <p:spTgt spid="47"/>
                                        </p:tgtEl>
                                        <p:attrNameLst>
                                          <p:attrName>style.visibility</p:attrName>
                                        </p:attrNameLst>
                                      </p:cBhvr>
                                      <p:to>
                                        <p:strVal val="visible"/>
                                      </p:to>
                                    </p:set>
                                    <p:animEffect transition="in" filter="fade">
                                      <p:cBhvr>
                                        <p:cTn id="60" dur="500"/>
                                        <p:tgtEl>
                                          <p:spTgt spid="47"/>
                                        </p:tgtEl>
                                      </p:cBhvr>
                                    </p:animEffect>
                                  </p:childTnLst>
                                </p:cTn>
                              </p:par>
                              <p:par>
                                <p:cTn id="61" presetID="53" presetClass="entr" presetSubtype="16" fill="hold" grpId="0" nodeType="withEffect">
                                  <p:stCondLst>
                                    <p:cond delay="13700"/>
                                  </p:stCondLst>
                                  <p:childTnLst>
                                    <p:set>
                                      <p:cBhvr>
                                        <p:cTn id="62" dur="1" fill="hold">
                                          <p:stCondLst>
                                            <p:cond delay="0"/>
                                          </p:stCondLst>
                                        </p:cTn>
                                        <p:tgtEl>
                                          <p:spTgt spid="50"/>
                                        </p:tgtEl>
                                        <p:attrNameLst>
                                          <p:attrName>style.visibility</p:attrName>
                                        </p:attrNameLst>
                                      </p:cBhvr>
                                      <p:to>
                                        <p:strVal val="visible"/>
                                      </p:to>
                                    </p:set>
                                    <p:anim calcmode="lin" valueType="num">
                                      <p:cBhvr>
                                        <p:cTn id="63" dur="550" fill="hold"/>
                                        <p:tgtEl>
                                          <p:spTgt spid="50"/>
                                        </p:tgtEl>
                                        <p:attrNameLst>
                                          <p:attrName>ppt_w</p:attrName>
                                        </p:attrNameLst>
                                      </p:cBhvr>
                                      <p:tavLst>
                                        <p:tav tm="0">
                                          <p:val>
                                            <p:fltVal val="0"/>
                                          </p:val>
                                        </p:tav>
                                        <p:tav tm="100000">
                                          <p:val>
                                            <p:strVal val="#ppt_w"/>
                                          </p:val>
                                        </p:tav>
                                      </p:tavLst>
                                    </p:anim>
                                    <p:anim calcmode="lin" valueType="num">
                                      <p:cBhvr>
                                        <p:cTn id="64" dur="550" fill="hold"/>
                                        <p:tgtEl>
                                          <p:spTgt spid="50"/>
                                        </p:tgtEl>
                                        <p:attrNameLst>
                                          <p:attrName>ppt_h</p:attrName>
                                        </p:attrNameLst>
                                      </p:cBhvr>
                                      <p:tavLst>
                                        <p:tav tm="0">
                                          <p:val>
                                            <p:fltVal val="0"/>
                                          </p:val>
                                        </p:tav>
                                        <p:tav tm="100000">
                                          <p:val>
                                            <p:strVal val="#ppt_h"/>
                                          </p:val>
                                        </p:tav>
                                      </p:tavLst>
                                    </p:anim>
                                    <p:animEffect transition="in" filter="fade">
                                      <p:cBhvr>
                                        <p:cTn id="65" dur="550"/>
                                        <p:tgtEl>
                                          <p:spTgt spid="50"/>
                                        </p:tgtEl>
                                      </p:cBhvr>
                                    </p:animEffect>
                                  </p:childTnLst>
                                </p:cTn>
                              </p:par>
                              <p:par>
                                <p:cTn id="66" presetID="22" presetClass="entr" presetSubtype="4" fill="hold" nodeType="withEffect">
                                  <p:stCondLst>
                                    <p:cond delay="15800"/>
                                  </p:stCondLst>
                                  <p:childTnLst>
                                    <p:set>
                                      <p:cBhvr>
                                        <p:cTn id="67" dur="1" fill="hold">
                                          <p:stCondLst>
                                            <p:cond delay="0"/>
                                          </p:stCondLst>
                                        </p:cTn>
                                        <p:tgtEl>
                                          <p:spTgt spid="49"/>
                                        </p:tgtEl>
                                        <p:attrNameLst>
                                          <p:attrName>style.visibility</p:attrName>
                                        </p:attrNameLst>
                                      </p:cBhvr>
                                      <p:to>
                                        <p:strVal val="visible"/>
                                      </p:to>
                                    </p:set>
                                    <p:animEffect transition="in" filter="wipe(down)">
                                      <p:cBhvr>
                                        <p:cTn id="68" dur="800"/>
                                        <p:tgtEl>
                                          <p:spTgt spid="49"/>
                                        </p:tgtEl>
                                      </p:cBhvr>
                                    </p:animEffect>
                                  </p:childTnLst>
                                </p:cTn>
                              </p:par>
                              <p:par>
                                <p:cTn id="69" presetID="10" presetClass="entr" presetSubtype="0" fill="hold" grpId="0" nodeType="withEffect">
                                  <p:stCondLst>
                                    <p:cond delay="1700"/>
                                  </p:stCondLst>
                                  <p:childTnLst>
                                    <p:set>
                                      <p:cBhvr>
                                        <p:cTn id="70" dur="1" fill="hold">
                                          <p:stCondLst>
                                            <p:cond delay="0"/>
                                          </p:stCondLst>
                                        </p:cTn>
                                        <p:tgtEl>
                                          <p:spTgt spid="52"/>
                                        </p:tgtEl>
                                        <p:attrNameLst>
                                          <p:attrName>style.visibility</p:attrName>
                                        </p:attrNameLst>
                                      </p:cBhvr>
                                      <p:to>
                                        <p:strVal val="visible"/>
                                      </p:to>
                                    </p:set>
                                    <p:animEffect transition="in" filter="fade">
                                      <p:cBhvr>
                                        <p:cTn id="71" dur="500"/>
                                        <p:tgtEl>
                                          <p:spTgt spid="52"/>
                                        </p:tgtEl>
                                      </p:cBhvr>
                                    </p:animEffect>
                                  </p:childTnLst>
                                </p:cTn>
                              </p:par>
                              <p:par>
                                <p:cTn id="72" presetID="10" presetClass="entr" presetSubtype="0" fill="hold" grpId="0" nodeType="withEffect">
                                  <p:stCondLst>
                                    <p:cond delay="1700"/>
                                  </p:stCondLst>
                                  <p:childTnLst>
                                    <p:set>
                                      <p:cBhvr>
                                        <p:cTn id="73" dur="1" fill="hold">
                                          <p:stCondLst>
                                            <p:cond delay="0"/>
                                          </p:stCondLst>
                                        </p:cTn>
                                        <p:tgtEl>
                                          <p:spTgt spid="53"/>
                                        </p:tgtEl>
                                        <p:attrNameLst>
                                          <p:attrName>style.visibility</p:attrName>
                                        </p:attrNameLst>
                                      </p:cBhvr>
                                      <p:to>
                                        <p:strVal val="visible"/>
                                      </p:to>
                                    </p:set>
                                    <p:animEffect transition="in" filter="fade">
                                      <p:cBhvr>
                                        <p:cTn id="74"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20" grpId="0" animBg="1"/>
      <p:bldP spid="26" grpId="0" animBg="1"/>
      <p:bldP spid="27" grpId="0" animBg="1"/>
      <p:bldP spid="30" grpId="0"/>
      <p:bldP spid="31" grpId="0"/>
      <p:bldP spid="44" grpId="0" animBg="1"/>
      <p:bldP spid="45" grpId="0" animBg="1"/>
      <p:bldP spid="46" grpId="0" animBg="1"/>
      <p:bldP spid="47" grpId="0" animBg="1"/>
      <p:bldP spid="50" grpId="0" animBg="1"/>
      <p:bldP spid="51" grpId="0" animBg="1"/>
      <p:bldP spid="52" grpId="0"/>
      <p:bldP spid="53" grpId="0"/>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meline 5">
    <p:spTree>
      <p:nvGrpSpPr>
        <p:cNvPr id="1" name=""/>
        <p:cNvGrpSpPr/>
        <p:nvPr/>
      </p:nvGrpSpPr>
      <p:grpSpPr>
        <a:xfrm>
          <a:off x="0" y="0"/>
          <a:ext cx="0" cy="0"/>
          <a:chOff x="0" y="0"/>
          <a:chExt cx="0" cy="0"/>
        </a:xfrm>
      </p:grpSpPr>
      <p:sp>
        <p:nvSpPr>
          <p:cNvPr id="32" name="Title 2"/>
          <p:cNvSpPr>
            <a:spLocks noGrp="1"/>
          </p:cNvSpPr>
          <p:nvPr>
            <p:ph type="title"/>
          </p:nvPr>
        </p:nvSpPr>
        <p:spPr>
          <a:xfrm>
            <a:off x="228600" y="133348"/>
            <a:ext cx="8686800" cy="762001"/>
          </a:xfrm>
        </p:spPr>
        <p:txBody>
          <a:bodyPr/>
          <a:lstStyle>
            <a:lvl1pPr>
              <a:defRPr/>
            </a:lvl1pPr>
          </a:lstStyle>
          <a:p>
            <a:r>
              <a:rPr lang="en-US" smtClean="0"/>
              <a:t>Click to edit Master title style</a:t>
            </a:r>
            <a:endParaRPr lang="en-US" dirty="0"/>
          </a:p>
        </p:txBody>
      </p:sp>
      <p:cxnSp>
        <p:nvCxnSpPr>
          <p:cNvPr id="33" name="Straight Connector 32"/>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42" name="TextBox 4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40" name="Straight Connector 39"/>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50" idx="6"/>
            <a:endCxn id="49" idx="6"/>
          </p:cNvCxnSpPr>
          <p:nvPr/>
        </p:nvCxnSpPr>
        <p:spPr>
          <a:xfrm flipV="1">
            <a:off x="409160" y="2321221"/>
            <a:ext cx="6973763"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1920433"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p:cNvSpPr/>
          <p:nvPr/>
        </p:nvSpPr>
        <p:spPr>
          <a:xfrm>
            <a:off x="3681764" y="2266250"/>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Straight Connector 46"/>
          <p:cNvCxnSpPr/>
          <p:nvPr/>
        </p:nvCxnSpPr>
        <p:spPr>
          <a:xfrm>
            <a:off x="7329382"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7248796"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50" name="Oval 49"/>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52" name="TextBox 51"/>
          <p:cNvSpPr txBox="1"/>
          <p:nvPr/>
        </p:nvSpPr>
        <p:spPr>
          <a:xfrm>
            <a:off x="7210871"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sp>
        <p:nvSpPr>
          <p:cNvPr id="53" name="Picture Placeholder 15"/>
          <p:cNvSpPr>
            <a:spLocks noGrp="1"/>
          </p:cNvSpPr>
          <p:nvPr>
            <p:ph type="pic" sz="quarter" idx="11"/>
          </p:nvPr>
        </p:nvSpPr>
        <p:spPr>
          <a:xfrm>
            <a:off x="2150238" y="1437911"/>
            <a:ext cx="1431162" cy="742950"/>
          </a:xfrm>
        </p:spPr>
        <p:txBody>
          <a:bodyPr/>
          <a:lstStyle>
            <a:lvl1pPr marL="0" indent="0">
              <a:buNone/>
              <a:defRPr/>
            </a:lvl1pPr>
          </a:lstStyle>
          <a:p>
            <a:r>
              <a:rPr lang="en-US" smtClean="0"/>
              <a:t>Click icon to add picture</a:t>
            </a:r>
            <a:endParaRPr lang="en-CA" dirty="0"/>
          </a:p>
        </p:txBody>
      </p:sp>
      <p:sp>
        <p:nvSpPr>
          <p:cNvPr id="54" name="Picture Placeholder 15"/>
          <p:cNvSpPr>
            <a:spLocks noGrp="1"/>
          </p:cNvSpPr>
          <p:nvPr>
            <p:ph type="pic" sz="quarter" idx="12"/>
          </p:nvPr>
        </p:nvSpPr>
        <p:spPr>
          <a:xfrm>
            <a:off x="3915385" y="1436412"/>
            <a:ext cx="1441748" cy="742950"/>
          </a:xfrm>
        </p:spPr>
        <p:txBody>
          <a:bodyPr/>
          <a:lstStyle>
            <a:lvl1pPr marL="0" indent="0">
              <a:buNone/>
              <a:defRPr/>
            </a:lvl1pPr>
          </a:lstStyle>
          <a:p>
            <a:r>
              <a:rPr lang="en-US" smtClean="0"/>
              <a:t>Click icon to add picture</a:t>
            </a:r>
            <a:endParaRPr lang="en-CA" dirty="0"/>
          </a:p>
        </p:txBody>
      </p:sp>
      <p:sp>
        <p:nvSpPr>
          <p:cNvPr id="57" name="Picture Placeholder 15"/>
          <p:cNvSpPr>
            <a:spLocks noGrp="1"/>
          </p:cNvSpPr>
          <p:nvPr>
            <p:ph type="pic" sz="quarter" idx="15"/>
          </p:nvPr>
        </p:nvSpPr>
        <p:spPr>
          <a:xfrm>
            <a:off x="449812" y="1445893"/>
            <a:ext cx="1373163" cy="742950"/>
          </a:xfrm>
        </p:spPr>
        <p:txBody>
          <a:bodyPr/>
          <a:lstStyle>
            <a:lvl1pPr marL="0" indent="0">
              <a:buNone/>
              <a:defRPr/>
            </a:lvl1pPr>
          </a:lstStyle>
          <a:p>
            <a:r>
              <a:rPr lang="en-US" smtClean="0"/>
              <a:t>Click icon to add picture</a:t>
            </a:r>
            <a:endParaRPr lang="en-CA" dirty="0"/>
          </a:p>
        </p:txBody>
      </p:sp>
      <p:sp>
        <p:nvSpPr>
          <p:cNvPr id="58" name="Text Placeholder 22"/>
          <p:cNvSpPr>
            <a:spLocks noGrp="1"/>
          </p:cNvSpPr>
          <p:nvPr>
            <p:ph type="body" sz="quarter" idx="17"/>
          </p:nvPr>
        </p:nvSpPr>
        <p:spPr>
          <a:xfrm>
            <a:off x="449813" y="2540081"/>
            <a:ext cx="1373162"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9" name="Text Placeholder 47"/>
          <p:cNvSpPr>
            <a:spLocks noGrp="1"/>
          </p:cNvSpPr>
          <p:nvPr>
            <p:ph type="body" sz="quarter" idx="18"/>
          </p:nvPr>
        </p:nvSpPr>
        <p:spPr>
          <a:xfrm rot="16200000">
            <a:off x="-512500" y="3204981"/>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0" name="Text Placeholder 22"/>
          <p:cNvSpPr>
            <a:spLocks noGrp="1"/>
          </p:cNvSpPr>
          <p:nvPr>
            <p:ph type="body" sz="quarter" idx="19"/>
          </p:nvPr>
        </p:nvSpPr>
        <p:spPr>
          <a:xfrm>
            <a:off x="2150236" y="2540081"/>
            <a:ext cx="1431163"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71" name="Text Placeholder 47"/>
          <p:cNvSpPr>
            <a:spLocks noGrp="1"/>
          </p:cNvSpPr>
          <p:nvPr>
            <p:ph type="body" sz="quarter" idx="20"/>
          </p:nvPr>
        </p:nvSpPr>
        <p:spPr>
          <a:xfrm rot="16200000">
            <a:off x="1188240" y="3201420"/>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2" name="Text Placeholder 22"/>
          <p:cNvSpPr>
            <a:spLocks noGrp="1"/>
          </p:cNvSpPr>
          <p:nvPr>
            <p:ph type="body" sz="quarter" idx="21"/>
          </p:nvPr>
        </p:nvSpPr>
        <p:spPr>
          <a:xfrm>
            <a:off x="3918637" y="2525902"/>
            <a:ext cx="1435244"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73" name="Text Placeholder 47"/>
          <p:cNvSpPr>
            <a:spLocks noGrp="1"/>
          </p:cNvSpPr>
          <p:nvPr>
            <p:ph type="body" sz="quarter" idx="22"/>
          </p:nvPr>
        </p:nvSpPr>
        <p:spPr>
          <a:xfrm rot="16200000">
            <a:off x="2953072" y="3195027"/>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8" name="Text Placeholder 47"/>
          <p:cNvSpPr>
            <a:spLocks noGrp="1"/>
          </p:cNvSpPr>
          <p:nvPr>
            <p:ph type="body" sz="quarter" idx="28"/>
          </p:nvPr>
        </p:nvSpPr>
        <p:spPr>
          <a:xfrm rot="16200000">
            <a:off x="6497901" y="3193743"/>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31" name="Oval 30"/>
          <p:cNvSpPr/>
          <p:nvPr/>
        </p:nvSpPr>
        <p:spPr>
          <a:xfrm>
            <a:off x="5451654" y="225960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icture Placeholder 15"/>
          <p:cNvSpPr>
            <a:spLocks noGrp="1"/>
          </p:cNvSpPr>
          <p:nvPr>
            <p:ph type="pic" sz="quarter" idx="29"/>
          </p:nvPr>
        </p:nvSpPr>
        <p:spPr>
          <a:xfrm>
            <a:off x="5685275" y="1429764"/>
            <a:ext cx="1441748" cy="742950"/>
          </a:xfrm>
        </p:spPr>
        <p:txBody>
          <a:bodyPr/>
          <a:lstStyle>
            <a:lvl1pPr marL="0" indent="0">
              <a:buNone/>
              <a:defRPr/>
            </a:lvl1pPr>
          </a:lstStyle>
          <a:p>
            <a:r>
              <a:rPr lang="en-US" smtClean="0"/>
              <a:t>Click icon to add picture</a:t>
            </a:r>
            <a:endParaRPr lang="en-CA" dirty="0"/>
          </a:p>
        </p:txBody>
      </p:sp>
      <p:sp>
        <p:nvSpPr>
          <p:cNvPr id="35" name="Text Placeholder 22"/>
          <p:cNvSpPr>
            <a:spLocks noGrp="1"/>
          </p:cNvSpPr>
          <p:nvPr>
            <p:ph type="body" sz="quarter" idx="30"/>
          </p:nvPr>
        </p:nvSpPr>
        <p:spPr>
          <a:xfrm>
            <a:off x="5688527" y="2519254"/>
            <a:ext cx="1435244"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36" name="Text Placeholder 47"/>
          <p:cNvSpPr>
            <a:spLocks noGrp="1"/>
          </p:cNvSpPr>
          <p:nvPr>
            <p:ph type="body" sz="quarter" idx="31"/>
          </p:nvPr>
        </p:nvSpPr>
        <p:spPr>
          <a:xfrm rot="16200000">
            <a:off x="4722962" y="3188379"/>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37" name="Picture Placeholder 15"/>
          <p:cNvSpPr>
            <a:spLocks noGrp="1"/>
          </p:cNvSpPr>
          <p:nvPr>
            <p:ph type="pic" sz="quarter" idx="32"/>
          </p:nvPr>
        </p:nvSpPr>
        <p:spPr>
          <a:xfrm>
            <a:off x="7467028" y="1429764"/>
            <a:ext cx="1441748" cy="742950"/>
          </a:xfrm>
        </p:spPr>
        <p:txBody>
          <a:bodyPr/>
          <a:lstStyle>
            <a:lvl1pPr marL="0" indent="0">
              <a:buNone/>
              <a:defRPr/>
            </a:lvl1pPr>
          </a:lstStyle>
          <a:p>
            <a:r>
              <a:rPr lang="en-US" smtClean="0"/>
              <a:t>Click icon to add picture</a:t>
            </a:r>
            <a:endParaRPr lang="en-CA" dirty="0"/>
          </a:p>
        </p:txBody>
      </p:sp>
      <p:sp>
        <p:nvSpPr>
          <p:cNvPr id="38" name="Text Placeholder 22"/>
          <p:cNvSpPr>
            <a:spLocks noGrp="1"/>
          </p:cNvSpPr>
          <p:nvPr>
            <p:ph type="body" sz="quarter" idx="33"/>
          </p:nvPr>
        </p:nvSpPr>
        <p:spPr>
          <a:xfrm>
            <a:off x="7470280" y="2519254"/>
            <a:ext cx="1435244"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cxnSp>
        <p:nvCxnSpPr>
          <p:cNvPr id="30" name="Straight Connector 29"/>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39" name="TextBox 3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45" name="Straight Connector 44"/>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50" idx="6"/>
            <a:endCxn id="49" idx="6"/>
          </p:cNvCxnSpPr>
          <p:nvPr/>
        </p:nvCxnSpPr>
        <p:spPr>
          <a:xfrm flipV="1">
            <a:off x="409160" y="2321221"/>
            <a:ext cx="6973763"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1920433" y="226750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Oval 54"/>
          <p:cNvSpPr/>
          <p:nvPr/>
        </p:nvSpPr>
        <p:spPr>
          <a:xfrm>
            <a:off x="3681764" y="2266250"/>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6" name="Straight Connector 55"/>
          <p:cNvCxnSpPr/>
          <p:nvPr/>
        </p:nvCxnSpPr>
        <p:spPr>
          <a:xfrm>
            <a:off x="7329382"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59" name="Oval 58"/>
          <p:cNvSpPr/>
          <p:nvPr/>
        </p:nvSpPr>
        <p:spPr>
          <a:xfrm>
            <a:off x="7248796"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60" name="Oval 59"/>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TextBox 60"/>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62" name="TextBox 61"/>
          <p:cNvSpPr txBox="1"/>
          <p:nvPr/>
        </p:nvSpPr>
        <p:spPr>
          <a:xfrm>
            <a:off x="7210871"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sp>
        <p:nvSpPr>
          <p:cNvPr id="63" name="Oval 62"/>
          <p:cNvSpPr/>
          <p:nvPr/>
        </p:nvSpPr>
        <p:spPr>
          <a:xfrm>
            <a:off x="5451654" y="225960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21738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30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75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22" presetClass="entr" presetSubtype="8" fill="hold"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wipe(left)">
                                      <p:cBhvr>
                                        <p:cTn id="13" dur="800"/>
                                        <p:tgtEl>
                                          <p:spTgt spid="41"/>
                                        </p:tgtEl>
                                      </p:cBhvr>
                                    </p:animEffect>
                                  </p:childTnLst>
                                </p:cTn>
                              </p:par>
                              <p:par>
                                <p:cTn id="14" presetID="10" presetClass="entr" presetSubtype="0" fill="hold" grpId="0" nodeType="withEffect">
                                  <p:stCondLst>
                                    <p:cond delay="370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grpId="0" nodeType="withEffect">
                                  <p:stCondLst>
                                    <p:cond delay="600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53" presetClass="entr" presetSubtype="16" fill="hold" grpId="0" nodeType="withEffect">
                                  <p:stCondLst>
                                    <p:cond delay="13700"/>
                                  </p:stCondLst>
                                  <p:childTnLst>
                                    <p:set>
                                      <p:cBhvr>
                                        <p:cTn id="21" dur="1" fill="hold">
                                          <p:stCondLst>
                                            <p:cond delay="0"/>
                                          </p:stCondLst>
                                        </p:cTn>
                                        <p:tgtEl>
                                          <p:spTgt spid="49"/>
                                        </p:tgtEl>
                                        <p:attrNameLst>
                                          <p:attrName>style.visibility</p:attrName>
                                        </p:attrNameLst>
                                      </p:cBhvr>
                                      <p:to>
                                        <p:strVal val="visible"/>
                                      </p:to>
                                    </p:set>
                                    <p:anim calcmode="lin" valueType="num">
                                      <p:cBhvr>
                                        <p:cTn id="22" dur="550" fill="hold"/>
                                        <p:tgtEl>
                                          <p:spTgt spid="49"/>
                                        </p:tgtEl>
                                        <p:attrNameLst>
                                          <p:attrName>ppt_w</p:attrName>
                                        </p:attrNameLst>
                                      </p:cBhvr>
                                      <p:tavLst>
                                        <p:tav tm="0">
                                          <p:val>
                                            <p:fltVal val="0"/>
                                          </p:val>
                                        </p:tav>
                                        <p:tav tm="100000">
                                          <p:val>
                                            <p:strVal val="#ppt_w"/>
                                          </p:val>
                                        </p:tav>
                                      </p:tavLst>
                                    </p:anim>
                                    <p:anim calcmode="lin" valueType="num">
                                      <p:cBhvr>
                                        <p:cTn id="23" dur="550" fill="hold"/>
                                        <p:tgtEl>
                                          <p:spTgt spid="49"/>
                                        </p:tgtEl>
                                        <p:attrNameLst>
                                          <p:attrName>ppt_h</p:attrName>
                                        </p:attrNameLst>
                                      </p:cBhvr>
                                      <p:tavLst>
                                        <p:tav tm="0">
                                          <p:val>
                                            <p:fltVal val="0"/>
                                          </p:val>
                                        </p:tav>
                                        <p:tav tm="100000">
                                          <p:val>
                                            <p:strVal val="#ppt_h"/>
                                          </p:val>
                                        </p:tav>
                                      </p:tavLst>
                                    </p:anim>
                                    <p:animEffect transition="in" filter="fade">
                                      <p:cBhvr>
                                        <p:cTn id="24" dur="550"/>
                                        <p:tgtEl>
                                          <p:spTgt spid="49"/>
                                        </p:tgtEl>
                                      </p:cBhvr>
                                    </p:animEffect>
                                  </p:childTnLst>
                                </p:cTn>
                              </p:par>
                              <p:par>
                                <p:cTn id="25" presetID="22" presetClass="entr" presetSubtype="4" fill="hold" nodeType="withEffect">
                                  <p:stCondLst>
                                    <p:cond delay="15800"/>
                                  </p:stCondLst>
                                  <p:childTnLst>
                                    <p:set>
                                      <p:cBhvr>
                                        <p:cTn id="26" dur="1" fill="hold">
                                          <p:stCondLst>
                                            <p:cond delay="0"/>
                                          </p:stCondLst>
                                        </p:cTn>
                                        <p:tgtEl>
                                          <p:spTgt spid="47"/>
                                        </p:tgtEl>
                                        <p:attrNameLst>
                                          <p:attrName>style.visibility</p:attrName>
                                        </p:attrNameLst>
                                      </p:cBhvr>
                                      <p:to>
                                        <p:strVal val="visible"/>
                                      </p:to>
                                    </p:set>
                                    <p:animEffect transition="in" filter="wipe(down)">
                                      <p:cBhvr>
                                        <p:cTn id="27" dur="800"/>
                                        <p:tgtEl>
                                          <p:spTgt spid="47"/>
                                        </p:tgtEl>
                                      </p:cBhvr>
                                    </p:animEffect>
                                  </p:childTnLst>
                                </p:cTn>
                              </p:par>
                              <p:par>
                                <p:cTn id="28" presetID="10" presetClass="entr" presetSubtype="0" fill="hold" grpId="0" nodeType="withEffect">
                                  <p:stCondLst>
                                    <p:cond delay="170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par>
                                <p:cTn id="31" presetID="10" presetClass="entr" presetSubtype="0" fill="hold" grpId="0" nodeType="withEffect">
                                  <p:stCondLst>
                                    <p:cond delay="170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10" presetClass="entr" presetSubtype="0" fill="hold" grpId="0" nodeType="withEffect">
                                  <p:stCondLst>
                                    <p:cond delay="600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par>
                                <p:cTn id="37" presetID="22" presetClass="entr" presetSubtype="4" fill="hold" nodeType="withEffect">
                                  <p:stCondLst>
                                    <p:cond delay="300"/>
                                  </p:stCondLst>
                                  <p:childTnLst>
                                    <p:set>
                                      <p:cBhvr>
                                        <p:cTn id="38" dur="1" fill="hold">
                                          <p:stCondLst>
                                            <p:cond delay="0"/>
                                          </p:stCondLst>
                                        </p:cTn>
                                        <p:tgtEl>
                                          <p:spTgt spid="45"/>
                                        </p:tgtEl>
                                        <p:attrNameLst>
                                          <p:attrName>style.visibility</p:attrName>
                                        </p:attrNameLst>
                                      </p:cBhvr>
                                      <p:to>
                                        <p:strVal val="visible"/>
                                      </p:to>
                                    </p:set>
                                    <p:animEffect transition="in" filter="wipe(down)">
                                      <p:cBhvr>
                                        <p:cTn id="39" dur="750"/>
                                        <p:tgtEl>
                                          <p:spTgt spid="45"/>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22" presetClass="entr" presetSubtype="8" fill="hold" nodeType="withEffect">
                                  <p:stCondLst>
                                    <p:cond delay="1000"/>
                                  </p:stCondLst>
                                  <p:childTnLst>
                                    <p:set>
                                      <p:cBhvr>
                                        <p:cTn id="44" dur="1" fill="hold">
                                          <p:stCondLst>
                                            <p:cond delay="0"/>
                                          </p:stCondLst>
                                        </p:cTn>
                                        <p:tgtEl>
                                          <p:spTgt spid="46"/>
                                        </p:tgtEl>
                                        <p:attrNameLst>
                                          <p:attrName>style.visibility</p:attrName>
                                        </p:attrNameLst>
                                      </p:cBhvr>
                                      <p:to>
                                        <p:strVal val="visible"/>
                                      </p:to>
                                    </p:set>
                                    <p:animEffect transition="in" filter="wipe(left)">
                                      <p:cBhvr>
                                        <p:cTn id="45" dur="800"/>
                                        <p:tgtEl>
                                          <p:spTgt spid="46"/>
                                        </p:tgtEl>
                                      </p:cBhvr>
                                    </p:animEffect>
                                  </p:childTnLst>
                                </p:cTn>
                              </p:par>
                              <p:par>
                                <p:cTn id="46" presetID="10" presetClass="entr" presetSubtype="0" fill="hold" grpId="0" nodeType="withEffect">
                                  <p:stCondLst>
                                    <p:cond delay="3700"/>
                                  </p:stCondLst>
                                  <p:childTnLst>
                                    <p:set>
                                      <p:cBhvr>
                                        <p:cTn id="47" dur="1" fill="hold">
                                          <p:stCondLst>
                                            <p:cond delay="0"/>
                                          </p:stCondLst>
                                        </p:cTn>
                                        <p:tgtEl>
                                          <p:spTgt spid="48"/>
                                        </p:tgtEl>
                                        <p:attrNameLst>
                                          <p:attrName>style.visibility</p:attrName>
                                        </p:attrNameLst>
                                      </p:cBhvr>
                                      <p:to>
                                        <p:strVal val="visible"/>
                                      </p:to>
                                    </p:set>
                                    <p:animEffect transition="in" filter="fade">
                                      <p:cBhvr>
                                        <p:cTn id="48" dur="500"/>
                                        <p:tgtEl>
                                          <p:spTgt spid="48"/>
                                        </p:tgtEl>
                                      </p:cBhvr>
                                    </p:animEffect>
                                  </p:childTnLst>
                                </p:cTn>
                              </p:par>
                              <p:par>
                                <p:cTn id="49" presetID="10" presetClass="entr" presetSubtype="0" fill="hold" grpId="0" nodeType="withEffect">
                                  <p:stCondLst>
                                    <p:cond delay="6000"/>
                                  </p:stCondLst>
                                  <p:childTnLst>
                                    <p:set>
                                      <p:cBhvr>
                                        <p:cTn id="50" dur="1" fill="hold">
                                          <p:stCondLst>
                                            <p:cond delay="0"/>
                                          </p:stCondLst>
                                        </p:cTn>
                                        <p:tgtEl>
                                          <p:spTgt spid="55"/>
                                        </p:tgtEl>
                                        <p:attrNameLst>
                                          <p:attrName>style.visibility</p:attrName>
                                        </p:attrNameLst>
                                      </p:cBhvr>
                                      <p:to>
                                        <p:strVal val="visible"/>
                                      </p:to>
                                    </p:set>
                                    <p:animEffect transition="in" filter="fade">
                                      <p:cBhvr>
                                        <p:cTn id="51" dur="500"/>
                                        <p:tgtEl>
                                          <p:spTgt spid="55"/>
                                        </p:tgtEl>
                                      </p:cBhvr>
                                    </p:animEffect>
                                  </p:childTnLst>
                                </p:cTn>
                              </p:par>
                              <p:par>
                                <p:cTn id="52" presetID="53" presetClass="entr" presetSubtype="16" fill="hold" grpId="0" nodeType="withEffect">
                                  <p:stCondLst>
                                    <p:cond delay="13700"/>
                                  </p:stCondLst>
                                  <p:childTnLst>
                                    <p:set>
                                      <p:cBhvr>
                                        <p:cTn id="53" dur="1" fill="hold">
                                          <p:stCondLst>
                                            <p:cond delay="0"/>
                                          </p:stCondLst>
                                        </p:cTn>
                                        <p:tgtEl>
                                          <p:spTgt spid="59"/>
                                        </p:tgtEl>
                                        <p:attrNameLst>
                                          <p:attrName>style.visibility</p:attrName>
                                        </p:attrNameLst>
                                      </p:cBhvr>
                                      <p:to>
                                        <p:strVal val="visible"/>
                                      </p:to>
                                    </p:set>
                                    <p:anim calcmode="lin" valueType="num">
                                      <p:cBhvr>
                                        <p:cTn id="54" dur="550" fill="hold"/>
                                        <p:tgtEl>
                                          <p:spTgt spid="59"/>
                                        </p:tgtEl>
                                        <p:attrNameLst>
                                          <p:attrName>ppt_w</p:attrName>
                                        </p:attrNameLst>
                                      </p:cBhvr>
                                      <p:tavLst>
                                        <p:tav tm="0">
                                          <p:val>
                                            <p:fltVal val="0"/>
                                          </p:val>
                                        </p:tav>
                                        <p:tav tm="100000">
                                          <p:val>
                                            <p:strVal val="#ppt_w"/>
                                          </p:val>
                                        </p:tav>
                                      </p:tavLst>
                                    </p:anim>
                                    <p:anim calcmode="lin" valueType="num">
                                      <p:cBhvr>
                                        <p:cTn id="55" dur="550" fill="hold"/>
                                        <p:tgtEl>
                                          <p:spTgt spid="59"/>
                                        </p:tgtEl>
                                        <p:attrNameLst>
                                          <p:attrName>ppt_h</p:attrName>
                                        </p:attrNameLst>
                                      </p:cBhvr>
                                      <p:tavLst>
                                        <p:tav tm="0">
                                          <p:val>
                                            <p:fltVal val="0"/>
                                          </p:val>
                                        </p:tav>
                                        <p:tav tm="100000">
                                          <p:val>
                                            <p:strVal val="#ppt_h"/>
                                          </p:val>
                                        </p:tav>
                                      </p:tavLst>
                                    </p:anim>
                                    <p:animEffect transition="in" filter="fade">
                                      <p:cBhvr>
                                        <p:cTn id="56" dur="550"/>
                                        <p:tgtEl>
                                          <p:spTgt spid="59"/>
                                        </p:tgtEl>
                                      </p:cBhvr>
                                    </p:animEffect>
                                  </p:childTnLst>
                                </p:cTn>
                              </p:par>
                              <p:par>
                                <p:cTn id="57" presetID="22" presetClass="entr" presetSubtype="4" fill="hold" nodeType="withEffect">
                                  <p:stCondLst>
                                    <p:cond delay="15800"/>
                                  </p:stCondLst>
                                  <p:childTnLst>
                                    <p:set>
                                      <p:cBhvr>
                                        <p:cTn id="58" dur="1" fill="hold">
                                          <p:stCondLst>
                                            <p:cond delay="0"/>
                                          </p:stCondLst>
                                        </p:cTn>
                                        <p:tgtEl>
                                          <p:spTgt spid="56"/>
                                        </p:tgtEl>
                                        <p:attrNameLst>
                                          <p:attrName>style.visibility</p:attrName>
                                        </p:attrNameLst>
                                      </p:cBhvr>
                                      <p:to>
                                        <p:strVal val="visible"/>
                                      </p:to>
                                    </p:set>
                                    <p:animEffect transition="in" filter="wipe(down)">
                                      <p:cBhvr>
                                        <p:cTn id="59" dur="800"/>
                                        <p:tgtEl>
                                          <p:spTgt spid="56"/>
                                        </p:tgtEl>
                                      </p:cBhvr>
                                    </p:animEffect>
                                  </p:childTnLst>
                                </p:cTn>
                              </p:par>
                              <p:par>
                                <p:cTn id="60" presetID="10" presetClass="entr" presetSubtype="0" fill="hold" grpId="0" nodeType="withEffect">
                                  <p:stCondLst>
                                    <p:cond delay="1700"/>
                                  </p:stCondLst>
                                  <p:childTnLst>
                                    <p:set>
                                      <p:cBhvr>
                                        <p:cTn id="61" dur="1" fill="hold">
                                          <p:stCondLst>
                                            <p:cond delay="0"/>
                                          </p:stCondLst>
                                        </p:cTn>
                                        <p:tgtEl>
                                          <p:spTgt spid="61"/>
                                        </p:tgtEl>
                                        <p:attrNameLst>
                                          <p:attrName>style.visibility</p:attrName>
                                        </p:attrNameLst>
                                      </p:cBhvr>
                                      <p:to>
                                        <p:strVal val="visible"/>
                                      </p:to>
                                    </p:set>
                                    <p:animEffect transition="in" filter="fade">
                                      <p:cBhvr>
                                        <p:cTn id="62" dur="500"/>
                                        <p:tgtEl>
                                          <p:spTgt spid="61"/>
                                        </p:tgtEl>
                                      </p:cBhvr>
                                    </p:animEffect>
                                  </p:childTnLst>
                                </p:cTn>
                              </p:par>
                              <p:par>
                                <p:cTn id="63" presetID="10" presetClass="entr" presetSubtype="0" fill="hold" grpId="0" nodeType="withEffect">
                                  <p:stCondLst>
                                    <p:cond delay="1700"/>
                                  </p:stCondLst>
                                  <p:childTnLst>
                                    <p:set>
                                      <p:cBhvr>
                                        <p:cTn id="64" dur="1" fill="hold">
                                          <p:stCondLst>
                                            <p:cond delay="0"/>
                                          </p:stCondLst>
                                        </p:cTn>
                                        <p:tgtEl>
                                          <p:spTgt spid="62"/>
                                        </p:tgtEl>
                                        <p:attrNameLst>
                                          <p:attrName>style.visibility</p:attrName>
                                        </p:attrNameLst>
                                      </p:cBhvr>
                                      <p:to>
                                        <p:strVal val="visible"/>
                                      </p:to>
                                    </p:set>
                                    <p:animEffect transition="in" filter="fade">
                                      <p:cBhvr>
                                        <p:cTn id="65" dur="500"/>
                                        <p:tgtEl>
                                          <p:spTgt spid="62"/>
                                        </p:tgtEl>
                                      </p:cBhvr>
                                    </p:animEffect>
                                  </p:childTnLst>
                                </p:cTn>
                              </p:par>
                              <p:par>
                                <p:cTn id="66" presetID="10" presetClass="entr" presetSubtype="0" fill="hold" grpId="0" nodeType="withEffect">
                                  <p:stCondLst>
                                    <p:cond delay="6000"/>
                                  </p:stCondLst>
                                  <p:childTnLst>
                                    <p:set>
                                      <p:cBhvr>
                                        <p:cTn id="67" dur="1" fill="hold">
                                          <p:stCondLst>
                                            <p:cond delay="0"/>
                                          </p:stCondLst>
                                        </p:cTn>
                                        <p:tgtEl>
                                          <p:spTgt spid="63"/>
                                        </p:tgtEl>
                                        <p:attrNameLst>
                                          <p:attrName>style.visibility</p:attrName>
                                        </p:attrNameLst>
                                      </p:cBhvr>
                                      <p:to>
                                        <p:strVal val="visible"/>
                                      </p:to>
                                    </p:set>
                                    <p:animEffect transition="in" filter="fade">
                                      <p:cBhvr>
                                        <p:cTn id="68"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9" grpId="0" animBg="1"/>
      <p:bldP spid="50" grpId="0" animBg="1"/>
      <p:bldP spid="51" grpId="0"/>
      <p:bldP spid="52" grpId="0"/>
      <p:bldP spid="31" grpId="0" animBg="1"/>
      <p:bldP spid="48" grpId="0" animBg="1"/>
      <p:bldP spid="55" grpId="0" animBg="1"/>
      <p:bldP spid="59" grpId="0" animBg="1"/>
      <p:bldP spid="60" grpId="0" animBg="1"/>
      <p:bldP spid="61" grpId="0"/>
      <p:bldP spid="62" grpId="0"/>
      <p:bldP spid="63" grpId="0" animBg="1"/>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meline 4">
    <p:spTree>
      <p:nvGrpSpPr>
        <p:cNvPr id="1" name=""/>
        <p:cNvGrpSpPr/>
        <p:nvPr/>
      </p:nvGrpSpPr>
      <p:grpSpPr>
        <a:xfrm>
          <a:off x="0" y="0"/>
          <a:ext cx="0" cy="0"/>
          <a:chOff x="0" y="0"/>
          <a:chExt cx="0" cy="0"/>
        </a:xfrm>
      </p:grpSpPr>
      <p:sp>
        <p:nvSpPr>
          <p:cNvPr id="32" name="Title 2"/>
          <p:cNvSpPr>
            <a:spLocks noGrp="1"/>
          </p:cNvSpPr>
          <p:nvPr>
            <p:ph type="title"/>
          </p:nvPr>
        </p:nvSpPr>
        <p:spPr>
          <a:xfrm>
            <a:off x="228600" y="133348"/>
            <a:ext cx="8686800" cy="762001"/>
          </a:xfrm>
        </p:spPr>
        <p:txBody>
          <a:bodyPr/>
          <a:lstStyle>
            <a:lvl1pPr>
              <a:defRPr/>
            </a:lvl1pPr>
          </a:lstStyle>
          <a:p>
            <a:r>
              <a:rPr lang="en-US" smtClean="0"/>
              <a:t>Click to edit Master title style</a:t>
            </a:r>
            <a:endParaRPr lang="en-US" dirty="0"/>
          </a:p>
        </p:txBody>
      </p:sp>
      <p:cxnSp>
        <p:nvCxnSpPr>
          <p:cNvPr id="33" name="Straight Connector 32"/>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42" name="TextBox 4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40" name="Straight Connector 39"/>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50" idx="6"/>
            <a:endCxn id="49" idx="6"/>
          </p:cNvCxnSpPr>
          <p:nvPr/>
        </p:nvCxnSpPr>
        <p:spPr>
          <a:xfrm flipV="1">
            <a:off x="409160" y="2321221"/>
            <a:ext cx="6364162"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2278300" y="224793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Oval 43"/>
          <p:cNvSpPr/>
          <p:nvPr/>
        </p:nvSpPr>
        <p:spPr>
          <a:xfrm>
            <a:off x="4420631" y="224667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7" name="Straight Connector 46"/>
          <p:cNvCxnSpPr/>
          <p:nvPr/>
        </p:nvCxnSpPr>
        <p:spPr>
          <a:xfrm>
            <a:off x="6719781"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6639195"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50" name="Oval 49"/>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52" name="TextBox 51"/>
          <p:cNvSpPr txBox="1"/>
          <p:nvPr/>
        </p:nvSpPr>
        <p:spPr>
          <a:xfrm>
            <a:off x="660127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sp>
        <p:nvSpPr>
          <p:cNvPr id="53" name="Picture Placeholder 15"/>
          <p:cNvSpPr>
            <a:spLocks noGrp="1"/>
          </p:cNvSpPr>
          <p:nvPr>
            <p:ph type="pic" sz="quarter" idx="11"/>
          </p:nvPr>
        </p:nvSpPr>
        <p:spPr>
          <a:xfrm>
            <a:off x="2508104" y="1437911"/>
            <a:ext cx="1731509" cy="742950"/>
          </a:xfrm>
        </p:spPr>
        <p:txBody>
          <a:bodyPr/>
          <a:lstStyle>
            <a:lvl1pPr marL="0" indent="0">
              <a:buNone/>
              <a:defRPr/>
            </a:lvl1pPr>
          </a:lstStyle>
          <a:p>
            <a:r>
              <a:rPr lang="en-US" smtClean="0"/>
              <a:t>Click icon to add picture</a:t>
            </a:r>
            <a:endParaRPr lang="en-CA" dirty="0"/>
          </a:p>
        </p:txBody>
      </p:sp>
      <p:sp>
        <p:nvSpPr>
          <p:cNvPr id="57" name="Picture Placeholder 15"/>
          <p:cNvSpPr>
            <a:spLocks noGrp="1"/>
          </p:cNvSpPr>
          <p:nvPr>
            <p:ph type="pic" sz="quarter" idx="15"/>
          </p:nvPr>
        </p:nvSpPr>
        <p:spPr>
          <a:xfrm>
            <a:off x="449812" y="1445893"/>
            <a:ext cx="1640718" cy="742950"/>
          </a:xfrm>
        </p:spPr>
        <p:txBody>
          <a:bodyPr/>
          <a:lstStyle>
            <a:lvl1pPr marL="0" indent="0">
              <a:buNone/>
              <a:defRPr/>
            </a:lvl1pPr>
          </a:lstStyle>
          <a:p>
            <a:r>
              <a:rPr lang="en-US" smtClean="0"/>
              <a:t>Click icon to add picture</a:t>
            </a:r>
            <a:endParaRPr lang="en-CA" dirty="0"/>
          </a:p>
        </p:txBody>
      </p:sp>
      <p:sp>
        <p:nvSpPr>
          <p:cNvPr id="58" name="Text Placeholder 22"/>
          <p:cNvSpPr>
            <a:spLocks noGrp="1"/>
          </p:cNvSpPr>
          <p:nvPr>
            <p:ph type="body" sz="quarter" idx="17"/>
          </p:nvPr>
        </p:nvSpPr>
        <p:spPr>
          <a:xfrm>
            <a:off x="449812" y="2540081"/>
            <a:ext cx="1640717"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69" name="Text Placeholder 47"/>
          <p:cNvSpPr>
            <a:spLocks noGrp="1"/>
          </p:cNvSpPr>
          <p:nvPr>
            <p:ph type="body" sz="quarter" idx="18"/>
          </p:nvPr>
        </p:nvSpPr>
        <p:spPr>
          <a:xfrm rot="16200000">
            <a:off x="-512500" y="3204981"/>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0" name="Text Placeholder 22"/>
          <p:cNvSpPr>
            <a:spLocks noGrp="1"/>
          </p:cNvSpPr>
          <p:nvPr>
            <p:ph type="body" sz="quarter" idx="19"/>
          </p:nvPr>
        </p:nvSpPr>
        <p:spPr>
          <a:xfrm>
            <a:off x="2508103" y="2540081"/>
            <a:ext cx="1731510"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71" name="Text Placeholder 47"/>
          <p:cNvSpPr>
            <a:spLocks noGrp="1"/>
          </p:cNvSpPr>
          <p:nvPr>
            <p:ph type="body" sz="quarter" idx="20"/>
          </p:nvPr>
        </p:nvSpPr>
        <p:spPr>
          <a:xfrm rot="16200000">
            <a:off x="1546107" y="3201420"/>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3" name="Text Placeholder 47"/>
          <p:cNvSpPr>
            <a:spLocks noGrp="1"/>
          </p:cNvSpPr>
          <p:nvPr>
            <p:ph type="body" sz="quarter" idx="22"/>
          </p:nvPr>
        </p:nvSpPr>
        <p:spPr>
          <a:xfrm rot="16200000">
            <a:off x="3691939" y="3195027"/>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78" name="Text Placeholder 47"/>
          <p:cNvSpPr>
            <a:spLocks noGrp="1"/>
          </p:cNvSpPr>
          <p:nvPr>
            <p:ph type="body" sz="quarter" idx="28"/>
          </p:nvPr>
        </p:nvSpPr>
        <p:spPr>
          <a:xfrm rot="16200000">
            <a:off x="5888300" y="3193743"/>
            <a:ext cx="1627213" cy="297413"/>
          </a:xfrm>
        </p:spPr>
        <p:txBody>
          <a:bodyPr>
            <a:noAutofit/>
          </a:bodyPr>
          <a:lstStyle>
            <a:lvl1pPr marL="0" indent="0" algn="r">
              <a:buNone/>
              <a:defRPr sz="1800">
                <a:solidFill>
                  <a:srgbClr val="BBB0A6"/>
                </a:solidFill>
              </a:defRPr>
            </a:lvl1pPr>
          </a:lstStyle>
          <a:p>
            <a:pPr lvl="0"/>
            <a:r>
              <a:rPr lang="en-US" smtClean="0"/>
              <a:t>Click to edit Master text styles</a:t>
            </a:r>
          </a:p>
        </p:txBody>
      </p:sp>
      <p:sp>
        <p:nvSpPr>
          <p:cNvPr id="30" name="Picture Placeholder 15"/>
          <p:cNvSpPr>
            <a:spLocks noGrp="1"/>
          </p:cNvSpPr>
          <p:nvPr>
            <p:ph type="pic" sz="quarter" idx="34"/>
          </p:nvPr>
        </p:nvSpPr>
        <p:spPr>
          <a:xfrm>
            <a:off x="4651793" y="1426672"/>
            <a:ext cx="1731509" cy="742950"/>
          </a:xfrm>
        </p:spPr>
        <p:txBody>
          <a:bodyPr/>
          <a:lstStyle>
            <a:lvl1pPr marL="0" indent="0">
              <a:buNone/>
              <a:defRPr/>
            </a:lvl1pPr>
          </a:lstStyle>
          <a:p>
            <a:r>
              <a:rPr lang="en-US" smtClean="0"/>
              <a:t>Click icon to add picture</a:t>
            </a:r>
            <a:endParaRPr lang="en-CA" dirty="0"/>
          </a:p>
        </p:txBody>
      </p:sp>
      <p:sp>
        <p:nvSpPr>
          <p:cNvPr id="39" name="Text Placeholder 22"/>
          <p:cNvSpPr>
            <a:spLocks noGrp="1"/>
          </p:cNvSpPr>
          <p:nvPr>
            <p:ph type="body" sz="quarter" idx="35"/>
          </p:nvPr>
        </p:nvSpPr>
        <p:spPr>
          <a:xfrm>
            <a:off x="4651792" y="2528842"/>
            <a:ext cx="1731510"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sp>
        <p:nvSpPr>
          <p:cNvPr id="45" name="Picture Placeholder 15"/>
          <p:cNvSpPr>
            <a:spLocks noGrp="1"/>
          </p:cNvSpPr>
          <p:nvPr>
            <p:ph type="pic" sz="quarter" idx="36"/>
          </p:nvPr>
        </p:nvSpPr>
        <p:spPr>
          <a:xfrm>
            <a:off x="6857091" y="1426672"/>
            <a:ext cx="1731509" cy="742950"/>
          </a:xfrm>
        </p:spPr>
        <p:txBody>
          <a:bodyPr/>
          <a:lstStyle>
            <a:lvl1pPr marL="0" indent="0">
              <a:buNone/>
              <a:defRPr/>
            </a:lvl1pPr>
          </a:lstStyle>
          <a:p>
            <a:r>
              <a:rPr lang="en-US" smtClean="0"/>
              <a:t>Click icon to add picture</a:t>
            </a:r>
            <a:endParaRPr lang="en-CA" dirty="0"/>
          </a:p>
        </p:txBody>
      </p:sp>
      <p:sp>
        <p:nvSpPr>
          <p:cNvPr id="46" name="Text Placeholder 22"/>
          <p:cNvSpPr>
            <a:spLocks noGrp="1"/>
          </p:cNvSpPr>
          <p:nvPr>
            <p:ph type="body" sz="quarter" idx="37"/>
          </p:nvPr>
        </p:nvSpPr>
        <p:spPr>
          <a:xfrm>
            <a:off x="6857090" y="2528842"/>
            <a:ext cx="1731510" cy="2381250"/>
          </a:xfrm>
        </p:spPr>
        <p:txBody>
          <a:bodyPr>
            <a:noAutofit/>
          </a:bodyPr>
          <a:lstStyle>
            <a:lvl1pPr>
              <a:defRPr sz="1400"/>
            </a:lvl1pPr>
            <a:lvl2pPr>
              <a:defRPr sz="1200"/>
            </a:lvl2pPr>
            <a:lvl3pPr>
              <a:defRPr sz="1200"/>
            </a:lvl3pPr>
            <a:lvl4pPr>
              <a:defRPr sz="1200"/>
            </a:lvl4pPr>
            <a:lvl5pPr>
              <a:defRPr sz="1400"/>
            </a:lvl5pPr>
          </a:lstStyle>
          <a:p>
            <a:pPr lvl="0"/>
            <a:r>
              <a:rPr lang="en-US" smtClean="0"/>
              <a:t>Click to edit Master text styles</a:t>
            </a:r>
          </a:p>
          <a:p>
            <a:pPr lvl="1"/>
            <a:r>
              <a:rPr lang="en-US" smtClean="0"/>
              <a:t>Second level</a:t>
            </a:r>
          </a:p>
        </p:txBody>
      </p:sp>
      <p:cxnSp>
        <p:nvCxnSpPr>
          <p:cNvPr id="26" name="Straight Connector 2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27" name="TextBox 26"/>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28" name="Straight Connector 27"/>
          <p:cNvCxnSpPr/>
          <p:nvPr/>
        </p:nvCxnSpPr>
        <p:spPr>
          <a:xfrm>
            <a:off x="323451" y="1332511"/>
            <a:ext cx="0" cy="832977"/>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50" idx="6"/>
            <a:endCxn id="49" idx="6"/>
          </p:cNvCxnSpPr>
          <p:nvPr/>
        </p:nvCxnSpPr>
        <p:spPr>
          <a:xfrm flipV="1">
            <a:off x="409160" y="2321221"/>
            <a:ext cx="6364162" cy="20106"/>
          </a:xfrm>
          <a:prstGeom prst="line">
            <a:avLst/>
          </a:prstGeom>
          <a:ln>
            <a:solidFill>
              <a:srgbClr val="BC4E21"/>
            </a:solidFill>
          </a:ln>
        </p:spPr>
        <p:style>
          <a:lnRef idx="1">
            <a:schemeClr val="accent1"/>
          </a:lnRef>
          <a:fillRef idx="0">
            <a:schemeClr val="accent1"/>
          </a:fillRef>
          <a:effectRef idx="0">
            <a:schemeClr val="accent1"/>
          </a:effectRef>
          <a:fontRef idx="minor">
            <a:schemeClr val="tx1"/>
          </a:fontRef>
        </p:style>
      </p:cxnSp>
      <p:sp>
        <p:nvSpPr>
          <p:cNvPr id="31" name="Oval 30"/>
          <p:cNvSpPr/>
          <p:nvPr/>
        </p:nvSpPr>
        <p:spPr>
          <a:xfrm>
            <a:off x="2278300" y="2247932"/>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Oval 33"/>
          <p:cNvSpPr/>
          <p:nvPr/>
        </p:nvSpPr>
        <p:spPr>
          <a:xfrm>
            <a:off x="4420631" y="2246676"/>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5" name="Straight Connector 34"/>
          <p:cNvCxnSpPr/>
          <p:nvPr/>
        </p:nvCxnSpPr>
        <p:spPr>
          <a:xfrm>
            <a:off x="6719781" y="1365598"/>
            <a:ext cx="0" cy="856332"/>
          </a:xfrm>
          <a:prstGeom prst="line">
            <a:avLst/>
          </a:prstGeom>
          <a:ln>
            <a:solidFill>
              <a:srgbClr val="5D5B6F">
                <a:alpha val="48000"/>
              </a:srgbClr>
            </a:solidFill>
            <a:prstDash val="dash"/>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639195" y="2254157"/>
            <a:ext cx="134127" cy="134127"/>
          </a:xfrm>
          <a:prstGeom prst="ellipse">
            <a:avLst/>
          </a:prstGeom>
          <a:solidFill>
            <a:srgbClr val="BC4E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BC4E21"/>
              </a:solidFill>
            </a:endParaRPr>
          </a:p>
        </p:txBody>
      </p:sp>
      <p:sp>
        <p:nvSpPr>
          <p:cNvPr id="37" name="Oval 36"/>
          <p:cNvSpPr/>
          <p:nvPr/>
        </p:nvSpPr>
        <p:spPr>
          <a:xfrm>
            <a:off x="237742" y="2255618"/>
            <a:ext cx="171418" cy="171418"/>
          </a:xfrm>
          <a:prstGeom prst="ellipse">
            <a:avLst/>
          </a:prstGeom>
          <a:solidFill>
            <a:srgbClr val="F6F6F9"/>
          </a:solidFill>
          <a:ln>
            <a:noFill/>
          </a:ln>
          <a:effectLst>
            <a:outerShdw blurRad="63500" sx="102000" sy="102000" algn="ctr"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p:cNvSpPr txBox="1"/>
          <p:nvPr/>
        </p:nvSpPr>
        <p:spPr>
          <a:xfrm>
            <a:off x="15240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Start</a:t>
            </a:r>
            <a:endParaRPr lang="en-US" sz="1500" b="1" dirty="0">
              <a:solidFill>
                <a:srgbClr val="404040"/>
              </a:solidFill>
            </a:endParaRPr>
          </a:p>
        </p:txBody>
      </p:sp>
      <p:sp>
        <p:nvSpPr>
          <p:cNvPr id="48" name="TextBox 47"/>
          <p:cNvSpPr txBox="1"/>
          <p:nvPr/>
        </p:nvSpPr>
        <p:spPr>
          <a:xfrm>
            <a:off x="6601270" y="1032879"/>
            <a:ext cx="880511" cy="259355"/>
          </a:xfrm>
          <a:prstGeom prst="rect">
            <a:avLst/>
          </a:prstGeom>
          <a:noFill/>
          <a:ln>
            <a:noFill/>
          </a:ln>
          <a:effectLst/>
        </p:spPr>
        <p:txBody>
          <a:bodyPr wrap="square" lIns="0" tIns="0" rIns="0" bIns="0" rtlCol="0" anchor="ctr">
            <a:noAutofit/>
          </a:bodyPr>
          <a:lstStyle/>
          <a:p>
            <a:pPr algn="l"/>
            <a:r>
              <a:rPr lang="en-US" sz="1500" b="1" dirty="0" smtClean="0">
                <a:solidFill>
                  <a:srgbClr val="404040"/>
                </a:solidFill>
              </a:rPr>
              <a:t>Now</a:t>
            </a:r>
            <a:endParaRPr lang="en-US" sz="1500" b="1" dirty="0">
              <a:solidFill>
                <a:srgbClr val="404040"/>
              </a:solidFill>
            </a:endParaRPr>
          </a:p>
        </p:txBody>
      </p:sp>
    </p:spTree>
    <p:extLst>
      <p:ext uri="{BB962C8B-B14F-4D97-AF65-F5344CB8AC3E}">
        <p14:creationId xmlns:p14="http://schemas.microsoft.com/office/powerpoint/2010/main" val="2733097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300"/>
                                  </p:stCondLst>
                                  <p:childTnLst>
                                    <p:set>
                                      <p:cBhvr>
                                        <p:cTn id="6" dur="1" fill="hold">
                                          <p:stCondLst>
                                            <p:cond delay="0"/>
                                          </p:stCondLst>
                                        </p:cTn>
                                        <p:tgtEl>
                                          <p:spTgt spid="40"/>
                                        </p:tgtEl>
                                        <p:attrNameLst>
                                          <p:attrName>style.visibility</p:attrName>
                                        </p:attrNameLst>
                                      </p:cBhvr>
                                      <p:to>
                                        <p:strVal val="visible"/>
                                      </p:to>
                                    </p:set>
                                    <p:animEffect transition="in" filter="wipe(down)">
                                      <p:cBhvr>
                                        <p:cTn id="7" dur="75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22" presetClass="entr" presetSubtype="8" fill="hold" nodeType="withEffect">
                                  <p:stCondLst>
                                    <p:cond delay="1000"/>
                                  </p:stCondLst>
                                  <p:childTnLst>
                                    <p:set>
                                      <p:cBhvr>
                                        <p:cTn id="12" dur="1" fill="hold">
                                          <p:stCondLst>
                                            <p:cond delay="0"/>
                                          </p:stCondLst>
                                        </p:cTn>
                                        <p:tgtEl>
                                          <p:spTgt spid="41"/>
                                        </p:tgtEl>
                                        <p:attrNameLst>
                                          <p:attrName>style.visibility</p:attrName>
                                        </p:attrNameLst>
                                      </p:cBhvr>
                                      <p:to>
                                        <p:strVal val="visible"/>
                                      </p:to>
                                    </p:set>
                                    <p:animEffect transition="in" filter="wipe(left)">
                                      <p:cBhvr>
                                        <p:cTn id="13" dur="800"/>
                                        <p:tgtEl>
                                          <p:spTgt spid="41"/>
                                        </p:tgtEl>
                                      </p:cBhvr>
                                    </p:animEffect>
                                  </p:childTnLst>
                                </p:cTn>
                              </p:par>
                              <p:par>
                                <p:cTn id="14" presetID="10" presetClass="entr" presetSubtype="0" fill="hold" grpId="0" nodeType="withEffect">
                                  <p:stCondLst>
                                    <p:cond delay="370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10" presetClass="entr" presetSubtype="0" fill="hold" grpId="0" nodeType="withEffect">
                                  <p:stCondLst>
                                    <p:cond delay="600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childTnLst>
                                </p:cTn>
                              </p:par>
                              <p:par>
                                <p:cTn id="20" presetID="53" presetClass="entr" presetSubtype="16" fill="hold" grpId="0" nodeType="withEffect">
                                  <p:stCondLst>
                                    <p:cond delay="13700"/>
                                  </p:stCondLst>
                                  <p:childTnLst>
                                    <p:set>
                                      <p:cBhvr>
                                        <p:cTn id="21" dur="1" fill="hold">
                                          <p:stCondLst>
                                            <p:cond delay="0"/>
                                          </p:stCondLst>
                                        </p:cTn>
                                        <p:tgtEl>
                                          <p:spTgt spid="49"/>
                                        </p:tgtEl>
                                        <p:attrNameLst>
                                          <p:attrName>style.visibility</p:attrName>
                                        </p:attrNameLst>
                                      </p:cBhvr>
                                      <p:to>
                                        <p:strVal val="visible"/>
                                      </p:to>
                                    </p:set>
                                    <p:anim calcmode="lin" valueType="num">
                                      <p:cBhvr>
                                        <p:cTn id="22" dur="550" fill="hold"/>
                                        <p:tgtEl>
                                          <p:spTgt spid="49"/>
                                        </p:tgtEl>
                                        <p:attrNameLst>
                                          <p:attrName>ppt_w</p:attrName>
                                        </p:attrNameLst>
                                      </p:cBhvr>
                                      <p:tavLst>
                                        <p:tav tm="0">
                                          <p:val>
                                            <p:fltVal val="0"/>
                                          </p:val>
                                        </p:tav>
                                        <p:tav tm="100000">
                                          <p:val>
                                            <p:strVal val="#ppt_w"/>
                                          </p:val>
                                        </p:tav>
                                      </p:tavLst>
                                    </p:anim>
                                    <p:anim calcmode="lin" valueType="num">
                                      <p:cBhvr>
                                        <p:cTn id="23" dur="550" fill="hold"/>
                                        <p:tgtEl>
                                          <p:spTgt spid="49"/>
                                        </p:tgtEl>
                                        <p:attrNameLst>
                                          <p:attrName>ppt_h</p:attrName>
                                        </p:attrNameLst>
                                      </p:cBhvr>
                                      <p:tavLst>
                                        <p:tav tm="0">
                                          <p:val>
                                            <p:fltVal val="0"/>
                                          </p:val>
                                        </p:tav>
                                        <p:tav tm="100000">
                                          <p:val>
                                            <p:strVal val="#ppt_h"/>
                                          </p:val>
                                        </p:tav>
                                      </p:tavLst>
                                    </p:anim>
                                    <p:animEffect transition="in" filter="fade">
                                      <p:cBhvr>
                                        <p:cTn id="24" dur="550"/>
                                        <p:tgtEl>
                                          <p:spTgt spid="49"/>
                                        </p:tgtEl>
                                      </p:cBhvr>
                                    </p:animEffect>
                                  </p:childTnLst>
                                </p:cTn>
                              </p:par>
                              <p:par>
                                <p:cTn id="25" presetID="22" presetClass="entr" presetSubtype="4" fill="hold" nodeType="withEffect">
                                  <p:stCondLst>
                                    <p:cond delay="15800"/>
                                  </p:stCondLst>
                                  <p:childTnLst>
                                    <p:set>
                                      <p:cBhvr>
                                        <p:cTn id="26" dur="1" fill="hold">
                                          <p:stCondLst>
                                            <p:cond delay="0"/>
                                          </p:stCondLst>
                                        </p:cTn>
                                        <p:tgtEl>
                                          <p:spTgt spid="47"/>
                                        </p:tgtEl>
                                        <p:attrNameLst>
                                          <p:attrName>style.visibility</p:attrName>
                                        </p:attrNameLst>
                                      </p:cBhvr>
                                      <p:to>
                                        <p:strVal val="visible"/>
                                      </p:to>
                                    </p:set>
                                    <p:animEffect transition="in" filter="wipe(down)">
                                      <p:cBhvr>
                                        <p:cTn id="27" dur="800"/>
                                        <p:tgtEl>
                                          <p:spTgt spid="47"/>
                                        </p:tgtEl>
                                      </p:cBhvr>
                                    </p:animEffect>
                                  </p:childTnLst>
                                </p:cTn>
                              </p:par>
                              <p:par>
                                <p:cTn id="28" presetID="10" presetClass="entr" presetSubtype="0" fill="hold" grpId="0" nodeType="withEffect">
                                  <p:stCondLst>
                                    <p:cond delay="1700"/>
                                  </p:stCondLst>
                                  <p:childTnLst>
                                    <p:set>
                                      <p:cBhvr>
                                        <p:cTn id="29" dur="1" fill="hold">
                                          <p:stCondLst>
                                            <p:cond delay="0"/>
                                          </p:stCondLst>
                                        </p:cTn>
                                        <p:tgtEl>
                                          <p:spTgt spid="51"/>
                                        </p:tgtEl>
                                        <p:attrNameLst>
                                          <p:attrName>style.visibility</p:attrName>
                                        </p:attrNameLst>
                                      </p:cBhvr>
                                      <p:to>
                                        <p:strVal val="visible"/>
                                      </p:to>
                                    </p:set>
                                    <p:animEffect transition="in" filter="fade">
                                      <p:cBhvr>
                                        <p:cTn id="30" dur="500"/>
                                        <p:tgtEl>
                                          <p:spTgt spid="51"/>
                                        </p:tgtEl>
                                      </p:cBhvr>
                                    </p:animEffect>
                                  </p:childTnLst>
                                </p:cTn>
                              </p:par>
                              <p:par>
                                <p:cTn id="31" presetID="10" presetClass="entr" presetSubtype="0" fill="hold" grpId="0" nodeType="withEffect">
                                  <p:stCondLst>
                                    <p:cond delay="1700"/>
                                  </p:stCondLst>
                                  <p:childTnLst>
                                    <p:set>
                                      <p:cBhvr>
                                        <p:cTn id="32" dur="1" fill="hold">
                                          <p:stCondLst>
                                            <p:cond delay="0"/>
                                          </p:stCondLst>
                                        </p:cTn>
                                        <p:tgtEl>
                                          <p:spTgt spid="52"/>
                                        </p:tgtEl>
                                        <p:attrNameLst>
                                          <p:attrName>style.visibility</p:attrName>
                                        </p:attrNameLst>
                                      </p:cBhvr>
                                      <p:to>
                                        <p:strVal val="visible"/>
                                      </p:to>
                                    </p:set>
                                    <p:animEffect transition="in" filter="fade">
                                      <p:cBhvr>
                                        <p:cTn id="33" dur="500"/>
                                        <p:tgtEl>
                                          <p:spTgt spid="52"/>
                                        </p:tgtEl>
                                      </p:cBhvr>
                                    </p:animEffect>
                                  </p:childTnLst>
                                </p:cTn>
                              </p:par>
                              <p:par>
                                <p:cTn id="34" presetID="22" presetClass="entr" presetSubtype="4" fill="hold" nodeType="withEffect">
                                  <p:stCondLst>
                                    <p:cond delay="300"/>
                                  </p:stCondLst>
                                  <p:childTnLst>
                                    <p:set>
                                      <p:cBhvr>
                                        <p:cTn id="35" dur="1" fill="hold">
                                          <p:stCondLst>
                                            <p:cond delay="0"/>
                                          </p:stCondLst>
                                        </p:cTn>
                                        <p:tgtEl>
                                          <p:spTgt spid="28"/>
                                        </p:tgtEl>
                                        <p:attrNameLst>
                                          <p:attrName>style.visibility</p:attrName>
                                        </p:attrNameLst>
                                      </p:cBhvr>
                                      <p:to>
                                        <p:strVal val="visible"/>
                                      </p:to>
                                    </p:set>
                                    <p:animEffect transition="in" filter="wipe(down)">
                                      <p:cBhvr>
                                        <p:cTn id="36" dur="750"/>
                                        <p:tgtEl>
                                          <p:spTgt spid="28"/>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22" presetClass="entr" presetSubtype="8" fill="hold" nodeType="withEffect">
                                  <p:stCondLst>
                                    <p:cond delay="1000"/>
                                  </p:stCondLst>
                                  <p:childTnLst>
                                    <p:set>
                                      <p:cBhvr>
                                        <p:cTn id="41" dur="1" fill="hold">
                                          <p:stCondLst>
                                            <p:cond delay="0"/>
                                          </p:stCondLst>
                                        </p:cTn>
                                        <p:tgtEl>
                                          <p:spTgt spid="29"/>
                                        </p:tgtEl>
                                        <p:attrNameLst>
                                          <p:attrName>style.visibility</p:attrName>
                                        </p:attrNameLst>
                                      </p:cBhvr>
                                      <p:to>
                                        <p:strVal val="visible"/>
                                      </p:to>
                                    </p:set>
                                    <p:animEffect transition="in" filter="wipe(left)">
                                      <p:cBhvr>
                                        <p:cTn id="42" dur="800"/>
                                        <p:tgtEl>
                                          <p:spTgt spid="29"/>
                                        </p:tgtEl>
                                      </p:cBhvr>
                                    </p:animEffect>
                                  </p:childTnLst>
                                </p:cTn>
                              </p:par>
                              <p:par>
                                <p:cTn id="43" presetID="10" presetClass="entr" presetSubtype="0" fill="hold" grpId="0" nodeType="withEffect">
                                  <p:stCondLst>
                                    <p:cond delay="3700"/>
                                  </p:stCondLst>
                                  <p:childTnLst>
                                    <p:set>
                                      <p:cBhvr>
                                        <p:cTn id="44" dur="1" fill="hold">
                                          <p:stCondLst>
                                            <p:cond delay="0"/>
                                          </p:stCondLst>
                                        </p:cTn>
                                        <p:tgtEl>
                                          <p:spTgt spid="31"/>
                                        </p:tgtEl>
                                        <p:attrNameLst>
                                          <p:attrName>style.visibility</p:attrName>
                                        </p:attrNameLst>
                                      </p:cBhvr>
                                      <p:to>
                                        <p:strVal val="visible"/>
                                      </p:to>
                                    </p:set>
                                    <p:animEffect transition="in" filter="fade">
                                      <p:cBhvr>
                                        <p:cTn id="45" dur="500"/>
                                        <p:tgtEl>
                                          <p:spTgt spid="31"/>
                                        </p:tgtEl>
                                      </p:cBhvr>
                                    </p:animEffect>
                                  </p:childTnLst>
                                </p:cTn>
                              </p:par>
                              <p:par>
                                <p:cTn id="46" presetID="10" presetClass="entr" presetSubtype="0" fill="hold" grpId="0" nodeType="withEffect">
                                  <p:stCondLst>
                                    <p:cond delay="600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53" presetClass="entr" presetSubtype="16" fill="hold" grpId="0" nodeType="withEffect">
                                  <p:stCondLst>
                                    <p:cond delay="13700"/>
                                  </p:stCondLst>
                                  <p:childTnLst>
                                    <p:set>
                                      <p:cBhvr>
                                        <p:cTn id="50" dur="1" fill="hold">
                                          <p:stCondLst>
                                            <p:cond delay="0"/>
                                          </p:stCondLst>
                                        </p:cTn>
                                        <p:tgtEl>
                                          <p:spTgt spid="36"/>
                                        </p:tgtEl>
                                        <p:attrNameLst>
                                          <p:attrName>style.visibility</p:attrName>
                                        </p:attrNameLst>
                                      </p:cBhvr>
                                      <p:to>
                                        <p:strVal val="visible"/>
                                      </p:to>
                                    </p:set>
                                    <p:anim calcmode="lin" valueType="num">
                                      <p:cBhvr>
                                        <p:cTn id="51" dur="550" fill="hold"/>
                                        <p:tgtEl>
                                          <p:spTgt spid="36"/>
                                        </p:tgtEl>
                                        <p:attrNameLst>
                                          <p:attrName>ppt_w</p:attrName>
                                        </p:attrNameLst>
                                      </p:cBhvr>
                                      <p:tavLst>
                                        <p:tav tm="0">
                                          <p:val>
                                            <p:fltVal val="0"/>
                                          </p:val>
                                        </p:tav>
                                        <p:tav tm="100000">
                                          <p:val>
                                            <p:strVal val="#ppt_w"/>
                                          </p:val>
                                        </p:tav>
                                      </p:tavLst>
                                    </p:anim>
                                    <p:anim calcmode="lin" valueType="num">
                                      <p:cBhvr>
                                        <p:cTn id="52" dur="550" fill="hold"/>
                                        <p:tgtEl>
                                          <p:spTgt spid="36"/>
                                        </p:tgtEl>
                                        <p:attrNameLst>
                                          <p:attrName>ppt_h</p:attrName>
                                        </p:attrNameLst>
                                      </p:cBhvr>
                                      <p:tavLst>
                                        <p:tav tm="0">
                                          <p:val>
                                            <p:fltVal val="0"/>
                                          </p:val>
                                        </p:tav>
                                        <p:tav tm="100000">
                                          <p:val>
                                            <p:strVal val="#ppt_h"/>
                                          </p:val>
                                        </p:tav>
                                      </p:tavLst>
                                    </p:anim>
                                    <p:animEffect transition="in" filter="fade">
                                      <p:cBhvr>
                                        <p:cTn id="53" dur="550"/>
                                        <p:tgtEl>
                                          <p:spTgt spid="36"/>
                                        </p:tgtEl>
                                      </p:cBhvr>
                                    </p:animEffect>
                                  </p:childTnLst>
                                </p:cTn>
                              </p:par>
                              <p:par>
                                <p:cTn id="54" presetID="22" presetClass="entr" presetSubtype="4" fill="hold" nodeType="withEffect">
                                  <p:stCondLst>
                                    <p:cond delay="15800"/>
                                  </p:stCondLst>
                                  <p:childTnLst>
                                    <p:set>
                                      <p:cBhvr>
                                        <p:cTn id="55" dur="1" fill="hold">
                                          <p:stCondLst>
                                            <p:cond delay="0"/>
                                          </p:stCondLst>
                                        </p:cTn>
                                        <p:tgtEl>
                                          <p:spTgt spid="35"/>
                                        </p:tgtEl>
                                        <p:attrNameLst>
                                          <p:attrName>style.visibility</p:attrName>
                                        </p:attrNameLst>
                                      </p:cBhvr>
                                      <p:to>
                                        <p:strVal val="visible"/>
                                      </p:to>
                                    </p:set>
                                    <p:animEffect transition="in" filter="wipe(down)">
                                      <p:cBhvr>
                                        <p:cTn id="56" dur="800"/>
                                        <p:tgtEl>
                                          <p:spTgt spid="35"/>
                                        </p:tgtEl>
                                      </p:cBhvr>
                                    </p:animEffect>
                                  </p:childTnLst>
                                </p:cTn>
                              </p:par>
                              <p:par>
                                <p:cTn id="57" presetID="10" presetClass="entr" presetSubtype="0" fill="hold" grpId="0" nodeType="withEffect">
                                  <p:stCondLst>
                                    <p:cond delay="1700"/>
                                  </p:stCondLst>
                                  <p:childTnLst>
                                    <p:set>
                                      <p:cBhvr>
                                        <p:cTn id="58" dur="1" fill="hold">
                                          <p:stCondLst>
                                            <p:cond delay="0"/>
                                          </p:stCondLst>
                                        </p:cTn>
                                        <p:tgtEl>
                                          <p:spTgt spid="38"/>
                                        </p:tgtEl>
                                        <p:attrNameLst>
                                          <p:attrName>style.visibility</p:attrName>
                                        </p:attrNameLst>
                                      </p:cBhvr>
                                      <p:to>
                                        <p:strVal val="visible"/>
                                      </p:to>
                                    </p:set>
                                    <p:animEffect transition="in" filter="fade">
                                      <p:cBhvr>
                                        <p:cTn id="59" dur="500"/>
                                        <p:tgtEl>
                                          <p:spTgt spid="38"/>
                                        </p:tgtEl>
                                      </p:cBhvr>
                                    </p:animEffect>
                                  </p:childTnLst>
                                </p:cTn>
                              </p:par>
                              <p:par>
                                <p:cTn id="60" presetID="10" presetClass="entr" presetSubtype="0" fill="hold" grpId="0" nodeType="withEffect">
                                  <p:stCondLst>
                                    <p:cond delay="1700"/>
                                  </p:stCondLst>
                                  <p:childTnLst>
                                    <p:set>
                                      <p:cBhvr>
                                        <p:cTn id="61" dur="1" fill="hold">
                                          <p:stCondLst>
                                            <p:cond delay="0"/>
                                          </p:stCondLst>
                                        </p:cTn>
                                        <p:tgtEl>
                                          <p:spTgt spid="48"/>
                                        </p:tgtEl>
                                        <p:attrNameLst>
                                          <p:attrName>style.visibility</p:attrName>
                                        </p:attrNameLst>
                                      </p:cBhvr>
                                      <p:to>
                                        <p:strVal val="visible"/>
                                      </p:to>
                                    </p:set>
                                    <p:animEffect transition="in" filter="fade">
                                      <p:cBhvr>
                                        <p:cTn id="6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9" grpId="0" animBg="1"/>
      <p:bldP spid="50" grpId="0" animBg="1"/>
      <p:bldP spid="51" grpId="0"/>
      <p:bldP spid="52" grpId="0"/>
      <p:bldP spid="31" grpId="0" animBg="1"/>
      <p:bldP spid="34" grpId="0" animBg="1"/>
      <p:bldP spid="36" grpId="0" animBg="1"/>
      <p:bldP spid="37" grpId="0" animBg="1"/>
      <p:bldP spid="38" grpId="0"/>
      <p:bldP spid="48"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and Side 1">
    <p:spTree>
      <p:nvGrpSpPr>
        <p:cNvPr id="1" name=""/>
        <p:cNvGrpSpPr/>
        <p:nvPr/>
      </p:nvGrpSpPr>
      <p:grpSpPr>
        <a:xfrm>
          <a:off x="0" y="0"/>
          <a:ext cx="0" cy="0"/>
          <a:chOff x="0" y="0"/>
          <a:chExt cx="0" cy="0"/>
        </a:xfrm>
      </p:grpSpPr>
      <p:sp>
        <p:nvSpPr>
          <p:cNvPr id="4" name="Content Placeholder 4"/>
          <p:cNvSpPr>
            <a:spLocks noGrp="1"/>
          </p:cNvSpPr>
          <p:nvPr>
            <p:ph sz="quarter" idx="10" hasCustomPrompt="1"/>
          </p:nvPr>
        </p:nvSpPr>
        <p:spPr>
          <a:xfrm>
            <a:off x="228599" y="1428750"/>
            <a:ext cx="4572000" cy="3276600"/>
          </a:xfrm>
        </p:spPr>
        <p:txBody>
          <a:bodyPr>
            <a:normAutofit/>
          </a:bodyPr>
          <a:lstStyle>
            <a:lvl1pPr marL="342900" indent="-342900">
              <a:buClr>
                <a:schemeClr val="tx2"/>
              </a:buClr>
              <a:buFont typeface="Wingdings" panose="05000000000000000000" pitchFamily="2" charset="2"/>
              <a:buChar char="§"/>
              <a:defRPr sz="1400">
                <a:solidFill>
                  <a:srgbClr val="404040"/>
                </a:solidFill>
              </a:defRPr>
            </a:lvl1pPr>
            <a:lvl2pPr marL="742950" indent="-285750">
              <a:buClr>
                <a:schemeClr val="tx2"/>
              </a:buClr>
              <a:buFont typeface="Wingdings" panose="05000000000000000000" pitchFamily="2" charset="2"/>
              <a:buChar char="§"/>
              <a:defRPr sz="1600">
                <a:solidFill>
                  <a:srgbClr val="404040"/>
                </a:solidFill>
              </a:defRPr>
            </a:lvl2pPr>
            <a:lvl3pPr marL="1143000" indent="-228600">
              <a:buClr>
                <a:schemeClr val="tx2"/>
              </a:buClr>
              <a:buFont typeface="Wingdings" panose="05000000000000000000" pitchFamily="2" charset="2"/>
              <a:buChar char="§"/>
              <a:defRPr sz="1400">
                <a:solidFill>
                  <a:srgbClr val="404040"/>
                </a:solidFill>
                <a:latin typeface="+mj-lt"/>
              </a:defRPr>
            </a:lvl3pPr>
            <a:lvl4pPr marL="1543050" indent="-285750">
              <a:buClr>
                <a:schemeClr val="tx2"/>
              </a:buClr>
              <a:buFont typeface="Wingdings" panose="05000000000000000000" pitchFamily="2" charset="2"/>
              <a:buChar char="§"/>
              <a:defRPr sz="1200">
                <a:solidFill>
                  <a:srgbClr val="404040"/>
                </a:solidFill>
                <a:latin typeface="+mj-lt"/>
              </a:defRPr>
            </a:lvl4pPr>
            <a:lvl5pPr marL="2057400" indent="-228600">
              <a:buClr>
                <a:schemeClr val="tx2"/>
              </a:buClr>
              <a:buFont typeface="Wingdings" panose="05000000000000000000" pitchFamily="2" charset="2"/>
              <a:buChar char="§"/>
              <a:defRPr sz="1100">
                <a:solidFill>
                  <a:srgbClr val="404040"/>
                </a:solidFill>
                <a:latin typeface="+mj-lt"/>
              </a:defRPr>
            </a:lvl5pPr>
          </a:lstStyle>
          <a:p>
            <a:pPr lvl="0"/>
            <a:r>
              <a:rPr lang="en-US" dirty="0" smtClean="0"/>
              <a:t>Click to edit Master text styles</a:t>
            </a:r>
          </a:p>
        </p:txBody>
      </p:sp>
      <p:sp>
        <p:nvSpPr>
          <p:cNvPr id="5" name="Title 2"/>
          <p:cNvSpPr>
            <a:spLocks noGrp="1"/>
          </p:cNvSpPr>
          <p:nvPr>
            <p:ph type="title"/>
          </p:nvPr>
        </p:nvSpPr>
        <p:spPr>
          <a:xfrm>
            <a:off x="228598" y="453180"/>
            <a:ext cx="4571999" cy="762001"/>
          </a:xfrm>
        </p:spPr>
        <p:txBody>
          <a:bodyPr/>
          <a:lstStyle>
            <a:lvl1pPr>
              <a:defRPr/>
            </a:lvl1pPr>
          </a:lstStyle>
          <a:p>
            <a:r>
              <a:rPr lang="en-US" smtClean="0"/>
              <a:t>Click to edit Master title style</a:t>
            </a:r>
            <a:endParaRPr lang="en-US" dirty="0"/>
          </a:p>
        </p:txBody>
      </p:sp>
      <p:cxnSp>
        <p:nvCxnSpPr>
          <p:cNvPr id="6" name="Straight Connector 5"/>
          <p:cNvCxnSpPr/>
          <p:nvPr/>
        </p:nvCxnSpPr>
        <p:spPr>
          <a:xfrm>
            <a:off x="228599" y="453180"/>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0" name="Picture Placeholder 9"/>
          <p:cNvSpPr>
            <a:spLocks noGrp="1"/>
          </p:cNvSpPr>
          <p:nvPr>
            <p:ph type="pic" sz="quarter" idx="11"/>
          </p:nvPr>
        </p:nvSpPr>
        <p:spPr>
          <a:xfrm>
            <a:off x="5029200" y="0"/>
            <a:ext cx="4114800" cy="5143500"/>
          </a:xfrm>
        </p:spPr>
        <p:txBody>
          <a:bodyPr/>
          <a:lstStyle/>
          <a:p>
            <a:r>
              <a:rPr lang="en-US" smtClean="0"/>
              <a:t>Click icon to add picture</a:t>
            </a:r>
            <a:endParaRPr lang="en-CA"/>
          </a:p>
        </p:txBody>
      </p:sp>
      <p:sp>
        <p:nvSpPr>
          <p:cNvPr id="9" name="TextBox 8"/>
          <p:cNvSpPr txBox="1"/>
          <p:nvPr/>
        </p:nvSpPr>
        <p:spPr>
          <a:xfrm>
            <a:off x="4343399" y="4803502"/>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7" name="Straight Connector 6"/>
          <p:cNvCxnSpPr/>
          <p:nvPr/>
        </p:nvCxnSpPr>
        <p:spPr>
          <a:xfrm>
            <a:off x="228599" y="453180"/>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TextBox 7"/>
          <p:cNvSpPr txBox="1"/>
          <p:nvPr/>
        </p:nvSpPr>
        <p:spPr>
          <a:xfrm>
            <a:off x="4343399" y="4803502"/>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68063471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and Image 2">
    <p:spTree>
      <p:nvGrpSpPr>
        <p:cNvPr id="1" name=""/>
        <p:cNvGrpSpPr/>
        <p:nvPr/>
      </p:nvGrpSpPr>
      <p:grpSpPr>
        <a:xfrm>
          <a:off x="0" y="0"/>
          <a:ext cx="0" cy="0"/>
          <a:chOff x="0" y="0"/>
          <a:chExt cx="0" cy="0"/>
        </a:xfrm>
      </p:grpSpPr>
      <p:sp>
        <p:nvSpPr>
          <p:cNvPr id="24" name="Rectangle 23"/>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itle 2"/>
          <p:cNvSpPr>
            <a:spLocks noGrp="1"/>
          </p:cNvSpPr>
          <p:nvPr>
            <p:ph type="title"/>
          </p:nvPr>
        </p:nvSpPr>
        <p:spPr>
          <a:xfrm>
            <a:off x="228600" y="133348"/>
            <a:ext cx="4267200" cy="762002"/>
          </a:xfrm>
        </p:spPr>
        <p:txBody>
          <a:bodyPr/>
          <a:lstStyle>
            <a:lvl1pPr>
              <a:defRPr/>
            </a:lvl1pPr>
          </a:lstStyle>
          <a:p>
            <a:r>
              <a:rPr lang="en-US" smtClean="0"/>
              <a:t>Click to edit Master title style</a:t>
            </a:r>
            <a:endParaRPr lang="en-US" dirty="0"/>
          </a:p>
        </p:txBody>
      </p:sp>
      <p:sp>
        <p:nvSpPr>
          <p:cNvPr id="22" name="Right Triangle 21"/>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6" name="Straight Connector 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3" name="Content Placeholder 4"/>
          <p:cNvSpPr>
            <a:spLocks noGrp="1"/>
          </p:cNvSpPr>
          <p:nvPr>
            <p:ph sz="quarter" idx="11" hasCustomPrompt="1"/>
          </p:nvPr>
        </p:nvSpPr>
        <p:spPr>
          <a:xfrm>
            <a:off x="228600" y="1581150"/>
            <a:ext cx="4267200" cy="34290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2" hasCustomPrompt="1"/>
          </p:nvPr>
        </p:nvSpPr>
        <p:spPr>
          <a:xfrm>
            <a:off x="228600" y="1047750"/>
            <a:ext cx="4267200" cy="381000"/>
          </a:xfrm>
        </p:spPr>
        <p:txBody>
          <a:bodyPr>
            <a:norm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2" name="Picture Placeholder 19"/>
          <p:cNvSpPr>
            <a:spLocks noGrp="1"/>
          </p:cNvSpPr>
          <p:nvPr>
            <p:ph type="pic" sz="quarter" idx="10"/>
          </p:nvPr>
        </p:nvSpPr>
        <p:spPr>
          <a:xfrm>
            <a:off x="4648200" y="133348"/>
            <a:ext cx="4343400" cy="4876802"/>
          </a:xfrm>
        </p:spPr>
        <p:txBody>
          <a:bodyPr/>
          <a:lstStyle>
            <a:lvl1pPr marL="0" indent="0">
              <a:buNone/>
              <a:defRPr/>
            </a:lvl1pPr>
          </a:lstStyle>
          <a:p>
            <a:r>
              <a:rPr lang="en-US" smtClean="0"/>
              <a:t>Click icon to add picture</a:t>
            </a:r>
            <a:endParaRPr lang="en-CA" dirty="0"/>
          </a:p>
        </p:txBody>
      </p:sp>
      <p:sp>
        <p:nvSpPr>
          <p:cNvPr id="15" name="TextBox 14"/>
          <p:cNvSpPr txBox="1"/>
          <p:nvPr/>
        </p:nvSpPr>
        <p:spPr>
          <a:xfrm>
            <a:off x="4037759" y="4779318"/>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1" name="Rectangle 10"/>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ight Triangle 13"/>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6" name="Straight Connector 1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7" name="TextBox 16"/>
          <p:cNvSpPr txBox="1"/>
          <p:nvPr/>
        </p:nvSpPr>
        <p:spPr>
          <a:xfrm>
            <a:off x="4037759" y="4779318"/>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75348544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and Image 4">
    <p:spTree>
      <p:nvGrpSpPr>
        <p:cNvPr id="1" name=""/>
        <p:cNvGrpSpPr/>
        <p:nvPr/>
      </p:nvGrpSpPr>
      <p:grpSpPr>
        <a:xfrm>
          <a:off x="0" y="0"/>
          <a:ext cx="0" cy="0"/>
          <a:chOff x="0" y="0"/>
          <a:chExt cx="0" cy="0"/>
        </a:xfrm>
      </p:grpSpPr>
      <p:sp>
        <p:nvSpPr>
          <p:cNvPr id="17"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8" name="Straight Connector 17"/>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20" name="Picture Placeholder 19"/>
          <p:cNvSpPr>
            <a:spLocks noGrp="1"/>
          </p:cNvSpPr>
          <p:nvPr>
            <p:ph type="pic" sz="quarter" idx="10"/>
          </p:nvPr>
        </p:nvSpPr>
        <p:spPr>
          <a:xfrm>
            <a:off x="4746577" y="133849"/>
            <a:ext cx="4267200" cy="4876802"/>
          </a:xfrm>
        </p:spPr>
        <p:txBody>
          <a:bodyPr/>
          <a:lstStyle>
            <a:lvl1pPr marL="0" indent="0">
              <a:buNone/>
              <a:defRPr/>
            </a:lvl1pPr>
          </a:lstStyle>
          <a:p>
            <a:r>
              <a:rPr lang="en-US" smtClean="0"/>
              <a:t>Click icon to add picture</a:t>
            </a:r>
            <a:endParaRPr lang="en-CA" dirty="0"/>
          </a:p>
        </p:txBody>
      </p:sp>
      <p:sp>
        <p:nvSpPr>
          <p:cNvPr id="22" name="Picture Placeholder 21"/>
          <p:cNvSpPr>
            <a:spLocks noGrp="1"/>
          </p:cNvSpPr>
          <p:nvPr>
            <p:ph type="pic" sz="quarter" idx="11" hasCustomPrompt="1"/>
          </p:nvPr>
        </p:nvSpPr>
        <p:spPr>
          <a:xfrm>
            <a:off x="242248" y="1047750"/>
            <a:ext cx="595952" cy="914400"/>
          </a:xfrm>
        </p:spPr>
        <p:txBody>
          <a:bodyPr>
            <a:normAutofit/>
          </a:bodyPr>
          <a:lstStyle>
            <a:lvl1pPr marL="0" indent="0">
              <a:buNone/>
              <a:defRPr sz="900"/>
            </a:lvl1pPr>
          </a:lstStyle>
          <a:p>
            <a:r>
              <a:rPr lang="en-US" dirty="0" smtClean="0"/>
              <a:t>icon</a:t>
            </a:r>
            <a:endParaRPr lang="en-CA" dirty="0"/>
          </a:p>
        </p:txBody>
      </p:sp>
      <p:sp>
        <p:nvSpPr>
          <p:cNvPr id="24" name="Text Placeholder 23"/>
          <p:cNvSpPr>
            <a:spLocks noGrp="1"/>
          </p:cNvSpPr>
          <p:nvPr>
            <p:ph type="body" sz="quarter" idx="12"/>
          </p:nvPr>
        </p:nvSpPr>
        <p:spPr>
          <a:xfrm>
            <a:off x="992875" y="1048250"/>
            <a:ext cx="3581400" cy="912897"/>
          </a:xfrm>
        </p:spPr>
        <p:txBody>
          <a:bodyPr/>
          <a:lstStyle>
            <a:lvl1pPr marL="0" indent="0">
              <a:buNone/>
              <a:defRPr sz="1400"/>
            </a:lvl1pPr>
          </a:lstStyle>
          <a:p>
            <a:pPr lvl="0"/>
            <a:r>
              <a:rPr lang="en-US" smtClean="0"/>
              <a:t>Click to edit Master text styles</a:t>
            </a:r>
          </a:p>
        </p:txBody>
      </p:sp>
      <p:sp>
        <p:nvSpPr>
          <p:cNvPr id="25" name="Picture Placeholder 21"/>
          <p:cNvSpPr>
            <a:spLocks noGrp="1"/>
          </p:cNvSpPr>
          <p:nvPr>
            <p:ph type="pic" sz="quarter" idx="13" hasCustomPrompt="1"/>
          </p:nvPr>
        </p:nvSpPr>
        <p:spPr>
          <a:xfrm>
            <a:off x="239973" y="2114550"/>
            <a:ext cx="598227" cy="838200"/>
          </a:xfrm>
        </p:spPr>
        <p:txBody>
          <a:bodyPr>
            <a:normAutofit/>
          </a:bodyPr>
          <a:lstStyle>
            <a:lvl1pPr marL="0" indent="0">
              <a:buNone/>
              <a:defRPr sz="900"/>
            </a:lvl1pPr>
          </a:lstStyle>
          <a:p>
            <a:r>
              <a:rPr lang="en-US" dirty="0" smtClean="0"/>
              <a:t>icon</a:t>
            </a:r>
            <a:endParaRPr lang="en-CA" dirty="0"/>
          </a:p>
        </p:txBody>
      </p:sp>
      <p:sp>
        <p:nvSpPr>
          <p:cNvPr id="26" name="Text Placeholder 23"/>
          <p:cNvSpPr>
            <a:spLocks noGrp="1"/>
          </p:cNvSpPr>
          <p:nvPr>
            <p:ph type="body" sz="quarter" idx="14"/>
          </p:nvPr>
        </p:nvSpPr>
        <p:spPr>
          <a:xfrm>
            <a:off x="990600" y="2114550"/>
            <a:ext cx="3581400" cy="838200"/>
          </a:xfrm>
        </p:spPr>
        <p:txBody>
          <a:bodyPr>
            <a:normAutofit/>
          </a:bodyPr>
          <a:lstStyle>
            <a:lvl1pPr marL="0" indent="0">
              <a:buNone/>
              <a:defRPr sz="1400"/>
            </a:lvl1pPr>
          </a:lstStyle>
          <a:p>
            <a:pPr lvl="0"/>
            <a:r>
              <a:rPr lang="en-US" smtClean="0"/>
              <a:t>Click to edit Master text styles</a:t>
            </a:r>
          </a:p>
        </p:txBody>
      </p:sp>
      <p:sp>
        <p:nvSpPr>
          <p:cNvPr id="27" name="Picture Placeholder 21"/>
          <p:cNvSpPr>
            <a:spLocks noGrp="1"/>
          </p:cNvSpPr>
          <p:nvPr>
            <p:ph type="pic" sz="quarter" idx="15" hasCustomPrompt="1"/>
          </p:nvPr>
        </p:nvSpPr>
        <p:spPr>
          <a:xfrm>
            <a:off x="228600" y="3105150"/>
            <a:ext cx="609600" cy="914400"/>
          </a:xfrm>
        </p:spPr>
        <p:txBody>
          <a:bodyPr>
            <a:normAutofit/>
          </a:bodyPr>
          <a:lstStyle>
            <a:lvl1pPr marL="0" indent="0">
              <a:buNone/>
              <a:defRPr sz="900"/>
            </a:lvl1pPr>
          </a:lstStyle>
          <a:p>
            <a:r>
              <a:rPr lang="en-US" dirty="0" smtClean="0"/>
              <a:t>icon</a:t>
            </a:r>
            <a:endParaRPr lang="en-CA" dirty="0"/>
          </a:p>
        </p:txBody>
      </p:sp>
      <p:sp>
        <p:nvSpPr>
          <p:cNvPr id="28" name="Text Placeholder 23"/>
          <p:cNvSpPr>
            <a:spLocks noGrp="1"/>
          </p:cNvSpPr>
          <p:nvPr>
            <p:ph type="body" sz="quarter" idx="16"/>
          </p:nvPr>
        </p:nvSpPr>
        <p:spPr>
          <a:xfrm>
            <a:off x="990600" y="3106152"/>
            <a:ext cx="3581400" cy="913398"/>
          </a:xfrm>
        </p:spPr>
        <p:txBody>
          <a:bodyPr>
            <a:normAutofit/>
          </a:bodyPr>
          <a:lstStyle>
            <a:lvl1pPr marL="0" indent="0">
              <a:buNone/>
              <a:defRPr sz="1400"/>
            </a:lvl1pPr>
          </a:lstStyle>
          <a:p>
            <a:pPr lvl="0"/>
            <a:r>
              <a:rPr lang="en-US" smtClean="0"/>
              <a:t>Click to edit Master text styles</a:t>
            </a:r>
          </a:p>
        </p:txBody>
      </p:sp>
      <p:sp>
        <p:nvSpPr>
          <p:cNvPr id="31" name="Picture Placeholder 21"/>
          <p:cNvSpPr>
            <a:spLocks noGrp="1"/>
          </p:cNvSpPr>
          <p:nvPr>
            <p:ph type="pic" sz="quarter" idx="17" hasCustomPrompt="1"/>
          </p:nvPr>
        </p:nvSpPr>
        <p:spPr>
          <a:xfrm>
            <a:off x="239973" y="4171949"/>
            <a:ext cx="598227" cy="838701"/>
          </a:xfrm>
        </p:spPr>
        <p:txBody>
          <a:bodyPr>
            <a:normAutofit/>
          </a:bodyPr>
          <a:lstStyle>
            <a:lvl1pPr marL="0" indent="0">
              <a:buNone/>
              <a:defRPr sz="900"/>
            </a:lvl1pPr>
          </a:lstStyle>
          <a:p>
            <a:r>
              <a:rPr lang="en-US" dirty="0" smtClean="0"/>
              <a:t>icon</a:t>
            </a:r>
            <a:endParaRPr lang="en-CA" dirty="0"/>
          </a:p>
        </p:txBody>
      </p:sp>
      <p:sp>
        <p:nvSpPr>
          <p:cNvPr id="32" name="Text Placeholder 23"/>
          <p:cNvSpPr>
            <a:spLocks noGrp="1"/>
          </p:cNvSpPr>
          <p:nvPr>
            <p:ph type="body" sz="quarter" idx="18"/>
          </p:nvPr>
        </p:nvSpPr>
        <p:spPr>
          <a:xfrm>
            <a:off x="990600" y="4172451"/>
            <a:ext cx="3581400" cy="838200"/>
          </a:xfrm>
        </p:spPr>
        <p:txBody>
          <a:bodyPr>
            <a:normAutofit/>
          </a:bodyPr>
          <a:lstStyle>
            <a:lvl1pPr marL="0" indent="0">
              <a:buNone/>
              <a:defRPr sz="1400"/>
            </a:lvl1pPr>
          </a:lstStyle>
          <a:p>
            <a:pPr lvl="0"/>
            <a:r>
              <a:rPr lang="en-US" smtClean="0"/>
              <a:t>Click to edit Master text styles</a:t>
            </a:r>
          </a:p>
        </p:txBody>
      </p:sp>
      <p:sp>
        <p:nvSpPr>
          <p:cNvPr id="14" name="TextBox 13"/>
          <p:cNvSpPr txBox="1"/>
          <p:nvPr/>
        </p:nvSpPr>
        <p:spPr>
          <a:xfrm>
            <a:off x="4112525" y="4781550"/>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5" name="Straight Connector 14"/>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6" name="TextBox 15"/>
          <p:cNvSpPr txBox="1"/>
          <p:nvPr/>
        </p:nvSpPr>
        <p:spPr>
          <a:xfrm>
            <a:off x="4112525" y="4781550"/>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29733342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60">
          <p15:clr>
            <a:srgbClr val="FBAE40"/>
          </p15:clr>
        </p15:guide>
        <p15:guide id="2" orient="horz" pos="1332">
          <p15:clr>
            <a:srgbClr val="FBAE40"/>
          </p15:clr>
        </p15:guide>
        <p15:guide id="3" orient="horz" pos="1956">
          <p15:clr>
            <a:srgbClr val="FBAE40"/>
          </p15:clr>
        </p15:guide>
        <p15:guide id="4" orient="horz" pos="2628">
          <p15:clr>
            <a:srgbClr val="FBAE40"/>
          </p15:clr>
        </p15:guide>
        <p15:guide id="5" orient="horz" pos="1236">
          <p15:clr>
            <a:srgbClr val="FBAE40"/>
          </p15:clr>
        </p15:guide>
        <p15:guide id="6" orient="horz" pos="2532">
          <p15:clr>
            <a:srgbClr val="FBAE40"/>
          </p15:clr>
        </p15:guide>
        <p15:guide id="7" orient="horz" pos="3156">
          <p15:clr>
            <a:srgbClr val="FBAE40"/>
          </p15:clr>
        </p15:guide>
        <p15:guide id="8" orient="horz" pos="1860">
          <p15:clr>
            <a:srgbClr val="FBAE40"/>
          </p15:clr>
        </p15:guide>
        <p15:guide id="9" pos="144">
          <p15:clr>
            <a:srgbClr val="FBAE40"/>
          </p15:clr>
        </p15:guide>
        <p15:guide id="10" pos="528">
          <p15:clr>
            <a:srgbClr val="FBAE40"/>
          </p15:clr>
        </p15:guide>
        <p15:guide id="11" pos="624">
          <p15:clr>
            <a:srgbClr val="FBAE40"/>
          </p15:clr>
        </p15:guide>
        <p15:guide id="1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and Image 5">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152400" y="4095750"/>
            <a:ext cx="4343400" cy="914400"/>
          </a:xfrm>
        </p:spPr>
        <p:txBody>
          <a:bodyPr>
            <a:normAutofit/>
          </a:bodyPr>
          <a:lstStyle>
            <a:lvl1pPr marL="0" indent="0" algn="l">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8" name="Picture Placeholder 7"/>
          <p:cNvSpPr>
            <a:spLocks noGrp="1"/>
          </p:cNvSpPr>
          <p:nvPr>
            <p:ph type="pic" sz="quarter" idx="12"/>
          </p:nvPr>
        </p:nvSpPr>
        <p:spPr>
          <a:xfrm>
            <a:off x="0" y="1047750"/>
            <a:ext cx="9144000" cy="2895600"/>
          </a:xfrm>
        </p:spPr>
        <p:txBody>
          <a:bodyPr/>
          <a:lstStyle>
            <a:lvl1pPr marL="0" indent="0">
              <a:buNone/>
              <a:defRPr/>
            </a:lvl1pPr>
          </a:lstStyle>
          <a:p>
            <a:r>
              <a:rPr lang="en-US" smtClean="0"/>
              <a:t>Click icon to add picture</a:t>
            </a:r>
            <a:endParaRPr lang="en-CA"/>
          </a:p>
        </p:txBody>
      </p:sp>
      <p:sp>
        <p:nvSpPr>
          <p:cNvPr id="10" name="TextBox 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9" name="Content Placeholder 4"/>
          <p:cNvSpPr>
            <a:spLocks noGrp="1"/>
          </p:cNvSpPr>
          <p:nvPr>
            <p:ph sz="quarter" idx="13" hasCustomPrompt="1"/>
          </p:nvPr>
        </p:nvSpPr>
        <p:spPr>
          <a:xfrm>
            <a:off x="4648200" y="4096533"/>
            <a:ext cx="4343400" cy="818213"/>
          </a:xfrm>
        </p:spPr>
        <p:txBody>
          <a:bodyPr>
            <a:normAutofit/>
          </a:bodyPr>
          <a:lstStyle>
            <a:lvl1pPr marL="0" indent="0" algn="l">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2" name="Straight Connector 11"/>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3" name="TextBox 12"/>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4" name="Straight Connector 1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38567568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ext and Layout 6">
    <p:spTree>
      <p:nvGrpSpPr>
        <p:cNvPr id="1" name=""/>
        <p:cNvGrpSpPr/>
        <p:nvPr/>
      </p:nvGrpSpPr>
      <p:grpSpPr>
        <a:xfrm>
          <a:off x="0" y="0"/>
          <a:ext cx="0" cy="0"/>
          <a:chOff x="0" y="0"/>
          <a:chExt cx="0" cy="0"/>
        </a:xfrm>
      </p:grpSpPr>
      <p:sp>
        <p:nvSpPr>
          <p:cNvPr id="4" name="Title 2"/>
          <p:cNvSpPr>
            <a:spLocks noGrp="1"/>
          </p:cNvSpPr>
          <p:nvPr>
            <p:ph type="title"/>
          </p:nvPr>
        </p:nvSpPr>
        <p:spPr>
          <a:xfrm>
            <a:off x="1066800" y="3333750"/>
            <a:ext cx="7010400" cy="457200"/>
          </a:xfrm>
        </p:spPr>
        <p:txBody>
          <a:bodyPr/>
          <a:lstStyle>
            <a:lvl1pPr algn="ctr">
              <a:defRPr lang="en-US" dirty="0"/>
            </a:lvl1pPr>
          </a:lstStyle>
          <a:p>
            <a:r>
              <a:rPr lang="en-US" smtClean="0"/>
              <a:t>Click to edit Master title style</a:t>
            </a:r>
            <a:endParaRPr lang="en-US" dirty="0"/>
          </a:p>
        </p:txBody>
      </p:sp>
      <p:sp>
        <p:nvSpPr>
          <p:cNvPr id="5" name="Content Placeholder 4"/>
          <p:cNvSpPr>
            <a:spLocks noGrp="1"/>
          </p:cNvSpPr>
          <p:nvPr>
            <p:ph sz="quarter" idx="11" hasCustomPrompt="1"/>
          </p:nvPr>
        </p:nvSpPr>
        <p:spPr>
          <a:xfrm>
            <a:off x="1066800" y="3943350"/>
            <a:ext cx="7010400" cy="990599"/>
          </a:xfrm>
        </p:spPr>
        <p:txBody>
          <a:bodyPr>
            <a:normAutofit/>
          </a:bodyPr>
          <a:lstStyle>
            <a:lvl1pPr marL="0" indent="0" algn="ctr">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Picture Placeholder 6"/>
          <p:cNvSpPr>
            <a:spLocks noGrp="1"/>
          </p:cNvSpPr>
          <p:nvPr>
            <p:ph type="pic" sz="quarter" idx="12"/>
          </p:nvPr>
        </p:nvSpPr>
        <p:spPr>
          <a:xfrm>
            <a:off x="0" y="0"/>
            <a:ext cx="9144000" cy="3181350"/>
          </a:xfrm>
        </p:spPr>
        <p:txBody>
          <a:bodyPr/>
          <a:lstStyle>
            <a:lvl1pPr marL="0" indent="0">
              <a:buNone/>
              <a:defRPr/>
            </a:lvl1pPr>
          </a:lstStyle>
          <a:p>
            <a:r>
              <a:rPr lang="en-US" smtClean="0"/>
              <a:t>Click icon to add picture</a:t>
            </a:r>
            <a:endParaRPr lang="en-CA"/>
          </a:p>
        </p:txBody>
      </p:sp>
      <p:sp>
        <p:nvSpPr>
          <p:cNvPr id="9" name="TextBox 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6" name="TextBox 5"/>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46869836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xt and Layout 7">
    <p:spTree>
      <p:nvGrpSpPr>
        <p:cNvPr id="1" name=""/>
        <p:cNvGrpSpPr/>
        <p:nvPr/>
      </p:nvGrpSpPr>
      <p:grpSpPr>
        <a:xfrm>
          <a:off x="0" y="0"/>
          <a:ext cx="0" cy="0"/>
          <a:chOff x="0" y="0"/>
          <a:chExt cx="0" cy="0"/>
        </a:xfrm>
      </p:grpSpPr>
      <p:sp>
        <p:nvSpPr>
          <p:cNvPr id="4" name="Title 2"/>
          <p:cNvSpPr>
            <a:spLocks noGrp="1"/>
          </p:cNvSpPr>
          <p:nvPr>
            <p:ph type="title"/>
          </p:nvPr>
        </p:nvSpPr>
        <p:spPr>
          <a:xfrm>
            <a:off x="1066800" y="3333750"/>
            <a:ext cx="7010400" cy="457200"/>
          </a:xfrm>
        </p:spPr>
        <p:txBody>
          <a:bodyPr/>
          <a:lstStyle>
            <a:lvl1pPr algn="ctr">
              <a:defRPr lang="en-US" dirty="0"/>
            </a:lvl1pPr>
          </a:lstStyle>
          <a:p>
            <a:r>
              <a:rPr lang="en-US" smtClean="0"/>
              <a:t>Click to edit Master title style</a:t>
            </a:r>
            <a:endParaRPr lang="en-US" dirty="0"/>
          </a:p>
        </p:txBody>
      </p:sp>
      <p:sp>
        <p:nvSpPr>
          <p:cNvPr id="7" name="Picture Placeholder 6"/>
          <p:cNvSpPr>
            <a:spLocks noGrp="1"/>
          </p:cNvSpPr>
          <p:nvPr>
            <p:ph type="pic" sz="quarter" idx="12"/>
          </p:nvPr>
        </p:nvSpPr>
        <p:spPr>
          <a:xfrm>
            <a:off x="0" y="0"/>
            <a:ext cx="9144000" cy="3181350"/>
          </a:xfrm>
        </p:spPr>
        <p:txBody>
          <a:bodyPr/>
          <a:lstStyle>
            <a:lvl1pPr marL="0" indent="0">
              <a:buNone/>
              <a:defRPr/>
            </a:lvl1pPr>
          </a:lstStyle>
          <a:p>
            <a:r>
              <a:rPr lang="en-US" smtClean="0"/>
              <a:t>Click icon to add picture</a:t>
            </a:r>
            <a:endParaRPr lang="en-CA"/>
          </a:p>
        </p:txBody>
      </p:sp>
      <p:sp>
        <p:nvSpPr>
          <p:cNvPr id="6" name="Content Placeholder 4"/>
          <p:cNvSpPr>
            <a:spLocks noGrp="1"/>
          </p:cNvSpPr>
          <p:nvPr>
            <p:ph sz="quarter" idx="11" hasCustomPrompt="1"/>
          </p:nvPr>
        </p:nvSpPr>
        <p:spPr>
          <a:xfrm>
            <a:off x="228600" y="3943352"/>
            <a:ext cx="4267200" cy="10667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8" name="Content Placeholder 4"/>
          <p:cNvSpPr>
            <a:spLocks noGrp="1"/>
          </p:cNvSpPr>
          <p:nvPr>
            <p:ph sz="quarter" idx="13" hasCustomPrompt="1"/>
          </p:nvPr>
        </p:nvSpPr>
        <p:spPr>
          <a:xfrm>
            <a:off x="4648200" y="3943352"/>
            <a:ext cx="4267200" cy="8381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TextBox 1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9" name="TextBox 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38545272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17" name="Rectangle 16"/>
          <p:cNvSpPr/>
          <p:nvPr userDrawn="1"/>
        </p:nvSpPr>
        <p:spPr>
          <a:xfrm>
            <a:off x="-2" y="4969792"/>
            <a:ext cx="7315200" cy="173708"/>
          </a:xfrm>
          <a:prstGeom prst="rect">
            <a:avLst/>
          </a:prstGeom>
          <a:solidFill>
            <a:srgbClr val="BBB0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itle 2"/>
          <p:cNvSpPr>
            <a:spLocks noGrp="1"/>
          </p:cNvSpPr>
          <p:nvPr>
            <p:ph type="title"/>
          </p:nvPr>
        </p:nvSpPr>
        <p:spPr>
          <a:xfrm>
            <a:off x="228600" y="-4762"/>
            <a:ext cx="7239000" cy="523874"/>
          </a:xfrm>
        </p:spPr>
        <p:txBody>
          <a:bodyPr/>
          <a:lstStyle>
            <a:lvl1pPr>
              <a:defRPr/>
            </a:lvl1pPr>
          </a:lstStyle>
          <a:p>
            <a:endParaRPr lang="en-US" dirty="0"/>
          </a:p>
        </p:txBody>
      </p:sp>
      <p:cxnSp>
        <p:nvCxnSpPr>
          <p:cNvPr id="15" name="Straight Connector 14"/>
          <p:cNvCxnSpPr/>
          <p:nvPr userDrawn="1"/>
        </p:nvCxnSpPr>
        <p:spPr>
          <a:xfrm>
            <a:off x="304800" y="523874"/>
            <a:ext cx="8610602" cy="0"/>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7559176" y="4944665"/>
            <a:ext cx="1355785" cy="230832"/>
          </a:xfrm>
          <a:prstGeom prst="rect">
            <a:avLst/>
          </a:prstGeom>
          <a:noFill/>
        </p:spPr>
        <p:txBody>
          <a:bodyPr wrap="square" rtlCol="0">
            <a:spAutoFit/>
          </a:bodyPr>
          <a:lstStyle/>
          <a:p>
            <a:r>
              <a:rPr lang="en-CA" sz="900" dirty="0" smtClean="0">
                <a:solidFill>
                  <a:srgbClr val="404040"/>
                </a:solidFill>
                <a:latin typeface="Arial Narrow" panose="020B0606020202030204" pitchFamily="34" charset="0"/>
              </a:rPr>
              <a:t>© Linamar Corporation</a:t>
            </a:r>
            <a:endParaRPr lang="en-CA" sz="900" dirty="0">
              <a:solidFill>
                <a:srgbClr val="404040"/>
              </a:solidFill>
              <a:latin typeface="Arial Narrow" panose="020B0606020202030204" pitchFamily="34" charset="0"/>
            </a:endParaRPr>
          </a:p>
        </p:txBody>
      </p:sp>
      <p:sp>
        <p:nvSpPr>
          <p:cNvPr id="21" name="TextBox 20"/>
          <p:cNvSpPr txBox="1"/>
          <p:nvPr userDrawn="1"/>
        </p:nvSpPr>
        <p:spPr>
          <a:xfrm>
            <a:off x="8748024" y="4939978"/>
            <a:ext cx="457200" cy="230832"/>
          </a:xfrm>
          <a:prstGeom prst="rect">
            <a:avLst/>
          </a:prstGeom>
          <a:noFill/>
        </p:spPr>
        <p:txBody>
          <a:bodyPr wrap="square" rtlCol="0">
            <a:spAutoFit/>
          </a:bodyPr>
          <a:lstStyle/>
          <a:p>
            <a:pPr algn="ctr"/>
            <a:fld id="{C5E48551-6F78-4B9C-807B-D0DFD8E31CE1}" type="slidenum">
              <a:rPr lang="en-CA" sz="900" smtClean="0">
                <a:solidFill>
                  <a:srgbClr val="404040"/>
                </a:solidFill>
                <a:latin typeface="Arial Narrow" panose="020B0606020202030204" pitchFamily="34" charset="0"/>
              </a:rPr>
              <a:pPr algn="ctr"/>
              <a:t>‹#›</a:t>
            </a:fld>
            <a:endParaRPr lang="en-CA" sz="1050" dirty="0">
              <a:solidFill>
                <a:srgbClr val="404040"/>
              </a:solidFill>
              <a:latin typeface="Arial Narrow" panose="020B0606020202030204" pitchFamily="34" charset="0"/>
            </a:endParaRPr>
          </a:p>
        </p:txBody>
      </p:sp>
      <p:sp>
        <p:nvSpPr>
          <p:cNvPr id="22" name="Right Triangle 21"/>
          <p:cNvSpPr/>
          <p:nvPr userDrawn="1"/>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3" name="Straight Connector 22"/>
          <p:cNvCxnSpPr/>
          <p:nvPr userDrawn="1"/>
        </p:nvCxnSpPr>
        <p:spPr>
          <a:xfrm flipV="1">
            <a:off x="-2" y="4966634"/>
            <a:ext cx="9144002" cy="3158"/>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250884" y="742950"/>
            <a:ext cx="8664517" cy="3886200"/>
          </a:xfrm>
        </p:spPr>
        <p:txBody>
          <a:bodyPr/>
          <a:lstStyle>
            <a:lvl1pPr marL="342900" indent="-342900">
              <a:buClr>
                <a:schemeClr val="tx2"/>
              </a:buClr>
              <a:buFont typeface="Wingdings" panose="05000000000000000000" pitchFamily="2" charset="2"/>
              <a:buChar char="§"/>
              <a:defRPr>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4238" y="143157"/>
            <a:ext cx="1370723" cy="243733"/>
          </a:xfrm>
          <a:prstGeom prst="rect">
            <a:avLst/>
          </a:prstGeom>
        </p:spPr>
      </p:pic>
    </p:spTree>
    <p:extLst>
      <p:ext uri="{BB962C8B-B14F-4D97-AF65-F5344CB8AC3E}">
        <p14:creationId xmlns:p14="http://schemas.microsoft.com/office/powerpoint/2010/main" val="193871166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3"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4" name="Straight Connector 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2" name="Content Placeholder 4"/>
          <p:cNvSpPr>
            <a:spLocks noGrp="1"/>
          </p:cNvSpPr>
          <p:nvPr>
            <p:ph sz="quarter" idx="14" hasCustomPrompt="1"/>
          </p:nvPr>
        </p:nvSpPr>
        <p:spPr>
          <a:xfrm>
            <a:off x="4585143" y="3562350"/>
            <a:ext cx="128225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7" name="Content Placeholder 4"/>
          <p:cNvSpPr>
            <a:spLocks noGrp="1"/>
          </p:cNvSpPr>
          <p:nvPr>
            <p:ph sz="quarter" idx="18" hasCustomPrompt="1"/>
          </p:nvPr>
        </p:nvSpPr>
        <p:spPr>
          <a:xfrm>
            <a:off x="4569912" y="1050620"/>
            <a:ext cx="1296907"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1" name="Picture Placeholder 14"/>
          <p:cNvSpPr>
            <a:spLocks noGrp="1"/>
          </p:cNvSpPr>
          <p:nvPr>
            <p:ph type="pic" sz="quarter" idx="24"/>
          </p:nvPr>
        </p:nvSpPr>
        <p:spPr>
          <a:xfrm>
            <a:off x="4585143" y="1581150"/>
            <a:ext cx="1282257" cy="1820983"/>
          </a:xfrm>
          <a:prstGeom prst="snip1Rect">
            <a:avLst/>
          </a:prstGeom>
        </p:spPr>
        <p:txBody>
          <a:bodyPr/>
          <a:lstStyle>
            <a:lvl1pPr marL="0" indent="0">
              <a:buNone/>
              <a:defRPr/>
            </a:lvl1pPr>
          </a:lstStyle>
          <a:p>
            <a:r>
              <a:rPr lang="en-US" smtClean="0"/>
              <a:t>Click icon to add picture</a:t>
            </a:r>
            <a:endParaRPr lang="en-CA"/>
          </a:p>
        </p:txBody>
      </p:sp>
      <p:sp>
        <p:nvSpPr>
          <p:cNvPr id="31" name="Content Placeholder 4"/>
          <p:cNvSpPr>
            <a:spLocks noGrp="1"/>
          </p:cNvSpPr>
          <p:nvPr>
            <p:ph sz="quarter" idx="25" hasCustomPrompt="1"/>
          </p:nvPr>
        </p:nvSpPr>
        <p:spPr>
          <a:xfrm>
            <a:off x="7467600" y="3562350"/>
            <a:ext cx="129748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2" name="Content Placeholder 4"/>
          <p:cNvSpPr>
            <a:spLocks noGrp="1"/>
          </p:cNvSpPr>
          <p:nvPr>
            <p:ph sz="quarter" idx="26" hasCustomPrompt="1"/>
          </p:nvPr>
        </p:nvSpPr>
        <p:spPr>
          <a:xfrm>
            <a:off x="7467600" y="1050620"/>
            <a:ext cx="1295400"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3" name="Picture Placeholder 14"/>
          <p:cNvSpPr>
            <a:spLocks noGrp="1"/>
          </p:cNvSpPr>
          <p:nvPr>
            <p:ph type="pic" sz="quarter" idx="27"/>
          </p:nvPr>
        </p:nvSpPr>
        <p:spPr>
          <a:xfrm>
            <a:off x="7467600" y="1581150"/>
            <a:ext cx="1297487" cy="1820983"/>
          </a:xfrm>
          <a:prstGeom prst="snip1Rect">
            <a:avLst/>
          </a:prstGeom>
        </p:spPr>
        <p:txBody>
          <a:bodyPr/>
          <a:lstStyle>
            <a:lvl1pPr marL="0" indent="0">
              <a:buNone/>
              <a:defRPr/>
            </a:lvl1pPr>
          </a:lstStyle>
          <a:p>
            <a:r>
              <a:rPr lang="en-US" smtClean="0"/>
              <a:t>Click icon to add picture</a:t>
            </a:r>
            <a:endParaRPr lang="en-CA"/>
          </a:p>
        </p:txBody>
      </p:sp>
      <p:sp>
        <p:nvSpPr>
          <p:cNvPr id="34" name="Content Placeholder 4"/>
          <p:cNvSpPr>
            <a:spLocks noGrp="1"/>
          </p:cNvSpPr>
          <p:nvPr>
            <p:ph sz="quarter" idx="28" hasCustomPrompt="1"/>
          </p:nvPr>
        </p:nvSpPr>
        <p:spPr>
          <a:xfrm>
            <a:off x="6020453" y="3562350"/>
            <a:ext cx="129474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5" name="Content Placeholder 4"/>
          <p:cNvSpPr>
            <a:spLocks noGrp="1"/>
          </p:cNvSpPr>
          <p:nvPr>
            <p:ph sz="quarter" idx="29" hasCustomPrompt="1"/>
          </p:nvPr>
        </p:nvSpPr>
        <p:spPr>
          <a:xfrm>
            <a:off x="6017712" y="1050620"/>
            <a:ext cx="1295400"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6" name="Picture Placeholder 14"/>
          <p:cNvSpPr>
            <a:spLocks noGrp="1"/>
          </p:cNvSpPr>
          <p:nvPr>
            <p:ph type="pic" sz="quarter" idx="30"/>
          </p:nvPr>
        </p:nvSpPr>
        <p:spPr>
          <a:xfrm>
            <a:off x="6020453" y="1581150"/>
            <a:ext cx="1294747" cy="1820983"/>
          </a:xfrm>
          <a:prstGeom prst="snip1Rect">
            <a:avLst/>
          </a:prstGeom>
        </p:spPr>
        <p:txBody>
          <a:bodyPr/>
          <a:lstStyle>
            <a:lvl1pPr marL="0" indent="0">
              <a:buNone/>
              <a:defRPr/>
            </a:lvl1pPr>
          </a:lstStyle>
          <a:p>
            <a:r>
              <a:rPr lang="en-US" smtClean="0"/>
              <a:t>Click icon to add picture</a:t>
            </a:r>
            <a:endParaRPr lang="en-CA"/>
          </a:p>
        </p:txBody>
      </p:sp>
      <p:sp>
        <p:nvSpPr>
          <p:cNvPr id="24" name="TextBox 23"/>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23" name="Content Placeholder 4"/>
          <p:cNvSpPr>
            <a:spLocks noGrp="1"/>
          </p:cNvSpPr>
          <p:nvPr>
            <p:ph sz="quarter" idx="31" hasCustomPrompt="1"/>
          </p:nvPr>
        </p:nvSpPr>
        <p:spPr>
          <a:xfrm>
            <a:off x="228600" y="3562350"/>
            <a:ext cx="129690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5" name="Content Placeholder 4"/>
          <p:cNvSpPr>
            <a:spLocks noGrp="1"/>
          </p:cNvSpPr>
          <p:nvPr>
            <p:ph sz="quarter" idx="32" hasCustomPrompt="1"/>
          </p:nvPr>
        </p:nvSpPr>
        <p:spPr>
          <a:xfrm>
            <a:off x="228600" y="1050620"/>
            <a:ext cx="1296907"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Picture Placeholder 14"/>
          <p:cNvSpPr>
            <a:spLocks noGrp="1"/>
          </p:cNvSpPr>
          <p:nvPr>
            <p:ph type="pic" sz="quarter" idx="33"/>
          </p:nvPr>
        </p:nvSpPr>
        <p:spPr>
          <a:xfrm>
            <a:off x="243832" y="1581150"/>
            <a:ext cx="1269114" cy="1820983"/>
          </a:xfrm>
          <a:prstGeom prst="snip1Rect">
            <a:avLst/>
          </a:prstGeom>
        </p:spPr>
        <p:txBody>
          <a:bodyPr/>
          <a:lstStyle>
            <a:lvl1pPr marL="0" indent="0">
              <a:buNone/>
              <a:defRPr/>
            </a:lvl1pPr>
          </a:lstStyle>
          <a:p>
            <a:r>
              <a:rPr lang="en-US" smtClean="0"/>
              <a:t>Click icon to add picture</a:t>
            </a:r>
            <a:endParaRPr lang="en-CA"/>
          </a:p>
        </p:txBody>
      </p:sp>
      <p:sp>
        <p:nvSpPr>
          <p:cNvPr id="27" name="Content Placeholder 4"/>
          <p:cNvSpPr>
            <a:spLocks noGrp="1"/>
          </p:cNvSpPr>
          <p:nvPr>
            <p:ph sz="quarter" idx="34" hasCustomPrompt="1"/>
          </p:nvPr>
        </p:nvSpPr>
        <p:spPr>
          <a:xfrm>
            <a:off x="1676400" y="3562350"/>
            <a:ext cx="129690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8" name="Content Placeholder 4"/>
          <p:cNvSpPr>
            <a:spLocks noGrp="1"/>
          </p:cNvSpPr>
          <p:nvPr>
            <p:ph sz="quarter" idx="35" hasCustomPrompt="1"/>
          </p:nvPr>
        </p:nvSpPr>
        <p:spPr>
          <a:xfrm>
            <a:off x="1676400" y="1050620"/>
            <a:ext cx="1296907"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9" name="Picture Placeholder 14"/>
          <p:cNvSpPr>
            <a:spLocks noGrp="1"/>
          </p:cNvSpPr>
          <p:nvPr>
            <p:ph type="pic" sz="quarter" idx="36"/>
          </p:nvPr>
        </p:nvSpPr>
        <p:spPr>
          <a:xfrm>
            <a:off x="1691631" y="1581150"/>
            <a:ext cx="1275149" cy="1820983"/>
          </a:xfrm>
          <a:prstGeom prst="snip1Rect">
            <a:avLst/>
          </a:prstGeom>
        </p:spPr>
        <p:txBody>
          <a:bodyPr/>
          <a:lstStyle>
            <a:lvl1pPr marL="0" indent="0">
              <a:buNone/>
              <a:defRPr/>
            </a:lvl1pPr>
          </a:lstStyle>
          <a:p>
            <a:r>
              <a:rPr lang="en-US" smtClean="0"/>
              <a:t>Click icon to add picture</a:t>
            </a:r>
            <a:endParaRPr lang="en-CA"/>
          </a:p>
        </p:txBody>
      </p:sp>
      <p:sp>
        <p:nvSpPr>
          <p:cNvPr id="30" name="Content Placeholder 4"/>
          <p:cNvSpPr>
            <a:spLocks noGrp="1"/>
          </p:cNvSpPr>
          <p:nvPr>
            <p:ph sz="quarter" idx="37" hasCustomPrompt="1"/>
          </p:nvPr>
        </p:nvSpPr>
        <p:spPr>
          <a:xfrm>
            <a:off x="3124200" y="3562350"/>
            <a:ext cx="128225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7" name="Content Placeholder 4"/>
          <p:cNvSpPr>
            <a:spLocks noGrp="1"/>
          </p:cNvSpPr>
          <p:nvPr>
            <p:ph sz="quarter" idx="38" hasCustomPrompt="1"/>
          </p:nvPr>
        </p:nvSpPr>
        <p:spPr>
          <a:xfrm>
            <a:off x="3130235" y="1050620"/>
            <a:ext cx="1296907" cy="378129"/>
          </a:xfrm>
        </p:spPr>
        <p:txBody>
          <a:bodyPr>
            <a:noAutofit/>
          </a:bodyPr>
          <a:lstStyle>
            <a:lvl1pPr marL="0" indent="0">
              <a:buClr>
                <a:schemeClr val="tx2"/>
              </a:buClr>
              <a:buFont typeface="Wingdings" panose="05000000000000000000" pitchFamily="2" charset="2"/>
              <a:buNone/>
              <a:defRPr sz="14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8" name="Picture Placeholder 14"/>
          <p:cNvSpPr>
            <a:spLocks noGrp="1"/>
          </p:cNvSpPr>
          <p:nvPr>
            <p:ph type="pic" sz="quarter" idx="39"/>
          </p:nvPr>
        </p:nvSpPr>
        <p:spPr>
          <a:xfrm>
            <a:off x="3124201" y="1581150"/>
            <a:ext cx="1295400" cy="1820983"/>
          </a:xfrm>
          <a:prstGeom prst="snip1Rect">
            <a:avLst/>
          </a:prstGeom>
        </p:spPr>
        <p:txBody>
          <a:bodyPr/>
          <a:lstStyle>
            <a:lvl1pPr marL="0" indent="0">
              <a:buNone/>
              <a:defRPr/>
            </a:lvl1pPr>
          </a:lstStyle>
          <a:p>
            <a:r>
              <a:rPr lang="en-US" smtClean="0"/>
              <a:t>Click icon to add picture</a:t>
            </a:r>
            <a:endParaRPr lang="en-CA" dirty="0"/>
          </a:p>
        </p:txBody>
      </p:sp>
      <p:cxnSp>
        <p:nvCxnSpPr>
          <p:cNvPr id="39" name="Straight Connector 38"/>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40" name="Content Placeholder 4"/>
          <p:cNvSpPr>
            <a:spLocks noGrp="1"/>
          </p:cNvSpPr>
          <p:nvPr>
            <p:ph sz="quarter" idx="14" hasCustomPrompt="1"/>
          </p:nvPr>
        </p:nvSpPr>
        <p:spPr>
          <a:xfrm>
            <a:off x="4585143" y="3562350"/>
            <a:ext cx="1282257" cy="1371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41" name="TextBox 4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4513574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144">
          <p15:clr>
            <a:srgbClr val="FBAE40"/>
          </p15:clr>
        </p15:guide>
        <p15:guide id="2" pos="960">
          <p15:clr>
            <a:srgbClr val="FBAE40"/>
          </p15:clr>
        </p15:guide>
        <p15:guide id="3" pos="1056">
          <p15:clr>
            <a:srgbClr val="FBAE40"/>
          </p15:clr>
        </p15:guide>
        <p15:guide id="4" pos="1872">
          <p15:clr>
            <a:srgbClr val="FBAE40"/>
          </p15:clr>
        </p15:guide>
        <p15:guide id="5" pos="2784">
          <p15:clr>
            <a:srgbClr val="FBAE40"/>
          </p15:clr>
        </p15:guide>
        <p15:guide id="6" pos="2880">
          <p15:clr>
            <a:srgbClr val="FBAE40"/>
          </p15:clr>
        </p15:guide>
        <p15:guide id="7" pos="5520">
          <p15:clr>
            <a:srgbClr val="FBAE40"/>
          </p15:clr>
        </p15:guide>
        <p15:guide id="8" pos="1968">
          <p15:clr>
            <a:srgbClr val="FBAE40"/>
          </p15:clr>
        </p15:guide>
        <p15:guide id="9" orient="horz" pos="660">
          <p15:clr>
            <a:srgbClr val="FBAE40"/>
          </p15:clr>
        </p15:guide>
        <p15:guide id="10" pos="3696">
          <p15:clr>
            <a:srgbClr val="FBAE40"/>
          </p15:clr>
        </p15:guide>
        <p15:guide id="11" pos="3792">
          <p15:clr>
            <a:srgbClr val="FBAE40"/>
          </p15:clr>
        </p15:guide>
        <p15:guide id="12" pos="4608">
          <p15:clr>
            <a:srgbClr val="FBAE40"/>
          </p15:clr>
        </p15:guide>
        <p15:guide id="13" pos="4704">
          <p15:clr>
            <a:srgbClr val="FBAE40"/>
          </p15:clr>
        </p15:guide>
        <p15:guide id="14" orient="horz" pos="900">
          <p15:clr>
            <a:srgbClr val="FBAE40"/>
          </p15:clr>
        </p15:guide>
        <p15:guide id="15" orient="horz" pos="996">
          <p15:clr>
            <a:srgbClr val="FBAE40"/>
          </p15:clr>
        </p15:guide>
        <p15:guide id="16" orient="horz" pos="2148">
          <p15:clr>
            <a:srgbClr val="FBAE40"/>
          </p15:clr>
        </p15:guide>
        <p15:guide id="17" orient="horz" pos="2244">
          <p15:clr>
            <a:srgbClr val="FBAE40"/>
          </p15:clr>
        </p15:guide>
        <p15:guide id="18" orient="horz" pos="31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3" name="Content Placeholder 4"/>
          <p:cNvSpPr>
            <a:spLocks noGrp="1"/>
          </p:cNvSpPr>
          <p:nvPr>
            <p:ph sz="quarter" idx="11" hasCustomPrompt="1"/>
          </p:nvPr>
        </p:nvSpPr>
        <p:spPr>
          <a:xfrm>
            <a:off x="685800" y="3486150"/>
            <a:ext cx="1828800" cy="14478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4" name="Content Placeholder 4"/>
          <p:cNvSpPr>
            <a:spLocks noGrp="1"/>
          </p:cNvSpPr>
          <p:nvPr>
            <p:ph sz="quarter" idx="12" hasCustomPrompt="1"/>
          </p:nvPr>
        </p:nvSpPr>
        <p:spPr>
          <a:xfrm>
            <a:off x="2667000" y="3486150"/>
            <a:ext cx="1828800" cy="14478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5" name="Content Placeholder 4"/>
          <p:cNvSpPr>
            <a:spLocks noGrp="1"/>
          </p:cNvSpPr>
          <p:nvPr>
            <p:ph sz="quarter" idx="13" hasCustomPrompt="1"/>
          </p:nvPr>
        </p:nvSpPr>
        <p:spPr>
          <a:xfrm>
            <a:off x="4648200" y="3486150"/>
            <a:ext cx="1828800" cy="14478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6" name="Content Placeholder 4"/>
          <p:cNvSpPr>
            <a:spLocks noGrp="1"/>
          </p:cNvSpPr>
          <p:nvPr>
            <p:ph sz="quarter" idx="14" hasCustomPrompt="1"/>
          </p:nvPr>
        </p:nvSpPr>
        <p:spPr>
          <a:xfrm>
            <a:off x="6629400" y="3486150"/>
            <a:ext cx="1828800" cy="14478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Content Placeholder 4"/>
          <p:cNvSpPr>
            <a:spLocks noGrp="1"/>
          </p:cNvSpPr>
          <p:nvPr>
            <p:ph sz="quarter" idx="15" hasCustomPrompt="1"/>
          </p:nvPr>
        </p:nvSpPr>
        <p:spPr>
          <a:xfrm>
            <a:off x="685800" y="1047748"/>
            <a:ext cx="1828800" cy="304801"/>
          </a:xfrm>
        </p:spPr>
        <p:txBody>
          <a:bodyPr>
            <a:no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8" name="Content Placeholder 4"/>
          <p:cNvSpPr>
            <a:spLocks noGrp="1"/>
          </p:cNvSpPr>
          <p:nvPr>
            <p:ph sz="quarter" idx="16" hasCustomPrompt="1"/>
          </p:nvPr>
        </p:nvSpPr>
        <p:spPr>
          <a:xfrm>
            <a:off x="2680143" y="1047748"/>
            <a:ext cx="1815657" cy="304801"/>
          </a:xfrm>
        </p:spPr>
        <p:txBody>
          <a:bodyPr>
            <a:no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7" hasCustomPrompt="1"/>
          </p:nvPr>
        </p:nvSpPr>
        <p:spPr>
          <a:xfrm>
            <a:off x="4648200" y="1047748"/>
            <a:ext cx="1828800" cy="304801"/>
          </a:xfrm>
        </p:spPr>
        <p:txBody>
          <a:bodyPr>
            <a:no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8" hasCustomPrompt="1"/>
          </p:nvPr>
        </p:nvSpPr>
        <p:spPr>
          <a:xfrm>
            <a:off x="6629400" y="1047748"/>
            <a:ext cx="1828800" cy="304801"/>
          </a:xfrm>
        </p:spPr>
        <p:txBody>
          <a:bodyPr>
            <a:no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Picture Placeholder 14"/>
          <p:cNvSpPr>
            <a:spLocks noGrp="1"/>
          </p:cNvSpPr>
          <p:nvPr>
            <p:ph type="pic" sz="quarter" idx="21"/>
          </p:nvPr>
        </p:nvSpPr>
        <p:spPr>
          <a:xfrm>
            <a:off x="685800" y="1512767"/>
            <a:ext cx="1828800" cy="1820983"/>
          </a:xfrm>
          <a:prstGeom prst="snip1Rect">
            <a:avLst/>
          </a:prstGeom>
        </p:spPr>
        <p:txBody>
          <a:bodyPr/>
          <a:lstStyle>
            <a:lvl1pPr marL="0" indent="0">
              <a:buNone/>
              <a:defRPr/>
            </a:lvl1pPr>
          </a:lstStyle>
          <a:p>
            <a:r>
              <a:rPr lang="en-US" smtClean="0"/>
              <a:t>Click icon to add picture</a:t>
            </a:r>
            <a:endParaRPr lang="en-CA"/>
          </a:p>
        </p:txBody>
      </p:sp>
      <p:sp>
        <p:nvSpPr>
          <p:cNvPr id="12" name="Picture Placeholder 14"/>
          <p:cNvSpPr>
            <a:spLocks noGrp="1"/>
          </p:cNvSpPr>
          <p:nvPr>
            <p:ph type="pic" sz="quarter" idx="22"/>
          </p:nvPr>
        </p:nvSpPr>
        <p:spPr>
          <a:xfrm>
            <a:off x="2667000" y="1504950"/>
            <a:ext cx="1828800" cy="1820983"/>
          </a:xfrm>
          <a:prstGeom prst="snip1Rect">
            <a:avLst/>
          </a:prstGeom>
        </p:spPr>
        <p:txBody>
          <a:bodyPr/>
          <a:lstStyle>
            <a:lvl1pPr marL="0" indent="0">
              <a:buNone/>
              <a:defRPr/>
            </a:lvl1pPr>
          </a:lstStyle>
          <a:p>
            <a:r>
              <a:rPr lang="en-US" smtClean="0"/>
              <a:t>Click icon to add picture</a:t>
            </a:r>
            <a:endParaRPr lang="en-CA"/>
          </a:p>
        </p:txBody>
      </p:sp>
      <p:sp>
        <p:nvSpPr>
          <p:cNvPr id="13" name="Picture Placeholder 14"/>
          <p:cNvSpPr>
            <a:spLocks noGrp="1"/>
          </p:cNvSpPr>
          <p:nvPr>
            <p:ph type="pic" sz="quarter" idx="23"/>
          </p:nvPr>
        </p:nvSpPr>
        <p:spPr>
          <a:xfrm>
            <a:off x="4648200" y="1508858"/>
            <a:ext cx="1828800" cy="1820983"/>
          </a:xfrm>
          <a:prstGeom prst="snip1Rect">
            <a:avLst/>
          </a:prstGeom>
        </p:spPr>
        <p:txBody>
          <a:bodyPr/>
          <a:lstStyle>
            <a:lvl1pPr marL="0" indent="0">
              <a:buNone/>
              <a:defRPr/>
            </a:lvl1pPr>
          </a:lstStyle>
          <a:p>
            <a:r>
              <a:rPr lang="en-US" smtClean="0"/>
              <a:t>Click icon to add picture</a:t>
            </a:r>
            <a:endParaRPr lang="en-CA"/>
          </a:p>
        </p:txBody>
      </p:sp>
      <p:sp>
        <p:nvSpPr>
          <p:cNvPr id="14" name="Picture Placeholder 14"/>
          <p:cNvSpPr>
            <a:spLocks noGrp="1"/>
          </p:cNvSpPr>
          <p:nvPr>
            <p:ph type="pic" sz="quarter" idx="24"/>
          </p:nvPr>
        </p:nvSpPr>
        <p:spPr>
          <a:xfrm>
            <a:off x="6629400" y="1504950"/>
            <a:ext cx="1828800" cy="1820983"/>
          </a:xfrm>
          <a:prstGeom prst="snip1Rect">
            <a:avLst/>
          </a:prstGeom>
        </p:spPr>
        <p:txBody>
          <a:bodyPr/>
          <a:lstStyle>
            <a:lvl1pPr marL="0" indent="0">
              <a:buNone/>
              <a:defRPr/>
            </a:lvl1pPr>
          </a:lstStyle>
          <a:p>
            <a:r>
              <a:rPr lang="en-US" smtClean="0"/>
              <a:t>Click icon to add picture</a:t>
            </a:r>
            <a:endParaRPr lang="en-CA"/>
          </a:p>
        </p:txBody>
      </p:sp>
      <p:sp>
        <p:nvSpPr>
          <p:cNvPr id="17"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8" name="Straight Connector 17"/>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20" name="TextBox 1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9" name="Straight Connector 18"/>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21" name="TextBox 20"/>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347817122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660">
          <p15:clr>
            <a:srgbClr val="FBAE40"/>
          </p15:clr>
        </p15:guide>
        <p15:guide id="2" orient="horz" pos="852">
          <p15:clr>
            <a:srgbClr val="FBAE40"/>
          </p15:clr>
        </p15:guide>
        <p15:guide id="3" orient="horz" pos="948">
          <p15:clr>
            <a:srgbClr val="FBAE40"/>
          </p15:clr>
        </p15:guide>
        <p15:guide id="4" orient="horz" pos="2100">
          <p15:clr>
            <a:srgbClr val="FBAE40"/>
          </p15:clr>
        </p15:guide>
        <p15:guide id="5" orient="horz" pos="2196">
          <p15:clr>
            <a:srgbClr val="FBAE40"/>
          </p15:clr>
        </p15:guide>
        <p15:guide id="6" orient="horz" pos="3108">
          <p15:clr>
            <a:srgbClr val="FBAE40"/>
          </p15:clr>
        </p15:guide>
        <p15:guide id="7" pos="1584">
          <p15:clr>
            <a:srgbClr val="FBAE40"/>
          </p15:clr>
        </p15:guide>
        <p15:guide id="8" pos="1680">
          <p15:clr>
            <a:srgbClr val="FBAE40"/>
          </p15:clr>
        </p15:guide>
        <p15:guide id="9" pos="2832">
          <p15:clr>
            <a:srgbClr val="FBAE40"/>
          </p15:clr>
        </p15:guide>
        <p15:guide id="10" pos="2928">
          <p15:clr>
            <a:srgbClr val="FBAE40"/>
          </p15:clr>
        </p15:guide>
        <p15:guide id="11" pos="4080">
          <p15:clr>
            <a:srgbClr val="FBAE40"/>
          </p15:clr>
        </p15:guide>
        <p15:guide id="12" pos="4176">
          <p15:clr>
            <a:srgbClr val="FBAE40"/>
          </p15:clr>
        </p15:guide>
        <p15:guide id="13" pos="5328">
          <p15:clr>
            <a:srgbClr val="FBAE40"/>
          </p15:clr>
        </p15:guide>
        <p15:guide id="14" pos="4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Multi Image 1">
    <p:spTree>
      <p:nvGrpSpPr>
        <p:cNvPr id="1" name=""/>
        <p:cNvGrpSpPr/>
        <p:nvPr/>
      </p:nvGrpSpPr>
      <p:grpSpPr>
        <a:xfrm>
          <a:off x="0" y="0"/>
          <a:ext cx="0" cy="0"/>
          <a:chOff x="0" y="0"/>
          <a:chExt cx="0" cy="0"/>
        </a:xfrm>
      </p:grpSpPr>
      <p:sp>
        <p:nvSpPr>
          <p:cNvPr id="3" name="Title 2"/>
          <p:cNvSpPr>
            <a:spLocks noGrp="1"/>
          </p:cNvSpPr>
          <p:nvPr>
            <p:ph type="title"/>
          </p:nvPr>
        </p:nvSpPr>
        <p:spPr>
          <a:xfrm>
            <a:off x="228600" y="3181350"/>
            <a:ext cx="4267200" cy="762001"/>
          </a:xfrm>
        </p:spPr>
        <p:txBody>
          <a:bodyPr/>
          <a:lstStyle>
            <a:lvl1pPr>
              <a:defRPr/>
            </a:lvl1pPr>
          </a:lstStyle>
          <a:p>
            <a:r>
              <a:rPr lang="en-US" smtClean="0"/>
              <a:t>Click to edit Master title style</a:t>
            </a:r>
            <a:endParaRPr lang="en-US" dirty="0"/>
          </a:p>
        </p:txBody>
      </p:sp>
      <p:cxnSp>
        <p:nvCxnSpPr>
          <p:cNvPr id="4" name="Straight Connector 3"/>
          <p:cNvCxnSpPr/>
          <p:nvPr/>
        </p:nvCxnSpPr>
        <p:spPr>
          <a:xfrm>
            <a:off x="228600" y="3181350"/>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5" name="Content Placeholder 4"/>
          <p:cNvSpPr>
            <a:spLocks noGrp="1"/>
          </p:cNvSpPr>
          <p:nvPr>
            <p:ph sz="quarter" idx="11" hasCustomPrompt="1"/>
          </p:nvPr>
        </p:nvSpPr>
        <p:spPr>
          <a:xfrm>
            <a:off x="228600" y="4095751"/>
            <a:ext cx="4267200" cy="8381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6" name="Content Placeholder 4"/>
          <p:cNvSpPr>
            <a:spLocks noGrp="1"/>
          </p:cNvSpPr>
          <p:nvPr>
            <p:ph sz="quarter" idx="12" hasCustomPrompt="1"/>
          </p:nvPr>
        </p:nvSpPr>
        <p:spPr>
          <a:xfrm>
            <a:off x="4648200" y="3181351"/>
            <a:ext cx="4267200" cy="16002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5" name="Picture Placeholder 6"/>
          <p:cNvSpPr>
            <a:spLocks noGrp="1"/>
          </p:cNvSpPr>
          <p:nvPr>
            <p:ph type="pic" sz="quarter" idx="13"/>
          </p:nvPr>
        </p:nvSpPr>
        <p:spPr>
          <a:xfrm>
            <a:off x="0" y="211138"/>
            <a:ext cx="1828800" cy="2741612"/>
          </a:xfrm>
        </p:spPr>
        <p:txBody>
          <a:bodyPr/>
          <a:lstStyle>
            <a:lvl1pPr marL="0" indent="0">
              <a:buNone/>
              <a:defRPr/>
            </a:lvl1pPr>
          </a:lstStyle>
          <a:p>
            <a:r>
              <a:rPr lang="en-US" smtClean="0"/>
              <a:t>Click icon to add picture</a:t>
            </a:r>
            <a:endParaRPr lang="en-CA"/>
          </a:p>
        </p:txBody>
      </p:sp>
      <p:sp>
        <p:nvSpPr>
          <p:cNvPr id="16" name="Picture Placeholder 13"/>
          <p:cNvSpPr>
            <a:spLocks noGrp="1"/>
          </p:cNvSpPr>
          <p:nvPr>
            <p:ph type="pic" sz="quarter" idx="14"/>
          </p:nvPr>
        </p:nvSpPr>
        <p:spPr>
          <a:xfrm>
            <a:off x="3657600" y="211138"/>
            <a:ext cx="1828800" cy="2741612"/>
          </a:xfrm>
        </p:spPr>
        <p:txBody>
          <a:bodyPr/>
          <a:lstStyle>
            <a:lvl1pPr marL="0" indent="0">
              <a:buNone/>
              <a:defRPr/>
            </a:lvl1pPr>
          </a:lstStyle>
          <a:p>
            <a:r>
              <a:rPr lang="en-US" smtClean="0"/>
              <a:t>Click icon to add picture</a:t>
            </a:r>
            <a:endParaRPr lang="en-CA"/>
          </a:p>
        </p:txBody>
      </p:sp>
      <p:sp>
        <p:nvSpPr>
          <p:cNvPr id="17" name="Picture Placeholder 15"/>
          <p:cNvSpPr>
            <a:spLocks noGrp="1"/>
          </p:cNvSpPr>
          <p:nvPr>
            <p:ph type="pic" sz="quarter" idx="15"/>
          </p:nvPr>
        </p:nvSpPr>
        <p:spPr>
          <a:xfrm>
            <a:off x="7315200" y="211138"/>
            <a:ext cx="1828800" cy="2741612"/>
          </a:xfrm>
        </p:spPr>
        <p:txBody>
          <a:bodyPr/>
          <a:lstStyle>
            <a:lvl1pPr marL="0" indent="0">
              <a:buNone/>
              <a:defRPr/>
            </a:lvl1pPr>
          </a:lstStyle>
          <a:p>
            <a:r>
              <a:rPr lang="en-US" smtClean="0"/>
              <a:t>Click icon to add picture</a:t>
            </a:r>
            <a:endParaRPr lang="en-CA"/>
          </a:p>
        </p:txBody>
      </p:sp>
      <p:sp>
        <p:nvSpPr>
          <p:cNvPr id="18" name="Picture Placeholder 17"/>
          <p:cNvSpPr>
            <a:spLocks noGrp="1"/>
          </p:cNvSpPr>
          <p:nvPr>
            <p:ph type="pic" sz="quarter" idx="16"/>
          </p:nvPr>
        </p:nvSpPr>
        <p:spPr>
          <a:xfrm>
            <a:off x="5486400" y="211138"/>
            <a:ext cx="1828800" cy="2741612"/>
          </a:xfrm>
        </p:spPr>
        <p:txBody>
          <a:bodyPr/>
          <a:lstStyle>
            <a:lvl1pPr marL="0" indent="0">
              <a:buNone/>
              <a:defRPr/>
            </a:lvl1pPr>
          </a:lstStyle>
          <a:p>
            <a:r>
              <a:rPr lang="en-US" smtClean="0"/>
              <a:t>Click icon to add picture</a:t>
            </a:r>
            <a:endParaRPr lang="en-CA"/>
          </a:p>
        </p:txBody>
      </p:sp>
      <p:sp>
        <p:nvSpPr>
          <p:cNvPr id="19" name="Picture Placeholder 19"/>
          <p:cNvSpPr>
            <a:spLocks noGrp="1"/>
          </p:cNvSpPr>
          <p:nvPr>
            <p:ph type="pic" sz="quarter" idx="17"/>
          </p:nvPr>
        </p:nvSpPr>
        <p:spPr>
          <a:xfrm>
            <a:off x="1828800" y="211138"/>
            <a:ext cx="1828800" cy="2741612"/>
          </a:xfrm>
        </p:spPr>
        <p:txBody>
          <a:bodyPr/>
          <a:lstStyle>
            <a:lvl1pPr marL="0" indent="0">
              <a:buNone/>
              <a:defRPr/>
            </a:lvl1pPr>
          </a:lstStyle>
          <a:p>
            <a:r>
              <a:rPr lang="en-US" smtClean="0"/>
              <a:t>Click icon to add picture</a:t>
            </a:r>
            <a:endParaRPr lang="en-CA"/>
          </a:p>
        </p:txBody>
      </p:sp>
      <p:sp>
        <p:nvSpPr>
          <p:cNvPr id="13" name="TextBox 12"/>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2" name="Straight Connector 11"/>
          <p:cNvCxnSpPr/>
          <p:nvPr/>
        </p:nvCxnSpPr>
        <p:spPr>
          <a:xfrm>
            <a:off x="228600" y="3181350"/>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4" name="TextBox 13"/>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669699239"/>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ulti Image 2">
    <p:spTree>
      <p:nvGrpSpPr>
        <p:cNvPr id="1" name=""/>
        <p:cNvGrpSpPr/>
        <p:nvPr/>
      </p:nvGrpSpPr>
      <p:grpSpPr>
        <a:xfrm>
          <a:off x="0" y="0"/>
          <a:ext cx="0" cy="0"/>
          <a:chOff x="0" y="0"/>
          <a:chExt cx="0" cy="0"/>
        </a:xfrm>
      </p:grpSpPr>
      <p:sp>
        <p:nvSpPr>
          <p:cNvPr id="3" name="Title 2"/>
          <p:cNvSpPr>
            <a:spLocks noGrp="1"/>
          </p:cNvSpPr>
          <p:nvPr>
            <p:ph type="title"/>
          </p:nvPr>
        </p:nvSpPr>
        <p:spPr>
          <a:xfrm>
            <a:off x="228600" y="209551"/>
            <a:ext cx="8686800" cy="762001"/>
          </a:xfrm>
        </p:spPr>
        <p:txBody>
          <a:bodyPr/>
          <a:lstStyle>
            <a:lvl1pPr>
              <a:defRPr/>
            </a:lvl1pPr>
          </a:lstStyle>
          <a:p>
            <a:r>
              <a:rPr lang="en-US" smtClean="0"/>
              <a:t>Click to edit Master title style</a:t>
            </a:r>
            <a:endParaRPr lang="en-US" dirty="0"/>
          </a:p>
        </p:txBody>
      </p:sp>
      <p:cxnSp>
        <p:nvCxnSpPr>
          <p:cNvPr id="4" name="Straight Connector 3"/>
          <p:cNvCxnSpPr/>
          <p:nvPr/>
        </p:nvCxnSpPr>
        <p:spPr>
          <a:xfrm>
            <a:off x="228600" y="20955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5" name="Content Placeholder 4"/>
          <p:cNvSpPr>
            <a:spLocks noGrp="1"/>
          </p:cNvSpPr>
          <p:nvPr>
            <p:ph sz="quarter" idx="11" hasCustomPrompt="1"/>
          </p:nvPr>
        </p:nvSpPr>
        <p:spPr>
          <a:xfrm>
            <a:off x="228600" y="1123952"/>
            <a:ext cx="4267200" cy="10667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6" name="Content Placeholder 4"/>
          <p:cNvSpPr>
            <a:spLocks noGrp="1"/>
          </p:cNvSpPr>
          <p:nvPr>
            <p:ph sz="quarter" idx="12" hasCustomPrompt="1"/>
          </p:nvPr>
        </p:nvSpPr>
        <p:spPr>
          <a:xfrm>
            <a:off x="4648200" y="1123952"/>
            <a:ext cx="4267200" cy="10667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Picture Placeholder 6"/>
          <p:cNvSpPr>
            <a:spLocks noGrp="1"/>
          </p:cNvSpPr>
          <p:nvPr>
            <p:ph type="pic" sz="quarter" idx="13"/>
          </p:nvPr>
        </p:nvSpPr>
        <p:spPr>
          <a:xfrm>
            <a:off x="0" y="2419351"/>
            <a:ext cx="1828800" cy="2741612"/>
          </a:xfrm>
        </p:spPr>
        <p:txBody>
          <a:bodyPr/>
          <a:lstStyle>
            <a:lvl1pPr marL="0" indent="0">
              <a:buNone/>
              <a:defRPr/>
            </a:lvl1pPr>
          </a:lstStyle>
          <a:p>
            <a:r>
              <a:rPr lang="en-US" smtClean="0"/>
              <a:t>Click icon to add picture</a:t>
            </a:r>
            <a:endParaRPr lang="en-CA" dirty="0"/>
          </a:p>
        </p:txBody>
      </p:sp>
      <p:sp>
        <p:nvSpPr>
          <p:cNvPr id="14" name="Picture Placeholder 13"/>
          <p:cNvSpPr>
            <a:spLocks noGrp="1"/>
          </p:cNvSpPr>
          <p:nvPr>
            <p:ph type="pic" sz="quarter" idx="14"/>
          </p:nvPr>
        </p:nvSpPr>
        <p:spPr>
          <a:xfrm>
            <a:off x="3657600" y="2419351"/>
            <a:ext cx="1828800" cy="2741612"/>
          </a:xfrm>
        </p:spPr>
        <p:txBody>
          <a:bodyPr/>
          <a:lstStyle>
            <a:lvl1pPr marL="0" indent="0">
              <a:buNone/>
              <a:defRPr/>
            </a:lvl1pPr>
          </a:lstStyle>
          <a:p>
            <a:r>
              <a:rPr lang="en-US" smtClean="0"/>
              <a:t>Click icon to add picture</a:t>
            </a:r>
            <a:endParaRPr lang="en-CA"/>
          </a:p>
        </p:txBody>
      </p:sp>
      <p:sp>
        <p:nvSpPr>
          <p:cNvPr id="16" name="Picture Placeholder 15"/>
          <p:cNvSpPr>
            <a:spLocks noGrp="1"/>
          </p:cNvSpPr>
          <p:nvPr>
            <p:ph type="pic" sz="quarter" idx="15"/>
          </p:nvPr>
        </p:nvSpPr>
        <p:spPr>
          <a:xfrm>
            <a:off x="7315200" y="2419351"/>
            <a:ext cx="1828800" cy="2741612"/>
          </a:xfrm>
        </p:spPr>
        <p:txBody>
          <a:bodyPr/>
          <a:lstStyle>
            <a:lvl1pPr marL="0" indent="0">
              <a:buNone/>
              <a:defRPr/>
            </a:lvl1pPr>
          </a:lstStyle>
          <a:p>
            <a:r>
              <a:rPr lang="en-US" smtClean="0"/>
              <a:t>Click icon to add picture</a:t>
            </a:r>
            <a:endParaRPr lang="en-CA"/>
          </a:p>
        </p:txBody>
      </p:sp>
      <p:sp>
        <p:nvSpPr>
          <p:cNvPr id="18" name="Picture Placeholder 17"/>
          <p:cNvSpPr>
            <a:spLocks noGrp="1"/>
          </p:cNvSpPr>
          <p:nvPr>
            <p:ph type="pic" sz="quarter" idx="16"/>
          </p:nvPr>
        </p:nvSpPr>
        <p:spPr>
          <a:xfrm>
            <a:off x="5486400" y="2419351"/>
            <a:ext cx="1828800" cy="2741612"/>
          </a:xfrm>
        </p:spPr>
        <p:txBody>
          <a:bodyPr/>
          <a:lstStyle>
            <a:lvl1pPr marL="0" indent="0">
              <a:buNone/>
              <a:defRPr/>
            </a:lvl1pPr>
          </a:lstStyle>
          <a:p>
            <a:r>
              <a:rPr lang="en-US" smtClean="0"/>
              <a:t>Click icon to add picture</a:t>
            </a:r>
            <a:endParaRPr lang="en-CA" dirty="0"/>
          </a:p>
        </p:txBody>
      </p:sp>
      <p:sp>
        <p:nvSpPr>
          <p:cNvPr id="20" name="Picture Placeholder 19"/>
          <p:cNvSpPr>
            <a:spLocks noGrp="1"/>
          </p:cNvSpPr>
          <p:nvPr>
            <p:ph type="pic" sz="quarter" idx="17"/>
          </p:nvPr>
        </p:nvSpPr>
        <p:spPr>
          <a:xfrm>
            <a:off x="1828800" y="2419351"/>
            <a:ext cx="1828800" cy="2741612"/>
          </a:xfrm>
        </p:spPr>
        <p:txBody>
          <a:bodyPr/>
          <a:lstStyle>
            <a:lvl1pPr marL="0" indent="0">
              <a:buNone/>
              <a:defRPr/>
            </a:lvl1pPr>
          </a:lstStyle>
          <a:p>
            <a:r>
              <a:rPr lang="en-US" smtClean="0"/>
              <a:t>Click icon to add picture</a:t>
            </a:r>
            <a:endParaRPr lang="en-CA"/>
          </a:p>
        </p:txBody>
      </p:sp>
      <p:sp>
        <p:nvSpPr>
          <p:cNvPr id="12" name="TextBox 11"/>
          <p:cNvSpPr txBox="1"/>
          <p:nvPr/>
        </p:nvSpPr>
        <p:spPr>
          <a:xfrm>
            <a:off x="8686800" y="2417118"/>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3" name="Straight Connector 12"/>
          <p:cNvCxnSpPr/>
          <p:nvPr/>
        </p:nvCxnSpPr>
        <p:spPr>
          <a:xfrm>
            <a:off x="228600" y="20955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5" name="TextBox 14"/>
          <p:cNvSpPr txBox="1"/>
          <p:nvPr/>
        </p:nvSpPr>
        <p:spPr>
          <a:xfrm>
            <a:off x="8686800" y="2417118"/>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374462241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Multi Image 2">
    <p:spTree>
      <p:nvGrpSpPr>
        <p:cNvPr id="1" name=""/>
        <p:cNvGrpSpPr/>
        <p:nvPr/>
      </p:nvGrpSpPr>
      <p:grpSpPr>
        <a:xfrm>
          <a:off x="0" y="0"/>
          <a:ext cx="0" cy="0"/>
          <a:chOff x="0" y="0"/>
          <a:chExt cx="0" cy="0"/>
        </a:xfrm>
      </p:grpSpPr>
      <p:sp>
        <p:nvSpPr>
          <p:cNvPr id="3" name="Title 2"/>
          <p:cNvSpPr>
            <a:spLocks noGrp="1"/>
          </p:cNvSpPr>
          <p:nvPr>
            <p:ph type="title"/>
          </p:nvPr>
        </p:nvSpPr>
        <p:spPr>
          <a:xfrm>
            <a:off x="228600" y="209551"/>
            <a:ext cx="8686800" cy="762001"/>
          </a:xfrm>
        </p:spPr>
        <p:txBody>
          <a:bodyPr/>
          <a:lstStyle>
            <a:lvl1pPr>
              <a:defRPr/>
            </a:lvl1pPr>
          </a:lstStyle>
          <a:p>
            <a:r>
              <a:rPr lang="en-US" smtClean="0"/>
              <a:t>Click to edit Master title style</a:t>
            </a:r>
            <a:endParaRPr lang="en-US" dirty="0"/>
          </a:p>
        </p:txBody>
      </p:sp>
      <p:cxnSp>
        <p:nvCxnSpPr>
          <p:cNvPr id="4" name="Straight Connector 3"/>
          <p:cNvCxnSpPr/>
          <p:nvPr/>
        </p:nvCxnSpPr>
        <p:spPr>
          <a:xfrm>
            <a:off x="228600" y="20955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5" name="Content Placeholder 4"/>
          <p:cNvSpPr>
            <a:spLocks noGrp="1"/>
          </p:cNvSpPr>
          <p:nvPr>
            <p:ph sz="quarter" idx="11" hasCustomPrompt="1"/>
          </p:nvPr>
        </p:nvSpPr>
        <p:spPr>
          <a:xfrm>
            <a:off x="228600" y="1123952"/>
            <a:ext cx="4267200" cy="10667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6" name="Content Placeholder 4"/>
          <p:cNvSpPr>
            <a:spLocks noGrp="1"/>
          </p:cNvSpPr>
          <p:nvPr>
            <p:ph sz="quarter" idx="12" hasCustomPrompt="1"/>
          </p:nvPr>
        </p:nvSpPr>
        <p:spPr>
          <a:xfrm>
            <a:off x="4648200" y="1123952"/>
            <a:ext cx="4267200" cy="1066798"/>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Picture Placeholder 6"/>
          <p:cNvSpPr>
            <a:spLocks noGrp="1"/>
          </p:cNvSpPr>
          <p:nvPr>
            <p:ph type="pic" sz="quarter" idx="13"/>
          </p:nvPr>
        </p:nvSpPr>
        <p:spPr>
          <a:xfrm>
            <a:off x="0" y="3409950"/>
            <a:ext cx="1828800" cy="1751013"/>
          </a:xfrm>
        </p:spPr>
        <p:txBody>
          <a:bodyPr/>
          <a:lstStyle>
            <a:lvl1pPr marL="0" indent="0">
              <a:buNone/>
              <a:defRPr/>
            </a:lvl1pPr>
          </a:lstStyle>
          <a:p>
            <a:r>
              <a:rPr lang="en-US" smtClean="0"/>
              <a:t>Click icon to add picture</a:t>
            </a:r>
            <a:endParaRPr lang="en-CA" dirty="0"/>
          </a:p>
        </p:txBody>
      </p:sp>
      <p:sp>
        <p:nvSpPr>
          <p:cNvPr id="14" name="Picture Placeholder 13"/>
          <p:cNvSpPr>
            <a:spLocks noGrp="1"/>
          </p:cNvSpPr>
          <p:nvPr>
            <p:ph type="pic" sz="quarter" idx="14"/>
          </p:nvPr>
        </p:nvSpPr>
        <p:spPr>
          <a:xfrm>
            <a:off x="3657600" y="3409950"/>
            <a:ext cx="1828800" cy="1751013"/>
          </a:xfrm>
        </p:spPr>
        <p:txBody>
          <a:bodyPr/>
          <a:lstStyle>
            <a:lvl1pPr marL="0" indent="0">
              <a:buNone/>
              <a:defRPr/>
            </a:lvl1pPr>
          </a:lstStyle>
          <a:p>
            <a:r>
              <a:rPr lang="en-US" smtClean="0"/>
              <a:t>Click icon to add picture</a:t>
            </a:r>
            <a:endParaRPr lang="en-CA"/>
          </a:p>
        </p:txBody>
      </p:sp>
      <p:sp>
        <p:nvSpPr>
          <p:cNvPr id="16" name="Picture Placeholder 15"/>
          <p:cNvSpPr>
            <a:spLocks noGrp="1"/>
          </p:cNvSpPr>
          <p:nvPr>
            <p:ph type="pic" sz="quarter" idx="15"/>
          </p:nvPr>
        </p:nvSpPr>
        <p:spPr>
          <a:xfrm>
            <a:off x="7315200" y="3409950"/>
            <a:ext cx="1828800" cy="1751013"/>
          </a:xfrm>
        </p:spPr>
        <p:txBody>
          <a:bodyPr/>
          <a:lstStyle>
            <a:lvl1pPr marL="0" indent="0">
              <a:buNone/>
              <a:defRPr/>
            </a:lvl1pPr>
          </a:lstStyle>
          <a:p>
            <a:r>
              <a:rPr lang="en-US" smtClean="0"/>
              <a:t>Click icon to add picture</a:t>
            </a:r>
            <a:endParaRPr lang="en-CA"/>
          </a:p>
        </p:txBody>
      </p:sp>
      <p:sp>
        <p:nvSpPr>
          <p:cNvPr id="18" name="Picture Placeholder 17"/>
          <p:cNvSpPr>
            <a:spLocks noGrp="1"/>
          </p:cNvSpPr>
          <p:nvPr>
            <p:ph type="pic" sz="quarter" idx="16"/>
          </p:nvPr>
        </p:nvSpPr>
        <p:spPr>
          <a:xfrm>
            <a:off x="5486400" y="3409950"/>
            <a:ext cx="1828800" cy="1751013"/>
          </a:xfrm>
        </p:spPr>
        <p:txBody>
          <a:bodyPr/>
          <a:lstStyle>
            <a:lvl1pPr marL="0" indent="0">
              <a:buNone/>
              <a:defRPr/>
            </a:lvl1pPr>
          </a:lstStyle>
          <a:p>
            <a:r>
              <a:rPr lang="en-US" smtClean="0"/>
              <a:t>Click icon to add picture</a:t>
            </a:r>
            <a:endParaRPr lang="en-CA" dirty="0"/>
          </a:p>
        </p:txBody>
      </p:sp>
      <p:sp>
        <p:nvSpPr>
          <p:cNvPr id="20" name="Picture Placeholder 19"/>
          <p:cNvSpPr>
            <a:spLocks noGrp="1"/>
          </p:cNvSpPr>
          <p:nvPr>
            <p:ph type="pic" sz="quarter" idx="17"/>
          </p:nvPr>
        </p:nvSpPr>
        <p:spPr>
          <a:xfrm>
            <a:off x="1828800" y="3409950"/>
            <a:ext cx="1828800" cy="1751013"/>
          </a:xfrm>
        </p:spPr>
        <p:txBody>
          <a:bodyPr/>
          <a:lstStyle>
            <a:lvl1pPr marL="0" indent="0">
              <a:buNone/>
              <a:defRPr/>
            </a:lvl1pPr>
          </a:lstStyle>
          <a:p>
            <a:r>
              <a:rPr lang="en-US" smtClean="0"/>
              <a:t>Click icon to add picture</a:t>
            </a:r>
            <a:endParaRPr lang="en-CA"/>
          </a:p>
        </p:txBody>
      </p:sp>
      <p:sp>
        <p:nvSpPr>
          <p:cNvPr id="12" name="TextBox 11"/>
          <p:cNvSpPr txBox="1"/>
          <p:nvPr/>
        </p:nvSpPr>
        <p:spPr>
          <a:xfrm>
            <a:off x="8685756" y="3181350"/>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3" name="Straight Connector 12"/>
          <p:cNvCxnSpPr/>
          <p:nvPr/>
        </p:nvCxnSpPr>
        <p:spPr>
          <a:xfrm>
            <a:off x="228600" y="20955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5" name="TextBox 14"/>
          <p:cNvSpPr txBox="1"/>
          <p:nvPr/>
        </p:nvSpPr>
        <p:spPr>
          <a:xfrm>
            <a:off x="8685756" y="3181350"/>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214368592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Multi Image 3">
    <p:spTree>
      <p:nvGrpSpPr>
        <p:cNvPr id="1" name=""/>
        <p:cNvGrpSpPr/>
        <p:nvPr/>
      </p:nvGrpSpPr>
      <p:grpSpPr>
        <a:xfrm>
          <a:off x="0" y="0"/>
          <a:ext cx="0" cy="0"/>
          <a:chOff x="0" y="0"/>
          <a:chExt cx="0" cy="0"/>
        </a:xfrm>
      </p:grpSpPr>
      <p:sp>
        <p:nvSpPr>
          <p:cNvPr id="5"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6" name="Straight Connector 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1" name="Content Placeholder 4"/>
          <p:cNvSpPr>
            <a:spLocks noGrp="1"/>
          </p:cNvSpPr>
          <p:nvPr>
            <p:ph sz="quarter" idx="12" hasCustomPrompt="1"/>
          </p:nvPr>
        </p:nvSpPr>
        <p:spPr>
          <a:xfrm>
            <a:off x="6858000" y="1962150"/>
            <a:ext cx="1978029" cy="990599"/>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2" name="Content Placeholder 4"/>
          <p:cNvSpPr>
            <a:spLocks noGrp="1"/>
          </p:cNvSpPr>
          <p:nvPr>
            <p:ph sz="quarter" idx="13" hasCustomPrompt="1"/>
          </p:nvPr>
        </p:nvSpPr>
        <p:spPr>
          <a:xfrm>
            <a:off x="228600" y="1962151"/>
            <a:ext cx="1978029" cy="990600"/>
          </a:xfrm>
        </p:spPr>
        <p:txBody>
          <a:bodyPr>
            <a:normAutofit/>
          </a:bodyPr>
          <a:lstStyle>
            <a:lvl1pPr marL="0" indent="0" algn="r">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3" name="Content Placeholder 4"/>
          <p:cNvSpPr>
            <a:spLocks noGrp="1"/>
          </p:cNvSpPr>
          <p:nvPr>
            <p:ph sz="quarter" idx="14" hasCustomPrompt="1"/>
          </p:nvPr>
        </p:nvSpPr>
        <p:spPr>
          <a:xfrm>
            <a:off x="6858000" y="3867150"/>
            <a:ext cx="1978029" cy="9906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4" name="Content Placeholder 4"/>
          <p:cNvSpPr>
            <a:spLocks noGrp="1"/>
          </p:cNvSpPr>
          <p:nvPr>
            <p:ph sz="quarter" idx="15" hasCustomPrompt="1"/>
          </p:nvPr>
        </p:nvSpPr>
        <p:spPr>
          <a:xfrm>
            <a:off x="228600" y="3867150"/>
            <a:ext cx="1978029" cy="990600"/>
          </a:xfrm>
        </p:spPr>
        <p:txBody>
          <a:bodyPr>
            <a:normAutofit/>
          </a:bodyPr>
          <a:lstStyle>
            <a:lvl1pPr marL="0" indent="0" algn="r">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0" name="Picture Placeholder 19"/>
          <p:cNvSpPr>
            <a:spLocks noGrp="1"/>
          </p:cNvSpPr>
          <p:nvPr>
            <p:ph type="pic" sz="quarter" idx="16"/>
          </p:nvPr>
        </p:nvSpPr>
        <p:spPr>
          <a:xfrm>
            <a:off x="2362200" y="1200151"/>
            <a:ext cx="2055813" cy="1752334"/>
          </a:xfrm>
        </p:spPr>
        <p:txBody>
          <a:bodyPr/>
          <a:lstStyle>
            <a:lvl1pPr marL="0" indent="0">
              <a:buNone/>
              <a:defRPr/>
            </a:lvl1pPr>
          </a:lstStyle>
          <a:p>
            <a:r>
              <a:rPr lang="en-US" smtClean="0"/>
              <a:t>Click icon to add picture</a:t>
            </a:r>
            <a:endParaRPr lang="en-CA" dirty="0"/>
          </a:p>
        </p:txBody>
      </p:sp>
      <p:sp>
        <p:nvSpPr>
          <p:cNvPr id="21" name="Picture Placeholder 19"/>
          <p:cNvSpPr>
            <a:spLocks noGrp="1"/>
          </p:cNvSpPr>
          <p:nvPr>
            <p:ph type="pic" sz="quarter" idx="17"/>
          </p:nvPr>
        </p:nvSpPr>
        <p:spPr>
          <a:xfrm>
            <a:off x="4572000" y="1200151"/>
            <a:ext cx="2133600" cy="1752334"/>
          </a:xfrm>
        </p:spPr>
        <p:txBody>
          <a:bodyPr/>
          <a:lstStyle>
            <a:lvl1pPr marL="0" indent="0">
              <a:buNone/>
              <a:defRPr/>
            </a:lvl1pPr>
          </a:lstStyle>
          <a:p>
            <a:r>
              <a:rPr lang="en-US" smtClean="0"/>
              <a:t>Click icon to add picture</a:t>
            </a:r>
            <a:endParaRPr lang="en-CA" dirty="0"/>
          </a:p>
        </p:txBody>
      </p:sp>
      <p:sp>
        <p:nvSpPr>
          <p:cNvPr id="22" name="Picture Placeholder 19"/>
          <p:cNvSpPr>
            <a:spLocks noGrp="1"/>
          </p:cNvSpPr>
          <p:nvPr>
            <p:ph type="pic" sz="quarter" idx="18"/>
          </p:nvPr>
        </p:nvSpPr>
        <p:spPr>
          <a:xfrm>
            <a:off x="2362200" y="3105150"/>
            <a:ext cx="2055813" cy="1752600"/>
          </a:xfrm>
        </p:spPr>
        <p:txBody>
          <a:bodyPr/>
          <a:lstStyle>
            <a:lvl1pPr marL="0" indent="0">
              <a:buNone/>
              <a:defRPr/>
            </a:lvl1pPr>
          </a:lstStyle>
          <a:p>
            <a:r>
              <a:rPr lang="en-US" smtClean="0"/>
              <a:t>Click icon to add picture</a:t>
            </a:r>
            <a:endParaRPr lang="en-CA" dirty="0"/>
          </a:p>
        </p:txBody>
      </p:sp>
      <p:sp>
        <p:nvSpPr>
          <p:cNvPr id="23" name="Picture Placeholder 19"/>
          <p:cNvSpPr>
            <a:spLocks noGrp="1"/>
          </p:cNvSpPr>
          <p:nvPr>
            <p:ph type="pic" sz="quarter" idx="19"/>
          </p:nvPr>
        </p:nvSpPr>
        <p:spPr>
          <a:xfrm>
            <a:off x="4572000" y="3105150"/>
            <a:ext cx="2133600" cy="1752600"/>
          </a:xfrm>
        </p:spPr>
        <p:txBody>
          <a:bodyPr/>
          <a:lstStyle>
            <a:lvl1pPr marL="0" indent="0">
              <a:buNone/>
              <a:defRPr/>
            </a:lvl1pPr>
          </a:lstStyle>
          <a:p>
            <a:r>
              <a:rPr lang="en-US" smtClean="0"/>
              <a:t>Click icon to add picture</a:t>
            </a:r>
            <a:endParaRPr lang="en-CA" dirty="0"/>
          </a:p>
        </p:txBody>
      </p:sp>
      <p:sp>
        <p:nvSpPr>
          <p:cNvPr id="24" name="Picture Placeholder 21"/>
          <p:cNvSpPr>
            <a:spLocks noGrp="1"/>
          </p:cNvSpPr>
          <p:nvPr>
            <p:ph type="pic" sz="quarter" idx="11" hasCustomPrompt="1"/>
          </p:nvPr>
        </p:nvSpPr>
        <p:spPr>
          <a:xfrm>
            <a:off x="1597029" y="1200150"/>
            <a:ext cx="609600" cy="609600"/>
          </a:xfrm>
        </p:spPr>
        <p:txBody>
          <a:bodyPr>
            <a:normAutofit/>
          </a:bodyPr>
          <a:lstStyle>
            <a:lvl1pPr marL="0" indent="0">
              <a:buNone/>
              <a:defRPr sz="900"/>
            </a:lvl1pPr>
          </a:lstStyle>
          <a:p>
            <a:r>
              <a:rPr lang="en-US" dirty="0" smtClean="0"/>
              <a:t>icon</a:t>
            </a:r>
            <a:endParaRPr lang="en-CA" dirty="0"/>
          </a:p>
        </p:txBody>
      </p:sp>
      <p:sp>
        <p:nvSpPr>
          <p:cNvPr id="25" name="Picture Placeholder 21"/>
          <p:cNvSpPr>
            <a:spLocks noGrp="1"/>
          </p:cNvSpPr>
          <p:nvPr>
            <p:ph type="pic" sz="quarter" idx="20" hasCustomPrompt="1"/>
          </p:nvPr>
        </p:nvSpPr>
        <p:spPr>
          <a:xfrm>
            <a:off x="6858000" y="1200150"/>
            <a:ext cx="609600" cy="609600"/>
          </a:xfrm>
        </p:spPr>
        <p:txBody>
          <a:bodyPr>
            <a:normAutofit/>
          </a:bodyPr>
          <a:lstStyle>
            <a:lvl1pPr marL="0" indent="0">
              <a:buNone/>
              <a:defRPr sz="900"/>
            </a:lvl1pPr>
          </a:lstStyle>
          <a:p>
            <a:r>
              <a:rPr lang="en-US" dirty="0" smtClean="0"/>
              <a:t>icon</a:t>
            </a:r>
            <a:endParaRPr lang="en-CA" dirty="0"/>
          </a:p>
        </p:txBody>
      </p:sp>
      <p:sp>
        <p:nvSpPr>
          <p:cNvPr id="26" name="Picture Placeholder 21"/>
          <p:cNvSpPr>
            <a:spLocks noGrp="1"/>
          </p:cNvSpPr>
          <p:nvPr>
            <p:ph type="pic" sz="quarter" idx="21" hasCustomPrompt="1"/>
          </p:nvPr>
        </p:nvSpPr>
        <p:spPr>
          <a:xfrm>
            <a:off x="6858000" y="3105150"/>
            <a:ext cx="609600" cy="609600"/>
          </a:xfrm>
        </p:spPr>
        <p:txBody>
          <a:bodyPr>
            <a:normAutofit/>
          </a:bodyPr>
          <a:lstStyle>
            <a:lvl1pPr marL="0" indent="0">
              <a:buNone/>
              <a:defRPr sz="900"/>
            </a:lvl1pPr>
          </a:lstStyle>
          <a:p>
            <a:r>
              <a:rPr lang="en-US" dirty="0" smtClean="0"/>
              <a:t>icon</a:t>
            </a:r>
            <a:endParaRPr lang="en-CA" dirty="0"/>
          </a:p>
        </p:txBody>
      </p:sp>
      <p:sp>
        <p:nvSpPr>
          <p:cNvPr id="27" name="Picture Placeholder 21"/>
          <p:cNvSpPr>
            <a:spLocks noGrp="1"/>
          </p:cNvSpPr>
          <p:nvPr>
            <p:ph type="pic" sz="quarter" idx="22" hasCustomPrompt="1"/>
          </p:nvPr>
        </p:nvSpPr>
        <p:spPr>
          <a:xfrm>
            <a:off x="1600200" y="3105150"/>
            <a:ext cx="609600" cy="609600"/>
          </a:xfrm>
        </p:spPr>
        <p:txBody>
          <a:bodyPr>
            <a:normAutofit/>
          </a:bodyPr>
          <a:lstStyle>
            <a:lvl1pPr marL="0" indent="0">
              <a:buNone/>
              <a:defRPr sz="900"/>
            </a:lvl1pPr>
          </a:lstStyle>
          <a:p>
            <a:r>
              <a:rPr lang="en-US" dirty="0" smtClean="0"/>
              <a:t>icon</a:t>
            </a:r>
            <a:endParaRPr lang="en-CA" dirty="0"/>
          </a:p>
        </p:txBody>
      </p:sp>
      <p:sp>
        <p:nvSpPr>
          <p:cNvPr id="18" name="TextBox 17"/>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7" name="Straight Connector 16"/>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9" name="TextBox 1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702445851"/>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pos="4224">
          <p15:clr>
            <a:srgbClr val="FBAE40"/>
          </p15:clr>
        </p15:guide>
        <p15:guide id="2" pos="4320">
          <p15:clr>
            <a:srgbClr val="FBAE40"/>
          </p15:clr>
        </p15:guide>
        <p15:guide id="3" pos="1488">
          <p15:clr>
            <a:srgbClr val="FBAE40"/>
          </p15:clr>
        </p15:guide>
        <p15:guide id="4" pos="1392">
          <p15:clr>
            <a:srgbClr val="FBAE40"/>
          </p15:clr>
        </p15:guide>
        <p15:guide id="5" pos="5568">
          <p15:clr>
            <a:srgbClr val="FBAE40"/>
          </p15:clr>
        </p15:guide>
        <p15:guide id="6" pos="144">
          <p15:clr>
            <a:srgbClr val="FBAE40"/>
          </p15:clr>
        </p15:guide>
        <p15:guide id="7" orient="horz" pos="3060">
          <p15:clr>
            <a:srgbClr val="FBAE40"/>
          </p15:clr>
        </p15:guide>
        <p15:guide id="8" orient="horz" pos="1956">
          <p15:clr>
            <a:srgbClr val="FBAE40"/>
          </p15:clr>
        </p15:guide>
        <p15:guide id="9" orient="horz" pos="1860">
          <p15:clr>
            <a:srgbClr val="FBAE40"/>
          </p15:clr>
        </p15:guide>
        <p15:guide id="10" orient="horz" pos="2340">
          <p15:clr>
            <a:srgbClr val="FBAE40"/>
          </p15:clr>
        </p15:guide>
        <p15:guide id="11" orient="horz" pos="2436">
          <p15:clr>
            <a:srgbClr val="FBAE40"/>
          </p15:clr>
        </p15:guide>
        <p15:guide id="12" orient="horz" pos="1236">
          <p15:clr>
            <a:srgbClr val="FBAE40"/>
          </p15:clr>
        </p15:guide>
        <p15:guide id="13" orient="horz" pos="1140">
          <p15:clr>
            <a:srgbClr val="FBAE40"/>
          </p15:clr>
        </p15:guide>
        <p15:guide id="14" orient="horz" pos="756">
          <p15:clr>
            <a:srgbClr val="FBAE40"/>
          </p15:clr>
        </p15:guide>
        <p15:guide id="15" pos="2784">
          <p15:clr>
            <a:srgbClr val="FBAE40"/>
          </p15:clr>
        </p15:guide>
        <p15:guide id="16"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Multi Image 4">
    <p:spTree>
      <p:nvGrpSpPr>
        <p:cNvPr id="1" name=""/>
        <p:cNvGrpSpPr/>
        <p:nvPr/>
      </p:nvGrpSpPr>
      <p:grpSpPr>
        <a:xfrm>
          <a:off x="0" y="0"/>
          <a:ext cx="0" cy="0"/>
          <a:chOff x="0" y="0"/>
          <a:chExt cx="0" cy="0"/>
        </a:xfrm>
      </p:grpSpPr>
      <p:sp>
        <p:nvSpPr>
          <p:cNvPr id="7" name="Content Placeholder 4"/>
          <p:cNvSpPr>
            <a:spLocks noGrp="1"/>
          </p:cNvSpPr>
          <p:nvPr>
            <p:ph sz="quarter" idx="16" hasCustomPrompt="1"/>
          </p:nvPr>
        </p:nvSpPr>
        <p:spPr>
          <a:xfrm>
            <a:off x="4114800" y="666750"/>
            <a:ext cx="2284000" cy="1752204"/>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8" name="Content Placeholder 4"/>
          <p:cNvSpPr>
            <a:spLocks noGrp="1"/>
          </p:cNvSpPr>
          <p:nvPr>
            <p:ph sz="quarter" idx="17" hasCustomPrompt="1"/>
          </p:nvPr>
        </p:nvSpPr>
        <p:spPr>
          <a:xfrm>
            <a:off x="4114801" y="133350"/>
            <a:ext cx="2283999" cy="381000"/>
          </a:xfrm>
        </p:spPr>
        <p:txBody>
          <a:bodyPr>
            <a:norm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8" hasCustomPrompt="1"/>
          </p:nvPr>
        </p:nvSpPr>
        <p:spPr>
          <a:xfrm>
            <a:off x="2745200" y="3181350"/>
            <a:ext cx="2284000" cy="1752204"/>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Content Placeholder 4"/>
          <p:cNvSpPr>
            <a:spLocks noGrp="1"/>
          </p:cNvSpPr>
          <p:nvPr>
            <p:ph sz="quarter" idx="19" hasCustomPrompt="1"/>
          </p:nvPr>
        </p:nvSpPr>
        <p:spPr>
          <a:xfrm>
            <a:off x="2745201" y="2647950"/>
            <a:ext cx="2283999" cy="381000"/>
          </a:xfrm>
        </p:spPr>
        <p:txBody>
          <a:bodyPr>
            <a:normAutofit/>
          </a:bodyPr>
          <a:lstStyle>
            <a:lvl1pPr marL="0" indent="0">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2" name="Title 2"/>
          <p:cNvSpPr>
            <a:spLocks noGrp="1"/>
          </p:cNvSpPr>
          <p:nvPr>
            <p:ph type="title"/>
          </p:nvPr>
        </p:nvSpPr>
        <p:spPr>
          <a:xfrm>
            <a:off x="228600" y="133348"/>
            <a:ext cx="3806000" cy="762001"/>
          </a:xfrm>
        </p:spPr>
        <p:txBody>
          <a:bodyPr/>
          <a:lstStyle>
            <a:lvl1pPr>
              <a:defRPr/>
            </a:lvl1pPr>
          </a:lstStyle>
          <a:p>
            <a:r>
              <a:rPr lang="en-US" smtClean="0"/>
              <a:t>Click to edit Master title style</a:t>
            </a:r>
            <a:endParaRPr lang="en-US" dirty="0"/>
          </a:p>
        </p:txBody>
      </p:sp>
      <p:cxnSp>
        <p:nvCxnSpPr>
          <p:cNvPr id="13" name="Straight Connector 12"/>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5" name="Picture Placeholder 14"/>
          <p:cNvSpPr>
            <a:spLocks noGrp="1"/>
          </p:cNvSpPr>
          <p:nvPr>
            <p:ph type="pic" sz="quarter" idx="20"/>
          </p:nvPr>
        </p:nvSpPr>
        <p:spPr>
          <a:xfrm>
            <a:off x="6553200" y="133348"/>
            <a:ext cx="2362612" cy="2281238"/>
          </a:xfrm>
          <a:prstGeom prst="snip1Rect">
            <a:avLst/>
          </a:prstGeom>
        </p:spPr>
        <p:txBody>
          <a:bodyPr/>
          <a:lstStyle>
            <a:lvl1pPr marL="0" indent="0">
              <a:buNone/>
              <a:defRPr/>
            </a:lvl1pPr>
          </a:lstStyle>
          <a:p>
            <a:r>
              <a:rPr lang="en-US" smtClean="0"/>
              <a:t>Click icon to add picture</a:t>
            </a:r>
            <a:endParaRPr lang="en-CA"/>
          </a:p>
        </p:txBody>
      </p:sp>
      <p:sp>
        <p:nvSpPr>
          <p:cNvPr id="16" name="Picture Placeholder 14"/>
          <p:cNvSpPr>
            <a:spLocks noGrp="1"/>
          </p:cNvSpPr>
          <p:nvPr>
            <p:ph type="pic" sz="quarter" idx="21"/>
          </p:nvPr>
        </p:nvSpPr>
        <p:spPr>
          <a:xfrm>
            <a:off x="228600" y="2647950"/>
            <a:ext cx="2362200" cy="2281238"/>
          </a:xfrm>
          <a:prstGeom prst="snip1Rect">
            <a:avLst/>
          </a:prstGeom>
        </p:spPr>
        <p:txBody>
          <a:bodyPr/>
          <a:lstStyle>
            <a:lvl1pPr marL="0" indent="0">
              <a:buNone/>
              <a:defRPr/>
            </a:lvl1pPr>
          </a:lstStyle>
          <a:p>
            <a:r>
              <a:rPr lang="en-US" smtClean="0"/>
              <a:t>Click icon to add picture</a:t>
            </a:r>
            <a:endParaRPr lang="en-CA"/>
          </a:p>
        </p:txBody>
      </p:sp>
      <p:sp>
        <p:nvSpPr>
          <p:cNvPr id="18" name="TextBox 17"/>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4" name="Straight Connector 1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7" name="TextBox 16"/>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4164908812"/>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84">
          <p15:clr>
            <a:srgbClr val="FBAE40"/>
          </p15:clr>
        </p15:guide>
        <p15:guide id="2" orient="horz" pos="3108">
          <p15:clr>
            <a:srgbClr val="FBAE40"/>
          </p15:clr>
        </p15:guide>
        <p15:guide id="3" pos="5616">
          <p15:clr>
            <a:srgbClr val="FBAE40"/>
          </p15:clr>
        </p15:guide>
        <p15:guide id="4" pos="144">
          <p15:clr>
            <a:srgbClr val="FBAE40"/>
          </p15:clr>
        </p15:guide>
        <p15:guide id="5" pos="3168">
          <p15:clr>
            <a:srgbClr val="FBAE40"/>
          </p15:clr>
        </p15:guide>
        <p15:guide id="6" orient="horz" pos="1668">
          <p15:clr>
            <a:srgbClr val="FBAE40"/>
          </p15:clr>
        </p15:guide>
        <p15:guide id="7" pos="4128">
          <p15:clr>
            <a:srgbClr val="FBAE40"/>
          </p15:clr>
        </p15:guide>
        <p15:guide id="8" pos="4032">
          <p15:clr>
            <a:srgbClr val="FBAE40"/>
          </p15:clr>
        </p15:guide>
        <p15:guide id="9" pos="1632">
          <p15:clr>
            <a:srgbClr val="FBAE40"/>
          </p15:clr>
        </p15:guide>
        <p15:guide id="10" pos="1728">
          <p15:clr>
            <a:srgbClr val="FBAE40"/>
          </p15:clr>
        </p15:guide>
        <p15:guide id="11" orient="horz" pos="1524">
          <p15:clr>
            <a:srgbClr val="FBAE40"/>
          </p15:clr>
        </p15:guide>
        <p15:guide id="12" pos="2592">
          <p15:clr>
            <a:srgbClr val="FBAE40"/>
          </p15:clr>
        </p15:guide>
        <p15:guide id="13" orient="horz" pos="2004">
          <p15:clr>
            <a:srgbClr val="FBAE40"/>
          </p15:clr>
        </p15:guide>
        <p15:guide id="14" orient="horz" pos="1908">
          <p15:clr>
            <a:srgbClr val="FBAE40"/>
          </p15:clr>
        </p15:guide>
        <p15:guide id="15" orient="horz" pos="324">
          <p15:clr>
            <a:srgbClr val="FBAE40"/>
          </p15:clr>
        </p15:guide>
        <p15:guide id="16" orient="horz" pos="4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ulti Image 5">
    <p:spTree>
      <p:nvGrpSpPr>
        <p:cNvPr id="1" name=""/>
        <p:cNvGrpSpPr/>
        <p:nvPr/>
      </p:nvGrpSpPr>
      <p:grpSpPr>
        <a:xfrm>
          <a:off x="0" y="0"/>
          <a:ext cx="0" cy="0"/>
          <a:chOff x="0" y="0"/>
          <a:chExt cx="0" cy="0"/>
        </a:xfrm>
      </p:grpSpPr>
      <p:sp>
        <p:nvSpPr>
          <p:cNvPr id="6"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5" hasCustomPrompt="1"/>
          </p:nvPr>
        </p:nvSpPr>
        <p:spPr>
          <a:xfrm>
            <a:off x="152399" y="1225640"/>
            <a:ext cx="2819401"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6" hasCustomPrompt="1"/>
          </p:nvPr>
        </p:nvSpPr>
        <p:spPr>
          <a:xfrm>
            <a:off x="6172201" y="1222763"/>
            <a:ext cx="2819400"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7" hasCustomPrompt="1"/>
          </p:nvPr>
        </p:nvSpPr>
        <p:spPr>
          <a:xfrm>
            <a:off x="3200400" y="1222763"/>
            <a:ext cx="2743200"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2" name="Picture Placeholder 11"/>
          <p:cNvSpPr>
            <a:spLocks noGrp="1"/>
          </p:cNvSpPr>
          <p:nvPr>
            <p:ph type="pic" sz="quarter" idx="18"/>
          </p:nvPr>
        </p:nvSpPr>
        <p:spPr>
          <a:xfrm>
            <a:off x="0" y="1727200"/>
            <a:ext cx="3074988" cy="3054350"/>
          </a:xfrm>
        </p:spPr>
        <p:txBody>
          <a:bodyPr/>
          <a:lstStyle>
            <a:lvl1pPr marL="0" indent="0">
              <a:buNone/>
              <a:defRPr/>
            </a:lvl1pPr>
          </a:lstStyle>
          <a:p>
            <a:r>
              <a:rPr lang="en-US" smtClean="0"/>
              <a:t>Click icon to add picture</a:t>
            </a:r>
            <a:endParaRPr lang="en-CA"/>
          </a:p>
        </p:txBody>
      </p:sp>
      <p:sp>
        <p:nvSpPr>
          <p:cNvPr id="14" name="Picture Placeholder 13"/>
          <p:cNvSpPr>
            <a:spLocks noGrp="1"/>
          </p:cNvSpPr>
          <p:nvPr>
            <p:ph type="pic" sz="quarter" idx="19"/>
          </p:nvPr>
        </p:nvSpPr>
        <p:spPr>
          <a:xfrm>
            <a:off x="6069013" y="1727200"/>
            <a:ext cx="3074987" cy="3054350"/>
          </a:xfrm>
        </p:spPr>
        <p:txBody>
          <a:bodyPr/>
          <a:lstStyle>
            <a:lvl1pPr marL="0" indent="0">
              <a:buNone/>
              <a:defRPr/>
            </a:lvl1pPr>
          </a:lstStyle>
          <a:p>
            <a:r>
              <a:rPr lang="en-US" smtClean="0"/>
              <a:t>Click icon to add picture</a:t>
            </a:r>
            <a:endParaRPr lang="en-CA"/>
          </a:p>
        </p:txBody>
      </p:sp>
      <p:sp>
        <p:nvSpPr>
          <p:cNvPr id="16" name="Picture Placeholder 15"/>
          <p:cNvSpPr>
            <a:spLocks noGrp="1"/>
          </p:cNvSpPr>
          <p:nvPr>
            <p:ph type="pic" sz="quarter" idx="20"/>
          </p:nvPr>
        </p:nvSpPr>
        <p:spPr>
          <a:xfrm>
            <a:off x="3074988" y="1727200"/>
            <a:ext cx="2994025" cy="3054350"/>
          </a:xfrm>
        </p:spPr>
        <p:txBody>
          <a:bodyPr/>
          <a:lstStyle>
            <a:lvl1pPr marL="0" indent="0">
              <a:buNone/>
              <a:defRPr/>
            </a:lvl1pPr>
          </a:lstStyle>
          <a:p>
            <a:r>
              <a:rPr lang="en-US" smtClean="0"/>
              <a:t>Click icon to add picture</a:t>
            </a:r>
            <a:endParaRPr lang="en-CA"/>
          </a:p>
        </p:txBody>
      </p:sp>
      <p:sp>
        <p:nvSpPr>
          <p:cNvPr id="15" name="TextBox 14"/>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1" name="Straight Connector 10"/>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3" name="TextBox 12"/>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2259012315"/>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Multi Image 6">
    <p:spTree>
      <p:nvGrpSpPr>
        <p:cNvPr id="1" name=""/>
        <p:cNvGrpSpPr/>
        <p:nvPr/>
      </p:nvGrpSpPr>
      <p:grpSpPr>
        <a:xfrm>
          <a:off x="0" y="0"/>
          <a:ext cx="0" cy="0"/>
          <a:chOff x="0" y="0"/>
          <a:chExt cx="0" cy="0"/>
        </a:xfrm>
      </p:grpSpPr>
      <p:sp>
        <p:nvSpPr>
          <p:cNvPr id="6" name="Content Placeholder 4"/>
          <p:cNvSpPr>
            <a:spLocks noGrp="1"/>
          </p:cNvSpPr>
          <p:nvPr>
            <p:ph sz="quarter" idx="15" hasCustomPrompt="1"/>
          </p:nvPr>
        </p:nvSpPr>
        <p:spPr>
          <a:xfrm>
            <a:off x="152399" y="3313134"/>
            <a:ext cx="2819401"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Content Placeholder 4"/>
          <p:cNvSpPr>
            <a:spLocks noGrp="1"/>
          </p:cNvSpPr>
          <p:nvPr>
            <p:ph sz="quarter" idx="16" hasCustomPrompt="1"/>
          </p:nvPr>
        </p:nvSpPr>
        <p:spPr>
          <a:xfrm>
            <a:off x="6172201" y="3310257"/>
            <a:ext cx="2819400"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8" name="Content Placeholder 4"/>
          <p:cNvSpPr>
            <a:spLocks noGrp="1"/>
          </p:cNvSpPr>
          <p:nvPr>
            <p:ph sz="quarter" idx="17" hasCustomPrompt="1"/>
          </p:nvPr>
        </p:nvSpPr>
        <p:spPr>
          <a:xfrm>
            <a:off x="3200400" y="3310257"/>
            <a:ext cx="2743200" cy="325416"/>
          </a:xfrm>
        </p:spPr>
        <p:txBody>
          <a:bodyPr>
            <a:noAutofit/>
          </a:bodyPr>
          <a:lstStyle>
            <a:lvl1pPr marL="0" indent="0" algn="ctr">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3" hasCustomPrompt="1"/>
          </p:nvPr>
        </p:nvSpPr>
        <p:spPr>
          <a:xfrm>
            <a:off x="152399" y="3790950"/>
            <a:ext cx="2819401" cy="11430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8" hasCustomPrompt="1"/>
          </p:nvPr>
        </p:nvSpPr>
        <p:spPr>
          <a:xfrm>
            <a:off x="3200401" y="3790950"/>
            <a:ext cx="2743200" cy="11430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Content Placeholder 4"/>
          <p:cNvSpPr>
            <a:spLocks noGrp="1"/>
          </p:cNvSpPr>
          <p:nvPr>
            <p:ph sz="quarter" idx="19" hasCustomPrompt="1"/>
          </p:nvPr>
        </p:nvSpPr>
        <p:spPr>
          <a:xfrm>
            <a:off x="6172201" y="3790950"/>
            <a:ext cx="2819400" cy="11430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3" name="Picture Placeholder 12"/>
          <p:cNvSpPr>
            <a:spLocks noGrp="1"/>
          </p:cNvSpPr>
          <p:nvPr>
            <p:ph type="pic" sz="quarter" idx="20"/>
          </p:nvPr>
        </p:nvSpPr>
        <p:spPr>
          <a:xfrm>
            <a:off x="0" y="1050625"/>
            <a:ext cx="3074988" cy="2076205"/>
          </a:xfrm>
        </p:spPr>
        <p:txBody>
          <a:bodyPr/>
          <a:lstStyle>
            <a:lvl1pPr marL="0" indent="0">
              <a:buNone/>
              <a:defRPr/>
            </a:lvl1pPr>
          </a:lstStyle>
          <a:p>
            <a:r>
              <a:rPr lang="en-US" smtClean="0"/>
              <a:t>Click icon to add picture</a:t>
            </a:r>
            <a:endParaRPr lang="en-CA"/>
          </a:p>
        </p:txBody>
      </p:sp>
      <p:sp>
        <p:nvSpPr>
          <p:cNvPr id="15" name="Picture Placeholder 14"/>
          <p:cNvSpPr>
            <a:spLocks noGrp="1"/>
          </p:cNvSpPr>
          <p:nvPr>
            <p:ph type="pic" sz="quarter" idx="21"/>
          </p:nvPr>
        </p:nvSpPr>
        <p:spPr>
          <a:xfrm>
            <a:off x="6069013" y="1050625"/>
            <a:ext cx="3074987" cy="2076205"/>
          </a:xfrm>
        </p:spPr>
        <p:txBody>
          <a:bodyPr/>
          <a:lstStyle>
            <a:lvl1pPr marL="0" indent="0">
              <a:buNone/>
              <a:defRPr/>
            </a:lvl1pPr>
          </a:lstStyle>
          <a:p>
            <a:r>
              <a:rPr lang="en-US" smtClean="0"/>
              <a:t>Click icon to add picture</a:t>
            </a:r>
            <a:endParaRPr lang="en-CA"/>
          </a:p>
        </p:txBody>
      </p:sp>
      <p:sp>
        <p:nvSpPr>
          <p:cNvPr id="17" name="Picture Placeholder 16"/>
          <p:cNvSpPr>
            <a:spLocks noGrp="1"/>
          </p:cNvSpPr>
          <p:nvPr>
            <p:ph type="pic" sz="quarter" idx="22"/>
          </p:nvPr>
        </p:nvSpPr>
        <p:spPr>
          <a:xfrm>
            <a:off x="3074988" y="1050625"/>
            <a:ext cx="2994025" cy="2076205"/>
          </a:xfrm>
        </p:spPr>
        <p:txBody>
          <a:bodyPr/>
          <a:lstStyle>
            <a:lvl1pPr marL="0" indent="0">
              <a:buNone/>
              <a:defRPr/>
            </a:lvl1pPr>
          </a:lstStyle>
          <a:p>
            <a:r>
              <a:rPr lang="en-US" smtClean="0"/>
              <a:t>Click icon to add picture</a:t>
            </a:r>
            <a:endParaRPr lang="en-CA"/>
          </a:p>
        </p:txBody>
      </p:sp>
      <p:sp>
        <p:nvSpPr>
          <p:cNvPr id="16" name="TextBox 15"/>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2"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4" name="Straight Connector 1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8" name="TextBox 17"/>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9" name="Straight Connector 18"/>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293588458"/>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Multi Icon">
    <p:spTree>
      <p:nvGrpSpPr>
        <p:cNvPr id="1" name=""/>
        <p:cNvGrpSpPr/>
        <p:nvPr/>
      </p:nvGrpSpPr>
      <p:grpSpPr>
        <a:xfrm>
          <a:off x="0" y="0"/>
          <a:ext cx="0" cy="0"/>
          <a:chOff x="0" y="0"/>
          <a:chExt cx="0" cy="0"/>
        </a:xfrm>
      </p:grpSpPr>
      <p:sp>
        <p:nvSpPr>
          <p:cNvPr id="21" name="Picture Placeholder 20"/>
          <p:cNvSpPr>
            <a:spLocks noGrp="1"/>
          </p:cNvSpPr>
          <p:nvPr>
            <p:ph type="pic" sz="quarter" idx="22"/>
          </p:nvPr>
        </p:nvSpPr>
        <p:spPr>
          <a:xfrm>
            <a:off x="0" y="1032748"/>
            <a:ext cx="9144000" cy="1615202"/>
          </a:xfrm>
        </p:spPr>
        <p:txBody>
          <a:bodyPr/>
          <a:lstStyle>
            <a:lvl1pPr marL="0" indent="0">
              <a:buNone/>
              <a:defRPr/>
            </a:lvl1pPr>
          </a:lstStyle>
          <a:p>
            <a:r>
              <a:rPr lang="en-US" smtClean="0"/>
              <a:t>Click icon to add picture</a:t>
            </a:r>
            <a:endParaRPr lang="en-CA" dirty="0"/>
          </a:p>
        </p:txBody>
      </p:sp>
      <p:sp>
        <p:nvSpPr>
          <p:cNvPr id="6" name="Content Placeholder 4"/>
          <p:cNvSpPr>
            <a:spLocks noGrp="1"/>
          </p:cNvSpPr>
          <p:nvPr>
            <p:ph sz="quarter" idx="13" hasCustomPrompt="1"/>
          </p:nvPr>
        </p:nvSpPr>
        <p:spPr>
          <a:xfrm>
            <a:off x="152400" y="3957650"/>
            <a:ext cx="1978029" cy="9763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7" name="Content Placeholder 4"/>
          <p:cNvSpPr>
            <a:spLocks noGrp="1"/>
          </p:cNvSpPr>
          <p:nvPr>
            <p:ph sz="quarter" idx="15" hasCustomPrompt="1"/>
          </p:nvPr>
        </p:nvSpPr>
        <p:spPr>
          <a:xfrm>
            <a:off x="152400" y="3492591"/>
            <a:ext cx="1978029" cy="325416"/>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6" hasCustomPrompt="1"/>
          </p:nvPr>
        </p:nvSpPr>
        <p:spPr>
          <a:xfrm>
            <a:off x="2438400" y="3957650"/>
            <a:ext cx="1978029" cy="9763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7" hasCustomPrompt="1"/>
          </p:nvPr>
        </p:nvSpPr>
        <p:spPr>
          <a:xfrm>
            <a:off x="2438400" y="3492591"/>
            <a:ext cx="1978029" cy="325416"/>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2" name="Content Placeholder 4"/>
          <p:cNvSpPr>
            <a:spLocks noGrp="1"/>
          </p:cNvSpPr>
          <p:nvPr>
            <p:ph sz="quarter" idx="18" hasCustomPrompt="1"/>
          </p:nvPr>
        </p:nvSpPr>
        <p:spPr>
          <a:xfrm>
            <a:off x="4724400" y="3951209"/>
            <a:ext cx="1978029" cy="9763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3" name="Content Placeholder 4"/>
          <p:cNvSpPr>
            <a:spLocks noGrp="1"/>
          </p:cNvSpPr>
          <p:nvPr>
            <p:ph sz="quarter" idx="19" hasCustomPrompt="1"/>
          </p:nvPr>
        </p:nvSpPr>
        <p:spPr>
          <a:xfrm>
            <a:off x="4724400" y="3486150"/>
            <a:ext cx="1978029" cy="325416"/>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5" name="Content Placeholder 4"/>
          <p:cNvSpPr>
            <a:spLocks noGrp="1"/>
          </p:cNvSpPr>
          <p:nvPr>
            <p:ph sz="quarter" idx="20" hasCustomPrompt="1"/>
          </p:nvPr>
        </p:nvSpPr>
        <p:spPr>
          <a:xfrm>
            <a:off x="7007111" y="3951209"/>
            <a:ext cx="1978029" cy="976300"/>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6" name="Content Placeholder 4"/>
          <p:cNvSpPr>
            <a:spLocks noGrp="1"/>
          </p:cNvSpPr>
          <p:nvPr>
            <p:ph sz="quarter" idx="21" hasCustomPrompt="1"/>
          </p:nvPr>
        </p:nvSpPr>
        <p:spPr>
          <a:xfrm>
            <a:off x="7007111" y="3486150"/>
            <a:ext cx="1978029" cy="325416"/>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2" name="Picture Placeholder 21"/>
          <p:cNvSpPr>
            <a:spLocks noGrp="1"/>
          </p:cNvSpPr>
          <p:nvPr>
            <p:ph type="pic" sz="quarter" idx="11" hasCustomPrompt="1"/>
          </p:nvPr>
        </p:nvSpPr>
        <p:spPr>
          <a:xfrm>
            <a:off x="152400" y="2814649"/>
            <a:ext cx="540543" cy="540543"/>
          </a:xfrm>
        </p:spPr>
        <p:txBody>
          <a:bodyPr>
            <a:normAutofit/>
          </a:bodyPr>
          <a:lstStyle>
            <a:lvl1pPr marL="0" indent="0">
              <a:buNone/>
              <a:defRPr sz="900"/>
            </a:lvl1pPr>
          </a:lstStyle>
          <a:p>
            <a:r>
              <a:rPr lang="en-US" dirty="0" smtClean="0"/>
              <a:t>icon</a:t>
            </a:r>
            <a:endParaRPr lang="en-CA" dirty="0"/>
          </a:p>
        </p:txBody>
      </p:sp>
      <p:sp>
        <p:nvSpPr>
          <p:cNvPr id="23" name="Picture Placeholder 21"/>
          <p:cNvSpPr>
            <a:spLocks noGrp="1"/>
          </p:cNvSpPr>
          <p:nvPr>
            <p:ph type="pic" sz="quarter" idx="23" hasCustomPrompt="1"/>
          </p:nvPr>
        </p:nvSpPr>
        <p:spPr>
          <a:xfrm>
            <a:off x="2438400" y="2814649"/>
            <a:ext cx="540543" cy="540543"/>
          </a:xfrm>
        </p:spPr>
        <p:txBody>
          <a:bodyPr>
            <a:normAutofit/>
          </a:bodyPr>
          <a:lstStyle>
            <a:lvl1pPr marL="0" indent="0">
              <a:buNone/>
              <a:defRPr sz="900"/>
            </a:lvl1pPr>
          </a:lstStyle>
          <a:p>
            <a:r>
              <a:rPr lang="en-US" dirty="0" smtClean="0"/>
              <a:t>icon</a:t>
            </a:r>
            <a:endParaRPr lang="en-CA" dirty="0"/>
          </a:p>
        </p:txBody>
      </p:sp>
      <p:sp>
        <p:nvSpPr>
          <p:cNvPr id="24" name="Picture Placeholder 21"/>
          <p:cNvSpPr>
            <a:spLocks noGrp="1"/>
          </p:cNvSpPr>
          <p:nvPr>
            <p:ph type="pic" sz="quarter" idx="24" hasCustomPrompt="1"/>
          </p:nvPr>
        </p:nvSpPr>
        <p:spPr>
          <a:xfrm>
            <a:off x="4724400" y="2814649"/>
            <a:ext cx="540543" cy="540543"/>
          </a:xfrm>
        </p:spPr>
        <p:txBody>
          <a:bodyPr>
            <a:normAutofit/>
          </a:bodyPr>
          <a:lstStyle>
            <a:lvl1pPr marL="0" indent="0">
              <a:buNone/>
              <a:defRPr sz="900"/>
            </a:lvl1pPr>
          </a:lstStyle>
          <a:p>
            <a:r>
              <a:rPr lang="en-US" dirty="0" smtClean="0"/>
              <a:t>icon</a:t>
            </a:r>
            <a:endParaRPr lang="en-CA" dirty="0"/>
          </a:p>
        </p:txBody>
      </p:sp>
      <p:sp>
        <p:nvSpPr>
          <p:cNvPr id="25" name="Picture Placeholder 21"/>
          <p:cNvSpPr>
            <a:spLocks noGrp="1"/>
          </p:cNvSpPr>
          <p:nvPr>
            <p:ph type="pic" sz="quarter" idx="25" hasCustomPrompt="1"/>
          </p:nvPr>
        </p:nvSpPr>
        <p:spPr>
          <a:xfrm>
            <a:off x="7007111" y="2814649"/>
            <a:ext cx="540543" cy="540543"/>
          </a:xfrm>
        </p:spPr>
        <p:txBody>
          <a:bodyPr>
            <a:normAutofit/>
          </a:bodyPr>
          <a:lstStyle>
            <a:lvl1pPr marL="0" indent="0">
              <a:buNone/>
              <a:defRPr sz="900"/>
            </a:lvl1pPr>
          </a:lstStyle>
          <a:p>
            <a:r>
              <a:rPr lang="en-US" dirty="0" smtClean="0"/>
              <a:t>icon</a:t>
            </a:r>
            <a:endParaRPr lang="en-CA" dirty="0"/>
          </a:p>
        </p:txBody>
      </p:sp>
      <p:sp>
        <p:nvSpPr>
          <p:cNvPr id="19" name="TextBox 1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7"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8" name="Straight Connector 17"/>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20" name="TextBox 19"/>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26" name="Straight Connector 2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7072564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Slide">
    <p:spTree>
      <p:nvGrpSpPr>
        <p:cNvPr id="1" name=""/>
        <p:cNvGrpSpPr/>
        <p:nvPr/>
      </p:nvGrpSpPr>
      <p:grpSpPr>
        <a:xfrm>
          <a:off x="0" y="0"/>
          <a:ext cx="0" cy="0"/>
          <a:chOff x="0" y="0"/>
          <a:chExt cx="0" cy="0"/>
        </a:xfrm>
      </p:grpSpPr>
      <p:sp>
        <p:nvSpPr>
          <p:cNvPr id="17" name="Rectangle 16"/>
          <p:cNvSpPr/>
          <p:nvPr userDrawn="1"/>
        </p:nvSpPr>
        <p:spPr>
          <a:xfrm>
            <a:off x="-2" y="4969792"/>
            <a:ext cx="7315200" cy="173708"/>
          </a:xfrm>
          <a:prstGeom prst="rect">
            <a:avLst/>
          </a:prstGeom>
          <a:solidFill>
            <a:srgbClr val="BBB0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itle 2"/>
          <p:cNvSpPr>
            <a:spLocks noGrp="1"/>
          </p:cNvSpPr>
          <p:nvPr>
            <p:ph type="title"/>
          </p:nvPr>
        </p:nvSpPr>
        <p:spPr>
          <a:xfrm>
            <a:off x="228600" y="-4762"/>
            <a:ext cx="7239000" cy="523874"/>
          </a:xfrm>
        </p:spPr>
        <p:txBody>
          <a:bodyPr/>
          <a:lstStyle>
            <a:lvl1pPr>
              <a:defRPr/>
            </a:lvl1pPr>
          </a:lstStyle>
          <a:p>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4238" y="143157"/>
            <a:ext cx="1370723" cy="243733"/>
          </a:xfrm>
          <a:prstGeom prst="rect">
            <a:avLst/>
          </a:prstGeom>
        </p:spPr>
      </p:pic>
      <p:cxnSp>
        <p:nvCxnSpPr>
          <p:cNvPr id="15" name="Straight Connector 14"/>
          <p:cNvCxnSpPr/>
          <p:nvPr userDrawn="1"/>
        </p:nvCxnSpPr>
        <p:spPr>
          <a:xfrm>
            <a:off x="304800" y="523874"/>
            <a:ext cx="8610602" cy="0"/>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7559176" y="4944665"/>
            <a:ext cx="1355785" cy="230832"/>
          </a:xfrm>
          <a:prstGeom prst="rect">
            <a:avLst/>
          </a:prstGeom>
          <a:noFill/>
        </p:spPr>
        <p:txBody>
          <a:bodyPr wrap="square" rtlCol="0">
            <a:spAutoFit/>
          </a:bodyPr>
          <a:lstStyle/>
          <a:p>
            <a:r>
              <a:rPr lang="en-CA" sz="900" dirty="0" smtClean="0">
                <a:solidFill>
                  <a:srgbClr val="404040"/>
                </a:solidFill>
                <a:latin typeface="Arial Narrow" panose="020B0606020202030204" pitchFamily="34" charset="0"/>
              </a:rPr>
              <a:t>© Linamar Corporation</a:t>
            </a:r>
            <a:endParaRPr lang="en-CA" sz="900" dirty="0">
              <a:solidFill>
                <a:srgbClr val="404040"/>
              </a:solidFill>
              <a:latin typeface="Arial Narrow" panose="020B0606020202030204" pitchFamily="34" charset="0"/>
            </a:endParaRPr>
          </a:p>
        </p:txBody>
      </p:sp>
      <p:sp>
        <p:nvSpPr>
          <p:cNvPr id="21" name="TextBox 20"/>
          <p:cNvSpPr txBox="1"/>
          <p:nvPr userDrawn="1"/>
        </p:nvSpPr>
        <p:spPr>
          <a:xfrm>
            <a:off x="8748024" y="4939978"/>
            <a:ext cx="457200" cy="230832"/>
          </a:xfrm>
          <a:prstGeom prst="rect">
            <a:avLst/>
          </a:prstGeom>
          <a:noFill/>
        </p:spPr>
        <p:txBody>
          <a:bodyPr wrap="square" rtlCol="0">
            <a:spAutoFit/>
          </a:bodyPr>
          <a:lstStyle/>
          <a:p>
            <a:pPr algn="ctr"/>
            <a:fld id="{C5E48551-6F78-4B9C-807B-D0DFD8E31CE1}" type="slidenum">
              <a:rPr lang="en-CA" sz="900" smtClean="0">
                <a:solidFill>
                  <a:srgbClr val="404040"/>
                </a:solidFill>
                <a:latin typeface="Arial Narrow" panose="020B0606020202030204" pitchFamily="34" charset="0"/>
              </a:rPr>
              <a:pPr algn="ctr"/>
              <a:t>‹#›</a:t>
            </a:fld>
            <a:endParaRPr lang="en-CA" sz="1050" dirty="0">
              <a:solidFill>
                <a:srgbClr val="404040"/>
              </a:solidFill>
              <a:latin typeface="Arial Narrow" panose="020B0606020202030204" pitchFamily="34" charset="0"/>
            </a:endParaRPr>
          </a:p>
        </p:txBody>
      </p:sp>
      <p:sp>
        <p:nvSpPr>
          <p:cNvPr id="22" name="Right Triangle 21"/>
          <p:cNvSpPr/>
          <p:nvPr userDrawn="1"/>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3" name="Straight Connector 22"/>
          <p:cNvCxnSpPr/>
          <p:nvPr userDrawn="1"/>
        </p:nvCxnSpPr>
        <p:spPr>
          <a:xfrm flipV="1">
            <a:off x="-2" y="4966634"/>
            <a:ext cx="9144002" cy="3158"/>
          </a:xfrm>
          <a:prstGeom prst="line">
            <a:avLst/>
          </a:prstGeom>
          <a:ln w="9525">
            <a:solidFill>
              <a:srgbClr val="BBB0A6"/>
            </a:solidFill>
          </a:ln>
        </p:spPr>
        <p:style>
          <a:lnRef idx="1">
            <a:schemeClr val="accent1"/>
          </a:lnRef>
          <a:fillRef idx="0">
            <a:schemeClr val="accent1"/>
          </a:fillRef>
          <a:effectRef idx="0">
            <a:schemeClr val="accent1"/>
          </a:effectRef>
          <a:fontRef idx="minor">
            <a:schemeClr val="tx1"/>
          </a:fontRef>
        </p:style>
      </p:cxnSp>
      <p:sp>
        <p:nvSpPr>
          <p:cNvPr id="5" name="Content Placeholder 4"/>
          <p:cNvSpPr>
            <a:spLocks noGrp="1"/>
          </p:cNvSpPr>
          <p:nvPr>
            <p:ph sz="quarter" idx="10"/>
          </p:nvPr>
        </p:nvSpPr>
        <p:spPr>
          <a:xfrm>
            <a:off x="250884" y="742950"/>
            <a:ext cx="8664517" cy="3886200"/>
          </a:xfrm>
        </p:spPr>
        <p:txBody>
          <a:bodyPr/>
          <a:lstStyle>
            <a:lvl1pPr marL="342900" indent="-342900">
              <a:buClr>
                <a:schemeClr val="tx2"/>
              </a:buClr>
              <a:buFont typeface="Wingdings" panose="05000000000000000000" pitchFamily="2" charset="2"/>
              <a:buChar char="§"/>
              <a:defRPr>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Tree>
    <p:extLst>
      <p:ext uri="{BB962C8B-B14F-4D97-AF65-F5344CB8AC3E}">
        <p14:creationId xmlns:p14="http://schemas.microsoft.com/office/powerpoint/2010/main" val="10123267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19" name="Picture Placeholder 7"/>
          <p:cNvSpPr>
            <a:spLocks noGrp="1"/>
          </p:cNvSpPr>
          <p:nvPr>
            <p:ph type="pic" sz="quarter" idx="21"/>
          </p:nvPr>
        </p:nvSpPr>
        <p:spPr>
          <a:xfrm>
            <a:off x="0" y="1062003"/>
            <a:ext cx="2274480" cy="895350"/>
          </a:xfrm>
        </p:spPr>
        <p:txBody>
          <a:bodyPr/>
          <a:lstStyle/>
          <a:p>
            <a:r>
              <a:rPr lang="en-US" smtClean="0"/>
              <a:t>Click icon to add picture</a:t>
            </a:r>
            <a:endParaRPr lang="en-CA"/>
          </a:p>
        </p:txBody>
      </p:sp>
      <p:sp>
        <p:nvSpPr>
          <p:cNvPr id="21" name="Picture Placeholder 7"/>
          <p:cNvSpPr>
            <a:spLocks noGrp="1"/>
          </p:cNvSpPr>
          <p:nvPr>
            <p:ph type="pic" sz="quarter" idx="22"/>
          </p:nvPr>
        </p:nvSpPr>
        <p:spPr>
          <a:xfrm>
            <a:off x="2297520" y="1062003"/>
            <a:ext cx="2274480" cy="895350"/>
          </a:xfrm>
        </p:spPr>
        <p:txBody>
          <a:bodyPr/>
          <a:lstStyle/>
          <a:p>
            <a:r>
              <a:rPr lang="en-US" smtClean="0"/>
              <a:t>Click icon to add picture</a:t>
            </a:r>
            <a:endParaRPr lang="en-CA"/>
          </a:p>
        </p:txBody>
      </p:sp>
      <p:sp>
        <p:nvSpPr>
          <p:cNvPr id="22" name="Picture Placeholder 7"/>
          <p:cNvSpPr>
            <a:spLocks noGrp="1"/>
          </p:cNvSpPr>
          <p:nvPr>
            <p:ph type="pic" sz="quarter" idx="23"/>
          </p:nvPr>
        </p:nvSpPr>
        <p:spPr>
          <a:xfrm>
            <a:off x="4595040" y="1062003"/>
            <a:ext cx="2274480" cy="895350"/>
          </a:xfrm>
        </p:spPr>
        <p:txBody>
          <a:bodyPr/>
          <a:lstStyle/>
          <a:p>
            <a:r>
              <a:rPr lang="en-US" smtClean="0"/>
              <a:t>Click icon to add picture</a:t>
            </a:r>
            <a:endParaRPr lang="en-CA"/>
          </a:p>
        </p:txBody>
      </p:sp>
      <p:sp>
        <p:nvSpPr>
          <p:cNvPr id="23" name="Picture Placeholder 7"/>
          <p:cNvSpPr>
            <a:spLocks noGrp="1"/>
          </p:cNvSpPr>
          <p:nvPr>
            <p:ph type="pic" sz="quarter" idx="24"/>
          </p:nvPr>
        </p:nvSpPr>
        <p:spPr>
          <a:xfrm>
            <a:off x="6869520" y="1062003"/>
            <a:ext cx="2274480" cy="895350"/>
          </a:xfrm>
        </p:spPr>
        <p:txBody>
          <a:bodyPr/>
          <a:lstStyle/>
          <a:p>
            <a:r>
              <a:rPr lang="en-US" smtClean="0"/>
              <a:t>Click icon to add picture</a:t>
            </a:r>
            <a:endParaRPr lang="en-CA"/>
          </a:p>
        </p:txBody>
      </p:sp>
      <p:sp>
        <p:nvSpPr>
          <p:cNvPr id="24" name="Content Placeholder 4"/>
          <p:cNvSpPr>
            <a:spLocks noGrp="1"/>
          </p:cNvSpPr>
          <p:nvPr>
            <p:ph sz="quarter" idx="13" hasCustomPrompt="1"/>
          </p:nvPr>
        </p:nvSpPr>
        <p:spPr>
          <a:xfrm>
            <a:off x="152400" y="2574811"/>
            <a:ext cx="2057400" cy="2344732"/>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5" name="Content Placeholder 4"/>
          <p:cNvSpPr>
            <a:spLocks noGrp="1"/>
          </p:cNvSpPr>
          <p:nvPr>
            <p:ph sz="quarter" idx="15" hasCustomPrompt="1"/>
          </p:nvPr>
        </p:nvSpPr>
        <p:spPr>
          <a:xfrm>
            <a:off x="152400" y="2109753"/>
            <a:ext cx="2057400" cy="304800"/>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6" name="Content Placeholder 4"/>
          <p:cNvSpPr>
            <a:spLocks noGrp="1"/>
          </p:cNvSpPr>
          <p:nvPr>
            <p:ph sz="quarter" idx="25" hasCustomPrompt="1"/>
          </p:nvPr>
        </p:nvSpPr>
        <p:spPr>
          <a:xfrm>
            <a:off x="2362200" y="2574811"/>
            <a:ext cx="2133599" cy="2344732"/>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7" name="Content Placeholder 4"/>
          <p:cNvSpPr>
            <a:spLocks noGrp="1"/>
          </p:cNvSpPr>
          <p:nvPr>
            <p:ph sz="quarter" idx="26" hasCustomPrompt="1"/>
          </p:nvPr>
        </p:nvSpPr>
        <p:spPr>
          <a:xfrm>
            <a:off x="2362200" y="2109753"/>
            <a:ext cx="2133599" cy="304800"/>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8" name="Content Placeholder 4"/>
          <p:cNvSpPr>
            <a:spLocks noGrp="1"/>
          </p:cNvSpPr>
          <p:nvPr>
            <p:ph sz="quarter" idx="27" hasCustomPrompt="1"/>
          </p:nvPr>
        </p:nvSpPr>
        <p:spPr>
          <a:xfrm>
            <a:off x="4648200" y="2570014"/>
            <a:ext cx="2133600" cy="2344732"/>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29" name="Content Placeholder 4"/>
          <p:cNvSpPr>
            <a:spLocks noGrp="1"/>
          </p:cNvSpPr>
          <p:nvPr>
            <p:ph sz="quarter" idx="28" hasCustomPrompt="1"/>
          </p:nvPr>
        </p:nvSpPr>
        <p:spPr>
          <a:xfrm>
            <a:off x="4648200" y="2104956"/>
            <a:ext cx="2133600" cy="304800"/>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0" name="Content Placeholder 4"/>
          <p:cNvSpPr>
            <a:spLocks noGrp="1"/>
          </p:cNvSpPr>
          <p:nvPr>
            <p:ph sz="quarter" idx="29" hasCustomPrompt="1"/>
          </p:nvPr>
        </p:nvSpPr>
        <p:spPr>
          <a:xfrm>
            <a:off x="6934200" y="2566999"/>
            <a:ext cx="2047651" cy="2344732"/>
          </a:xfrm>
        </p:spPr>
        <p:txBody>
          <a:bodyPr>
            <a:normAutofit/>
          </a:bodyPr>
          <a:lstStyle>
            <a:lvl1pPr marL="0" indent="0">
              <a:buClr>
                <a:schemeClr val="tx2"/>
              </a:buClr>
              <a:buFont typeface="Wingdings" panose="05000000000000000000" pitchFamily="2" charset="2"/>
              <a:buNone/>
              <a:defRPr sz="14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31" name="Content Placeholder 4"/>
          <p:cNvSpPr>
            <a:spLocks noGrp="1"/>
          </p:cNvSpPr>
          <p:nvPr>
            <p:ph sz="quarter" idx="30" hasCustomPrompt="1"/>
          </p:nvPr>
        </p:nvSpPr>
        <p:spPr>
          <a:xfrm>
            <a:off x="6934200" y="2101941"/>
            <a:ext cx="2047651" cy="304800"/>
          </a:xfrm>
        </p:spPr>
        <p:txBody>
          <a:bodyPr>
            <a:noAutofit/>
          </a:bodyPr>
          <a:lstStyle>
            <a:lvl1pPr marL="0" indent="0" algn="l">
              <a:buClr>
                <a:schemeClr val="tx2"/>
              </a:buClr>
              <a:buFont typeface="Wingdings" panose="05000000000000000000" pitchFamily="2" charset="2"/>
              <a:buNone/>
              <a:defRPr sz="1800" baseline="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6" name="TextBox 15"/>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5"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7" name="Straight Connector 16"/>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8" name="TextBox 17"/>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20" name="Straight Connector 19"/>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6253338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96">
          <p15:clr>
            <a:srgbClr val="FBAE40"/>
          </p15:clr>
        </p15:guide>
        <p15:guide id="2" pos="5664">
          <p15:clr>
            <a:srgbClr val="FBAE40"/>
          </p15:clr>
        </p15:guide>
        <p15:guide id="3" pos="4368">
          <p15:clr>
            <a:srgbClr val="FBAE40"/>
          </p15:clr>
        </p15:guide>
        <p15:guide id="4" pos="4272">
          <p15:clr>
            <a:srgbClr val="FBAE40"/>
          </p15:clr>
        </p15:guide>
        <p15:guide id="5" pos="2928">
          <p15:clr>
            <a:srgbClr val="FBAE40"/>
          </p15:clr>
        </p15:guide>
        <p15:guide id="6" pos="2832">
          <p15:clr>
            <a:srgbClr val="FBAE40"/>
          </p15:clr>
        </p15:guide>
        <p15:guide id="7" pos="1488">
          <p15:clr>
            <a:srgbClr val="FBAE40"/>
          </p15:clr>
        </p15:guide>
        <p15:guide id="8" pos="1392">
          <p15:clr>
            <a:srgbClr val="FBAE40"/>
          </p15:clr>
        </p15:guide>
        <p15:guide id="9" orient="horz" pos="564">
          <p15:clr>
            <a:srgbClr val="FBAE40"/>
          </p15:clr>
        </p15:guide>
        <p15:guide id="10" orient="horz" pos="660">
          <p15:clr>
            <a:srgbClr val="FBAE40"/>
          </p15:clr>
        </p15:guide>
        <p15:guide id="11" orient="horz" pos="852">
          <p15:clr>
            <a:srgbClr val="FBAE40"/>
          </p15:clr>
        </p15:guide>
        <p15:guide id="12" orient="horz" pos="948">
          <p15:clr>
            <a:srgbClr val="FBAE40"/>
          </p15:clr>
        </p15:guide>
        <p15:guide id="13" pos="5760">
          <p15:clr>
            <a:srgbClr val="FBAE40"/>
          </p15:clr>
        </p15:guide>
        <p15:guide id="14" orient="horz" pos="31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Multi Text">
    <p:spTree>
      <p:nvGrpSpPr>
        <p:cNvPr id="1" name=""/>
        <p:cNvGrpSpPr/>
        <p:nvPr/>
      </p:nvGrpSpPr>
      <p:grpSpPr>
        <a:xfrm>
          <a:off x="0" y="0"/>
          <a:ext cx="0" cy="0"/>
          <a:chOff x="0" y="0"/>
          <a:chExt cx="0" cy="0"/>
        </a:xfrm>
      </p:grpSpPr>
      <p:sp>
        <p:nvSpPr>
          <p:cNvPr id="4" name="Title 2"/>
          <p:cNvSpPr>
            <a:spLocks noGrp="1"/>
          </p:cNvSpPr>
          <p:nvPr>
            <p:ph type="title"/>
          </p:nvPr>
        </p:nvSpPr>
        <p:spPr>
          <a:xfrm>
            <a:off x="228600" y="171449"/>
            <a:ext cx="4267200" cy="838201"/>
          </a:xfrm>
        </p:spPr>
        <p:txBody>
          <a:bodyPr/>
          <a:lstStyle>
            <a:lvl1pPr>
              <a:defRPr/>
            </a:lvl1pPr>
          </a:lstStyle>
          <a:p>
            <a:r>
              <a:rPr lang="en-US" smtClean="0"/>
              <a:t>Click to edit Master title style</a:t>
            </a:r>
            <a:endParaRPr lang="en-US" dirty="0"/>
          </a:p>
        </p:txBody>
      </p:sp>
      <p:cxnSp>
        <p:nvCxnSpPr>
          <p:cNvPr id="5" name="Straight Connector 4"/>
          <p:cNvCxnSpPr/>
          <p:nvPr/>
        </p:nvCxnSpPr>
        <p:spPr>
          <a:xfrm>
            <a:off x="228600" y="20772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8" name="Content Placeholder 4"/>
          <p:cNvSpPr>
            <a:spLocks noGrp="1"/>
          </p:cNvSpPr>
          <p:nvPr>
            <p:ph sz="quarter" idx="16" hasCustomPrompt="1"/>
          </p:nvPr>
        </p:nvSpPr>
        <p:spPr>
          <a:xfrm>
            <a:off x="6932553" y="1504949"/>
            <a:ext cx="2057400" cy="1447802"/>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7" hasCustomPrompt="1"/>
          </p:nvPr>
        </p:nvSpPr>
        <p:spPr>
          <a:xfrm>
            <a:off x="6940411" y="1050997"/>
            <a:ext cx="2057400" cy="301553"/>
          </a:xfrm>
        </p:spPr>
        <p:txBody>
          <a:bodyPr>
            <a:noAutofit/>
          </a:bodyPr>
          <a:lstStyle>
            <a:lvl1pPr marL="0" indent="0">
              <a:buClr>
                <a:schemeClr val="tx2"/>
              </a:buClr>
              <a:buFont typeface="Wingdings" panose="05000000000000000000" pitchFamily="2" charset="2"/>
              <a:buNone/>
              <a:defRPr lang="en-CA" sz="16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8" hasCustomPrompt="1"/>
          </p:nvPr>
        </p:nvSpPr>
        <p:spPr>
          <a:xfrm>
            <a:off x="4645458" y="1504948"/>
            <a:ext cx="2136341" cy="1447803"/>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Content Placeholder 4"/>
          <p:cNvSpPr>
            <a:spLocks noGrp="1"/>
          </p:cNvSpPr>
          <p:nvPr>
            <p:ph sz="quarter" idx="19" hasCustomPrompt="1"/>
          </p:nvPr>
        </p:nvSpPr>
        <p:spPr>
          <a:xfrm>
            <a:off x="4648199" y="1047750"/>
            <a:ext cx="2136341" cy="304800"/>
          </a:xfrm>
        </p:spPr>
        <p:txBody>
          <a:bodyPr>
            <a:noAutofit/>
          </a:bodyPr>
          <a:lstStyle>
            <a:lvl1pPr marL="0" indent="0">
              <a:buClr>
                <a:schemeClr val="tx2"/>
              </a:buClr>
              <a:buFont typeface="Wingdings" panose="05000000000000000000" pitchFamily="2" charset="2"/>
              <a:buNone/>
              <a:defRPr lang="en-CA" sz="18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3" name="Picture Placeholder 12"/>
          <p:cNvSpPr>
            <a:spLocks noGrp="1"/>
          </p:cNvSpPr>
          <p:nvPr>
            <p:ph type="pic" sz="quarter" idx="20"/>
          </p:nvPr>
        </p:nvSpPr>
        <p:spPr>
          <a:xfrm>
            <a:off x="228600" y="1046445"/>
            <a:ext cx="4267200" cy="3952874"/>
          </a:xfrm>
        </p:spPr>
        <p:txBody>
          <a:bodyPr/>
          <a:lstStyle>
            <a:lvl1pPr marL="0" indent="0">
              <a:buNone/>
              <a:defRPr/>
            </a:lvl1pPr>
          </a:lstStyle>
          <a:p>
            <a:r>
              <a:rPr lang="en-US" smtClean="0"/>
              <a:t>Click icon to add picture</a:t>
            </a:r>
            <a:endParaRPr lang="en-CA"/>
          </a:p>
        </p:txBody>
      </p:sp>
      <p:sp>
        <p:nvSpPr>
          <p:cNvPr id="15" name="TextBox 14"/>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2" name="Content Placeholder 4"/>
          <p:cNvSpPr>
            <a:spLocks noGrp="1"/>
          </p:cNvSpPr>
          <p:nvPr>
            <p:ph sz="quarter" idx="21" hasCustomPrompt="1"/>
          </p:nvPr>
        </p:nvSpPr>
        <p:spPr>
          <a:xfrm>
            <a:off x="6929812" y="3562349"/>
            <a:ext cx="2057400" cy="1447802"/>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4" name="Content Placeholder 4"/>
          <p:cNvSpPr>
            <a:spLocks noGrp="1"/>
          </p:cNvSpPr>
          <p:nvPr>
            <p:ph sz="quarter" idx="22" hasCustomPrompt="1"/>
          </p:nvPr>
        </p:nvSpPr>
        <p:spPr>
          <a:xfrm>
            <a:off x="6937670" y="3108397"/>
            <a:ext cx="2057400" cy="301553"/>
          </a:xfrm>
        </p:spPr>
        <p:txBody>
          <a:bodyPr>
            <a:noAutofit/>
          </a:bodyPr>
          <a:lstStyle>
            <a:lvl1pPr marL="0" indent="0">
              <a:buClr>
                <a:schemeClr val="tx2"/>
              </a:buClr>
              <a:buFont typeface="Wingdings" panose="05000000000000000000" pitchFamily="2" charset="2"/>
              <a:buNone/>
              <a:defRPr lang="en-CA" sz="16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6" name="Content Placeholder 4"/>
          <p:cNvSpPr>
            <a:spLocks noGrp="1"/>
          </p:cNvSpPr>
          <p:nvPr>
            <p:ph sz="quarter" idx="23" hasCustomPrompt="1"/>
          </p:nvPr>
        </p:nvSpPr>
        <p:spPr>
          <a:xfrm>
            <a:off x="4642717" y="3562348"/>
            <a:ext cx="2136341" cy="1447803"/>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7" name="Content Placeholder 4"/>
          <p:cNvSpPr>
            <a:spLocks noGrp="1"/>
          </p:cNvSpPr>
          <p:nvPr>
            <p:ph sz="quarter" idx="24" hasCustomPrompt="1"/>
          </p:nvPr>
        </p:nvSpPr>
        <p:spPr>
          <a:xfrm>
            <a:off x="4645458" y="3105150"/>
            <a:ext cx="2136341" cy="304800"/>
          </a:xfrm>
        </p:spPr>
        <p:txBody>
          <a:bodyPr>
            <a:noAutofit/>
          </a:bodyPr>
          <a:lstStyle>
            <a:lvl1pPr marL="0" indent="0">
              <a:buClr>
                <a:schemeClr val="tx2"/>
              </a:buClr>
              <a:buFont typeface="Wingdings" panose="05000000000000000000" pitchFamily="2" charset="2"/>
              <a:buNone/>
              <a:defRPr lang="en-CA" sz="18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cxnSp>
        <p:nvCxnSpPr>
          <p:cNvPr id="18" name="Straight Connector 17"/>
          <p:cNvCxnSpPr/>
          <p:nvPr/>
        </p:nvCxnSpPr>
        <p:spPr>
          <a:xfrm>
            <a:off x="228600" y="207721"/>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9" name="TextBox 1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96103122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32">
          <p15:clr>
            <a:srgbClr val="FBAE40"/>
          </p15:clr>
        </p15:guide>
        <p15:guide id="2" orient="horz" pos="612">
          <p15:clr>
            <a:srgbClr val="FBAE40"/>
          </p15:clr>
        </p15:guide>
        <p15:guide id="3" orient="horz" pos="660">
          <p15:clr>
            <a:srgbClr val="FBAE40"/>
          </p15:clr>
        </p15:guide>
        <p15:guide id="4" pos="2928">
          <p15:clr>
            <a:srgbClr val="FBAE40"/>
          </p15:clr>
        </p15:guide>
        <p15:guide id="5" pos="2832">
          <p15:clr>
            <a:srgbClr val="FBAE40"/>
          </p15:clr>
        </p15:guide>
        <p15:guide id="6" pos="5664">
          <p15:clr>
            <a:srgbClr val="FBAE40"/>
          </p15:clr>
        </p15:guide>
        <p15:guide id="7" pos="144">
          <p15:clr>
            <a:srgbClr val="FBAE40"/>
          </p15:clr>
        </p15:guide>
        <p15:guide id="8" orient="horz" pos="3156">
          <p15:clr>
            <a:srgbClr val="FBAE40"/>
          </p15:clr>
        </p15:guide>
        <p15:guide id="9" orient="horz" pos="852">
          <p15:clr>
            <a:srgbClr val="FBAE40"/>
          </p15:clr>
        </p15:guide>
        <p15:guide id="10" orient="horz" pos="948">
          <p15:clr>
            <a:srgbClr val="FBAE40"/>
          </p15:clr>
        </p15:guide>
        <p15:guide id="11" orient="horz" pos="1956">
          <p15:clr>
            <a:srgbClr val="FBAE40"/>
          </p15:clr>
        </p15:guide>
        <p15:guide id="12" orient="horz" pos="1860">
          <p15:clr>
            <a:srgbClr val="FBAE40"/>
          </p15:clr>
        </p15:guide>
        <p15:guide id="13" orient="horz" pos="2148">
          <p15:clr>
            <a:srgbClr val="FBAE40"/>
          </p15:clr>
        </p15:guide>
        <p15:guide id="14" pos="4272">
          <p15:clr>
            <a:srgbClr val="FBAE40"/>
          </p15:clr>
        </p15:guide>
        <p15:guide id="15" pos="4368">
          <p15:clr>
            <a:srgbClr val="FBAE40"/>
          </p15:clr>
        </p15:guide>
        <p15:guide id="16" orient="horz" pos="224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Multi Text">
    <p:spTree>
      <p:nvGrpSpPr>
        <p:cNvPr id="1" name=""/>
        <p:cNvGrpSpPr/>
        <p:nvPr/>
      </p:nvGrpSpPr>
      <p:grpSpPr>
        <a:xfrm>
          <a:off x="0" y="0"/>
          <a:ext cx="0" cy="0"/>
          <a:chOff x="0" y="0"/>
          <a:chExt cx="0" cy="0"/>
        </a:xfrm>
      </p:grpSpPr>
      <p:sp>
        <p:nvSpPr>
          <p:cNvPr id="8" name="Content Placeholder 4"/>
          <p:cNvSpPr>
            <a:spLocks noGrp="1"/>
          </p:cNvSpPr>
          <p:nvPr>
            <p:ph sz="quarter" idx="16" hasCustomPrompt="1"/>
          </p:nvPr>
        </p:nvSpPr>
        <p:spPr>
          <a:xfrm>
            <a:off x="6940678" y="1504949"/>
            <a:ext cx="1980646" cy="3505199"/>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Content Placeholder 4"/>
          <p:cNvSpPr>
            <a:spLocks noGrp="1"/>
          </p:cNvSpPr>
          <p:nvPr>
            <p:ph sz="quarter" idx="17" hasCustomPrompt="1"/>
          </p:nvPr>
        </p:nvSpPr>
        <p:spPr>
          <a:xfrm>
            <a:off x="6948536" y="1050998"/>
            <a:ext cx="1980646" cy="301553"/>
          </a:xfrm>
        </p:spPr>
        <p:txBody>
          <a:bodyPr>
            <a:noAutofit/>
          </a:bodyPr>
          <a:lstStyle>
            <a:lvl1pPr marL="0" indent="0">
              <a:buClr>
                <a:schemeClr val="tx2"/>
              </a:buClr>
              <a:buFont typeface="Wingdings" panose="05000000000000000000" pitchFamily="2" charset="2"/>
              <a:buNone/>
              <a:defRPr lang="en-CA" sz="16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0" name="Content Placeholder 4"/>
          <p:cNvSpPr>
            <a:spLocks noGrp="1"/>
          </p:cNvSpPr>
          <p:nvPr>
            <p:ph sz="quarter" idx="18" hasCustomPrompt="1"/>
          </p:nvPr>
        </p:nvSpPr>
        <p:spPr>
          <a:xfrm>
            <a:off x="4721659" y="1504948"/>
            <a:ext cx="2062882" cy="3505200"/>
          </a:xfrm>
        </p:spPr>
        <p:txBody>
          <a:bodyPr>
            <a:normAutofit/>
          </a:bodyPr>
          <a:lstStyle>
            <a:lvl1pPr marL="0" indent="0">
              <a:buClr>
                <a:schemeClr val="tx2"/>
              </a:buClr>
              <a:buFont typeface="Wingdings" panose="05000000000000000000" pitchFamily="2" charset="2"/>
              <a:buNone/>
              <a:defRPr lang="en-CA" sz="1400" dirty="0"/>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1" name="Content Placeholder 4"/>
          <p:cNvSpPr>
            <a:spLocks noGrp="1"/>
          </p:cNvSpPr>
          <p:nvPr>
            <p:ph sz="quarter" idx="19" hasCustomPrompt="1"/>
          </p:nvPr>
        </p:nvSpPr>
        <p:spPr>
          <a:xfrm>
            <a:off x="4724400" y="1047750"/>
            <a:ext cx="2062882" cy="304800"/>
          </a:xfrm>
        </p:spPr>
        <p:txBody>
          <a:bodyPr>
            <a:noAutofit/>
          </a:bodyPr>
          <a:lstStyle>
            <a:lvl1pPr marL="0" indent="0">
              <a:buClr>
                <a:schemeClr val="tx2"/>
              </a:buClr>
              <a:buFont typeface="Wingdings" panose="05000000000000000000" pitchFamily="2" charset="2"/>
              <a:buNone/>
              <a:defRPr lang="en-CA" sz="1800" dirty="0">
                <a:solidFill>
                  <a:srgbClr val="BBB0A6"/>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13" name="Picture Placeholder 12"/>
          <p:cNvSpPr>
            <a:spLocks noGrp="1"/>
          </p:cNvSpPr>
          <p:nvPr>
            <p:ph type="pic" sz="quarter" idx="20"/>
          </p:nvPr>
        </p:nvSpPr>
        <p:spPr>
          <a:xfrm>
            <a:off x="228600" y="1047750"/>
            <a:ext cx="4336270" cy="3952874"/>
          </a:xfrm>
        </p:spPr>
        <p:txBody>
          <a:bodyPr/>
          <a:lstStyle>
            <a:lvl1pPr marL="0" indent="0">
              <a:buNone/>
              <a:defRPr/>
            </a:lvl1pPr>
          </a:lstStyle>
          <a:p>
            <a:r>
              <a:rPr lang="en-US" smtClean="0"/>
              <a:t>Click icon to add picture</a:t>
            </a:r>
            <a:endParaRPr lang="en-CA"/>
          </a:p>
        </p:txBody>
      </p:sp>
      <p:sp>
        <p:nvSpPr>
          <p:cNvPr id="15" name="TextBox 14"/>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2"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cxnSp>
        <p:nvCxnSpPr>
          <p:cNvPr id="14" name="Straight Connector 13"/>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6" name="TextBox 15"/>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cxnSp>
        <p:nvCxnSpPr>
          <p:cNvPr id="17" name="Straight Connector 16"/>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4056402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564">
          <p15:clr>
            <a:srgbClr val="FBAE40"/>
          </p15:clr>
        </p15:guide>
        <p15:guide id="2" orient="horz" pos="660">
          <p15:clr>
            <a:srgbClr val="FBAE40"/>
          </p15:clr>
        </p15:guide>
        <p15:guide id="3" pos="2928">
          <p15:clr>
            <a:srgbClr val="FBAE40"/>
          </p15:clr>
        </p15:guide>
        <p15:guide id="4" pos="2832">
          <p15:clr>
            <a:srgbClr val="FBAE40"/>
          </p15:clr>
        </p15:guide>
        <p15:guide id="5" pos="5664">
          <p15:clr>
            <a:srgbClr val="FBAE40"/>
          </p15:clr>
        </p15:guide>
        <p15:guide id="6" pos="96">
          <p15:clr>
            <a:srgbClr val="FBAE40"/>
          </p15:clr>
        </p15:guide>
        <p15:guide id="7" orient="horz" pos="852">
          <p15:clr>
            <a:srgbClr val="FBAE40"/>
          </p15:clr>
        </p15:guide>
        <p15:guide id="8" orient="horz" pos="948">
          <p15:clr>
            <a:srgbClr val="FBAE40"/>
          </p15:clr>
        </p15:guide>
        <p15:guide id="9" pos="4272">
          <p15:clr>
            <a:srgbClr val="FBAE40"/>
          </p15:clr>
        </p15:guide>
        <p15:guide id="10" pos="4368">
          <p15:clr>
            <a:srgbClr val="FBAE40"/>
          </p15:clr>
        </p15:guide>
        <p15:guide id="11" orient="horz" pos="3240">
          <p15:clr>
            <a:srgbClr val="FBAE40"/>
          </p15:clr>
        </p15:guide>
        <p15:guide id="12" orient="horz">
          <p15:clr>
            <a:srgbClr val="FBAE40"/>
          </p15:clr>
        </p15:guide>
        <p15:guide id="13" orient="horz" pos="84">
          <p15:clr>
            <a:srgbClr val="FBAE40"/>
          </p15:clr>
        </p15:guide>
        <p15:guide id="14" orient="horz" pos="315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Slide Version 1">
    <p:spTree>
      <p:nvGrpSpPr>
        <p:cNvPr id="1" name=""/>
        <p:cNvGrpSpPr/>
        <p:nvPr/>
      </p:nvGrpSpPr>
      <p:grpSpPr>
        <a:xfrm>
          <a:off x="0" y="0"/>
          <a:ext cx="0" cy="0"/>
          <a:chOff x="0" y="0"/>
          <a:chExt cx="0" cy="0"/>
        </a:xfrm>
      </p:grpSpPr>
      <p:sp>
        <p:nvSpPr>
          <p:cNvPr id="24" name="Rectangle 23"/>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ight Triangle 21"/>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Content Placeholder 4"/>
          <p:cNvSpPr>
            <a:spLocks noGrp="1"/>
          </p:cNvSpPr>
          <p:nvPr>
            <p:ph sz="quarter" idx="10"/>
          </p:nvPr>
        </p:nvSpPr>
        <p:spPr>
          <a:xfrm>
            <a:off x="250884" y="971550"/>
            <a:ext cx="8664517" cy="3413968"/>
          </a:xfrm>
        </p:spPr>
        <p:txBody>
          <a:bodyPr/>
          <a:lstStyle>
            <a:lvl1pPr marL="342900" indent="-342900">
              <a:buClr>
                <a:schemeClr val="tx2"/>
              </a:buClr>
              <a:buFont typeface="Wingdings" panose="05000000000000000000" pitchFamily="2" charset="2"/>
              <a:buChar char="§"/>
              <a:defRPr>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6" name="Title 2"/>
          <p:cNvSpPr>
            <a:spLocks noGrp="1"/>
          </p:cNvSpPr>
          <p:nvPr>
            <p:ph type="title"/>
          </p:nvPr>
        </p:nvSpPr>
        <p:spPr>
          <a:xfrm>
            <a:off x="228599" y="133348"/>
            <a:ext cx="8686801" cy="762001"/>
          </a:xfrm>
        </p:spPr>
        <p:txBody>
          <a:bodyPr/>
          <a:lstStyle>
            <a:lvl1pPr>
              <a:defRPr/>
            </a:lvl1pPr>
          </a:lstStyle>
          <a:p>
            <a:r>
              <a:rPr lang="en-US" smtClean="0"/>
              <a:t>Click to edit Master title style</a:t>
            </a:r>
            <a:endParaRPr lang="en-US" dirty="0"/>
          </a:p>
        </p:txBody>
      </p:sp>
      <p:cxnSp>
        <p:nvCxnSpPr>
          <p:cNvPr id="7" name="Straight Connector 6"/>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9" name="TextBox 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8" name="Rectangle 7"/>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ight Triangle 9"/>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1" name="Straight Connector 10"/>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2" name="TextBox 11"/>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57432" y="263060"/>
            <a:ext cx="1751076" cy="442331"/>
          </a:xfrm>
          <a:prstGeom prst="rect">
            <a:avLst/>
          </a:prstGeom>
        </p:spPr>
      </p:pic>
    </p:spTree>
    <p:extLst>
      <p:ext uri="{BB962C8B-B14F-4D97-AF65-F5344CB8AC3E}">
        <p14:creationId xmlns:p14="http://schemas.microsoft.com/office/powerpoint/2010/main" val="376788347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Slide Version 2">
    <p:spTree>
      <p:nvGrpSpPr>
        <p:cNvPr id="1" name=""/>
        <p:cNvGrpSpPr/>
        <p:nvPr/>
      </p:nvGrpSpPr>
      <p:grpSpPr>
        <a:xfrm>
          <a:off x="0" y="0"/>
          <a:ext cx="0" cy="0"/>
          <a:chOff x="0" y="0"/>
          <a:chExt cx="0" cy="0"/>
        </a:xfrm>
      </p:grpSpPr>
      <p:sp>
        <p:nvSpPr>
          <p:cNvPr id="24" name="Rectangle 23"/>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itle 2"/>
          <p:cNvSpPr>
            <a:spLocks noGrp="1"/>
          </p:cNvSpPr>
          <p:nvPr>
            <p:ph type="title"/>
          </p:nvPr>
        </p:nvSpPr>
        <p:spPr>
          <a:xfrm>
            <a:off x="228600" y="133348"/>
            <a:ext cx="4343400" cy="762001"/>
          </a:xfrm>
        </p:spPr>
        <p:txBody>
          <a:bodyPr/>
          <a:lstStyle>
            <a:lvl1pPr>
              <a:defRPr/>
            </a:lvl1pPr>
          </a:lstStyle>
          <a:p>
            <a:r>
              <a:rPr lang="en-US" smtClean="0"/>
              <a:t>Click to edit Master title style</a:t>
            </a:r>
            <a:endParaRPr lang="en-US" dirty="0"/>
          </a:p>
        </p:txBody>
      </p:sp>
      <p:sp>
        <p:nvSpPr>
          <p:cNvPr id="22" name="Right Triangle 21"/>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Content Placeholder 4"/>
          <p:cNvSpPr>
            <a:spLocks noGrp="1"/>
          </p:cNvSpPr>
          <p:nvPr>
            <p:ph sz="quarter" idx="10"/>
          </p:nvPr>
        </p:nvSpPr>
        <p:spPr>
          <a:xfrm>
            <a:off x="250884" y="971550"/>
            <a:ext cx="8664517" cy="3185368"/>
          </a:xfrm>
        </p:spPr>
        <p:txBody>
          <a:bodyPr/>
          <a:lstStyle>
            <a:lvl1pPr marL="342900" indent="-342900">
              <a:buClr>
                <a:schemeClr val="tx2"/>
              </a:buClr>
              <a:buFont typeface="Wingdings" panose="05000000000000000000" pitchFamily="2" charset="2"/>
              <a:buChar char="§"/>
              <a:defRPr>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cxnSp>
        <p:nvCxnSpPr>
          <p:cNvPr id="6" name="Straight Connector 5"/>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3" name="Content Placeholder 4"/>
          <p:cNvSpPr>
            <a:spLocks noGrp="1"/>
          </p:cNvSpPr>
          <p:nvPr>
            <p:ph sz="quarter" idx="11" hasCustomPrompt="1"/>
          </p:nvPr>
        </p:nvSpPr>
        <p:spPr>
          <a:xfrm>
            <a:off x="4648200" y="133350"/>
            <a:ext cx="4267202" cy="761999"/>
          </a:xfrm>
        </p:spPr>
        <p:txBody>
          <a:bodyPr>
            <a:normAutofit/>
          </a:bodyPr>
          <a:lstStyle>
            <a:lvl1pPr marL="0" indent="0">
              <a:buClr>
                <a:schemeClr val="tx2"/>
              </a:buClr>
              <a:buFont typeface="Wingdings" panose="05000000000000000000" pitchFamily="2" charset="2"/>
              <a:buNone/>
              <a:defRPr sz="1100" baseline="0">
                <a:solidFill>
                  <a:srgbClr val="404040"/>
                </a:solidFill>
              </a:defRPr>
            </a:lvl1pPr>
            <a:lvl2pPr marL="742950" indent="-285750">
              <a:buClr>
                <a:schemeClr val="tx2"/>
              </a:buClr>
              <a:buFont typeface="Wingdings" panose="05000000000000000000" pitchFamily="2" charset="2"/>
              <a:buChar char="§"/>
              <a:defRPr>
                <a:solidFill>
                  <a:srgbClr val="404040"/>
                </a:solidFill>
              </a:defRPr>
            </a:lvl2pPr>
            <a:lvl3pPr marL="1143000" indent="-228600">
              <a:buClr>
                <a:schemeClr val="tx2"/>
              </a:buClr>
              <a:buFont typeface="Wingdings" panose="05000000000000000000" pitchFamily="2" charset="2"/>
              <a:buChar char="§"/>
              <a:defRPr>
                <a:solidFill>
                  <a:srgbClr val="404040"/>
                </a:solidFill>
                <a:latin typeface="+mj-lt"/>
              </a:defRPr>
            </a:lvl3pPr>
            <a:lvl4pPr marL="1543050" indent="-285750">
              <a:buClr>
                <a:schemeClr val="tx2"/>
              </a:buClr>
              <a:buFont typeface="Wingdings" panose="05000000000000000000" pitchFamily="2" charset="2"/>
              <a:buChar char="§"/>
              <a:defRPr>
                <a:solidFill>
                  <a:srgbClr val="404040"/>
                </a:solidFill>
                <a:latin typeface="+mj-lt"/>
              </a:defRPr>
            </a:lvl4pPr>
            <a:lvl5pPr marL="2057400" indent="-228600">
              <a:buClr>
                <a:schemeClr val="tx2"/>
              </a:buClr>
              <a:buFont typeface="Wingdings" panose="05000000000000000000" pitchFamily="2" charset="2"/>
              <a:buChar char="§"/>
              <a:defRPr sz="1200">
                <a:solidFill>
                  <a:srgbClr val="404040"/>
                </a:solidFill>
                <a:latin typeface="+mj-lt"/>
              </a:defRPr>
            </a:lvl5pPr>
          </a:lstStyle>
          <a:p>
            <a:pPr lvl="0"/>
            <a:r>
              <a:rPr lang="en-US" dirty="0" smtClean="0"/>
              <a:t>Click to edit text</a:t>
            </a:r>
            <a:endParaRPr lang="en-CA" dirty="0"/>
          </a:p>
        </p:txBody>
      </p:sp>
      <p:sp>
        <p:nvSpPr>
          <p:cNvPr id="9" name="TextBox 8"/>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
        <p:nvSpPr>
          <p:cNvPr id="10" name="Rectangle 9"/>
          <p:cNvSpPr/>
          <p:nvPr/>
        </p:nvSpPr>
        <p:spPr>
          <a:xfrm>
            <a:off x="7239839" y="4966634"/>
            <a:ext cx="1905002" cy="176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ight Triangle 10"/>
          <p:cNvSpPr/>
          <p:nvPr/>
        </p:nvSpPr>
        <p:spPr>
          <a:xfrm flipH="1">
            <a:off x="7075027" y="4966634"/>
            <a:ext cx="164811" cy="17686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2" name="Straight Connector 11"/>
          <p:cNvCxnSpPr/>
          <p:nvPr/>
        </p:nvCxnSpPr>
        <p:spPr>
          <a:xfrm>
            <a:off x="228600" y="133348"/>
            <a:ext cx="0" cy="762002"/>
          </a:xfrm>
          <a:prstGeom prst="line">
            <a:avLst/>
          </a:prstGeom>
          <a:ln w="12700">
            <a:solidFill>
              <a:srgbClr val="BBB0A6"/>
            </a:solidFill>
          </a:ln>
        </p:spPr>
        <p:style>
          <a:lnRef idx="1">
            <a:schemeClr val="accent5"/>
          </a:lnRef>
          <a:fillRef idx="0">
            <a:schemeClr val="accent5"/>
          </a:fillRef>
          <a:effectRef idx="0">
            <a:schemeClr val="accent5"/>
          </a:effectRef>
          <a:fontRef idx="minor">
            <a:schemeClr val="tx1"/>
          </a:fontRef>
        </p:style>
      </p:cxnSp>
      <p:sp>
        <p:nvSpPr>
          <p:cNvPr id="14" name="TextBox 13"/>
          <p:cNvSpPr txBox="1"/>
          <p:nvPr/>
        </p:nvSpPr>
        <p:spPr>
          <a:xfrm>
            <a:off x="8686800" y="4914746"/>
            <a:ext cx="457200" cy="215444"/>
          </a:xfrm>
          <a:prstGeom prst="rect">
            <a:avLst/>
          </a:prstGeom>
          <a:noFill/>
        </p:spPr>
        <p:txBody>
          <a:bodyPr wrap="square" rtlCol="0">
            <a:spAutoFit/>
          </a:bodyPr>
          <a:lstStyle/>
          <a:p>
            <a:pPr algn="r"/>
            <a:fld id="{C5E48551-6F78-4B9C-807B-D0DFD8E31CE1}" type="slidenum">
              <a:rPr lang="en-CA" sz="800" smtClean="0">
                <a:solidFill>
                  <a:srgbClr val="BBB0A6"/>
                </a:solidFill>
                <a:latin typeface="Arial Narrow" panose="020B0606020202030204" pitchFamily="34" charset="0"/>
              </a:rPr>
              <a:pPr algn="r"/>
              <a:t>‹#›</a:t>
            </a:fld>
            <a:endParaRPr lang="en-CA" sz="100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197828681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Layout">
    <p:spTree>
      <p:nvGrpSpPr>
        <p:cNvPr id="1" name=""/>
        <p:cNvGrpSpPr/>
        <p:nvPr/>
      </p:nvGrpSpPr>
      <p:grpSpPr>
        <a:xfrm>
          <a:off x="0" y="0"/>
          <a:ext cx="0" cy="0"/>
          <a:chOff x="0" y="0"/>
          <a:chExt cx="0" cy="0"/>
        </a:xfrm>
      </p:grpSpPr>
      <p:sp>
        <p:nvSpPr>
          <p:cNvPr id="2" name="TextBox 1"/>
          <p:cNvSpPr txBox="1"/>
          <p:nvPr/>
        </p:nvSpPr>
        <p:spPr>
          <a:xfrm>
            <a:off x="8686800" y="4914746"/>
            <a:ext cx="457200" cy="230832"/>
          </a:xfrm>
          <a:prstGeom prst="rect">
            <a:avLst/>
          </a:prstGeom>
          <a:noFill/>
        </p:spPr>
        <p:txBody>
          <a:bodyPr wrap="square" rtlCol="0">
            <a:spAutoFit/>
          </a:bodyPr>
          <a:lstStyle/>
          <a:p>
            <a:pPr algn="ctr"/>
            <a:fld id="{C5E48551-6F78-4B9C-807B-D0DFD8E31CE1}" type="slidenum">
              <a:rPr lang="en-CA" sz="900" smtClean="0">
                <a:solidFill>
                  <a:srgbClr val="BBB0A6"/>
                </a:solidFill>
                <a:latin typeface="Arial Narrow" panose="020B0606020202030204" pitchFamily="34" charset="0"/>
              </a:rPr>
              <a:pPr algn="ctr"/>
              <a:t>‹#›</a:t>
            </a:fld>
            <a:endParaRPr lang="en-CA" sz="1050" dirty="0">
              <a:solidFill>
                <a:srgbClr val="BBB0A6"/>
              </a:solidFill>
              <a:latin typeface="Arial Narrow" panose="020B0606020202030204" pitchFamily="34" charset="0"/>
            </a:endParaRPr>
          </a:p>
        </p:txBody>
      </p:sp>
      <p:sp>
        <p:nvSpPr>
          <p:cNvPr id="3" name="TextBox 2"/>
          <p:cNvSpPr txBox="1"/>
          <p:nvPr/>
        </p:nvSpPr>
        <p:spPr>
          <a:xfrm>
            <a:off x="8686800" y="4914746"/>
            <a:ext cx="457200" cy="230832"/>
          </a:xfrm>
          <a:prstGeom prst="rect">
            <a:avLst/>
          </a:prstGeom>
          <a:noFill/>
        </p:spPr>
        <p:txBody>
          <a:bodyPr wrap="square" rtlCol="0">
            <a:spAutoFit/>
          </a:bodyPr>
          <a:lstStyle/>
          <a:p>
            <a:pPr algn="ctr"/>
            <a:fld id="{C5E48551-6F78-4B9C-807B-D0DFD8E31CE1}" type="slidenum">
              <a:rPr lang="en-CA" sz="900" smtClean="0">
                <a:solidFill>
                  <a:srgbClr val="BBB0A6"/>
                </a:solidFill>
                <a:latin typeface="Arial Narrow" panose="020B0606020202030204" pitchFamily="34" charset="0"/>
              </a:rPr>
              <a:pPr algn="ctr"/>
              <a:t>‹#›</a:t>
            </a:fld>
            <a:endParaRPr lang="en-CA" sz="1050" dirty="0">
              <a:solidFill>
                <a:srgbClr val="BBB0A6"/>
              </a:solidFill>
              <a:latin typeface="Arial Narrow" panose="020B0606020202030204" pitchFamily="34" charset="0"/>
            </a:endParaRPr>
          </a:p>
        </p:txBody>
      </p:sp>
    </p:spTree>
    <p:extLst>
      <p:ext uri="{BB962C8B-B14F-4D97-AF65-F5344CB8AC3E}">
        <p14:creationId xmlns:p14="http://schemas.microsoft.com/office/powerpoint/2010/main" val="348942704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hank You End">
    <p:spTree>
      <p:nvGrpSpPr>
        <p:cNvPr id="1" name=""/>
        <p:cNvGrpSpPr/>
        <p:nvPr/>
      </p:nvGrpSpPr>
      <p:grpSpPr>
        <a:xfrm>
          <a:off x="0" y="0"/>
          <a:ext cx="0" cy="0"/>
          <a:chOff x="0" y="0"/>
          <a:chExt cx="0" cy="0"/>
        </a:xfrm>
      </p:grpSpPr>
      <p:sp>
        <p:nvSpPr>
          <p:cNvPr id="12" name="TextBox 11"/>
          <p:cNvSpPr txBox="1"/>
          <p:nvPr/>
        </p:nvSpPr>
        <p:spPr>
          <a:xfrm>
            <a:off x="7544033" y="4533000"/>
            <a:ext cx="1599967" cy="307777"/>
          </a:xfrm>
          <a:prstGeom prst="rect">
            <a:avLst/>
          </a:prstGeom>
          <a:noFill/>
        </p:spPr>
        <p:txBody>
          <a:bodyPr wrap="square" rtlCol="0">
            <a:spAutoFit/>
          </a:bodyPr>
          <a:lstStyle/>
          <a:p>
            <a:pPr algn="l"/>
            <a:r>
              <a:rPr lang="en-CA" sz="1400" dirty="0" smtClean="0">
                <a:solidFill>
                  <a:srgbClr val="BBB0A6"/>
                </a:solidFill>
              </a:rPr>
              <a:t>Linamar</a:t>
            </a:r>
            <a:r>
              <a:rPr lang="en-CA" sz="1400" baseline="0" dirty="0" smtClean="0">
                <a:solidFill>
                  <a:srgbClr val="BBB0A6"/>
                </a:solidFill>
              </a:rPr>
              <a:t> Bulgaria</a:t>
            </a:r>
            <a:endParaRPr lang="en-CA" sz="1400" dirty="0">
              <a:solidFill>
                <a:srgbClr val="BBB0A6"/>
              </a:solidFill>
            </a:endParaRPr>
          </a:p>
        </p:txBody>
      </p:sp>
      <p:sp>
        <p:nvSpPr>
          <p:cNvPr id="14" name="TextBox 13"/>
          <p:cNvSpPr txBox="1"/>
          <p:nvPr/>
        </p:nvSpPr>
        <p:spPr>
          <a:xfrm>
            <a:off x="7467600" y="4248150"/>
            <a:ext cx="1524000" cy="338554"/>
          </a:xfrm>
          <a:prstGeom prst="rect">
            <a:avLst/>
          </a:prstGeom>
          <a:noFill/>
        </p:spPr>
        <p:txBody>
          <a:bodyPr wrap="square" rtlCol="0">
            <a:spAutoFit/>
          </a:bodyPr>
          <a:lstStyle/>
          <a:p>
            <a:pPr algn="l"/>
            <a:r>
              <a:rPr lang="en-CA" sz="1600" dirty="0" smtClean="0">
                <a:solidFill>
                  <a:srgbClr val="BC4E21"/>
                </a:solidFill>
              </a:rPr>
              <a:t>www.linamar.</a:t>
            </a:r>
            <a:r>
              <a:rPr lang="en-US" sz="1600" dirty="0" smtClean="0">
                <a:solidFill>
                  <a:srgbClr val="BC4E21"/>
                </a:solidFill>
              </a:rPr>
              <a:t>bg</a:t>
            </a:r>
            <a:endParaRPr lang="en-CA" sz="1600" dirty="0">
              <a:solidFill>
                <a:srgbClr val="BC4E21"/>
              </a:solidFill>
            </a:endParaRPr>
          </a:p>
        </p:txBody>
      </p:sp>
      <p:sp>
        <p:nvSpPr>
          <p:cNvPr id="15" name="TextBox 14"/>
          <p:cNvSpPr txBox="1"/>
          <p:nvPr/>
        </p:nvSpPr>
        <p:spPr>
          <a:xfrm>
            <a:off x="152400" y="4188253"/>
            <a:ext cx="3200400" cy="830997"/>
          </a:xfrm>
          <a:prstGeom prst="rect">
            <a:avLst/>
          </a:prstGeom>
          <a:noFill/>
        </p:spPr>
        <p:txBody>
          <a:bodyPr wrap="square" rtlCol="0">
            <a:spAutoFit/>
          </a:bodyPr>
          <a:lstStyle/>
          <a:p>
            <a:pPr algn="ctr"/>
            <a:r>
              <a:rPr lang="bg-BG" sz="4800" b="1" dirty="0" smtClean="0">
                <a:solidFill>
                  <a:srgbClr val="BC4E21"/>
                </a:solidFill>
              </a:rPr>
              <a:t>Благодаря!</a:t>
            </a:r>
            <a:endParaRPr lang="en-CA" sz="4800" b="1" dirty="0">
              <a:solidFill>
                <a:srgbClr val="BC4E21"/>
              </a:solidFill>
            </a:endParaRP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7526" y="4603752"/>
            <a:ext cx="166274" cy="166274"/>
          </a:xfrm>
          <a:prstGeom prst="rect">
            <a:avLst/>
          </a:prstGeom>
        </p:spPr>
      </p:pic>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6577" y="1251"/>
            <a:ext cx="6930846" cy="3886200"/>
          </a:xfrm>
          <a:prstGeom prst="rect">
            <a:avLst/>
          </a:prstGeom>
        </p:spPr>
      </p:pic>
    </p:spTree>
    <p:extLst>
      <p:ext uri="{BB962C8B-B14F-4D97-AF65-F5344CB8AC3E}">
        <p14:creationId xmlns:p14="http://schemas.microsoft.com/office/powerpoint/2010/main" val="32748087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a:off x="0" y="0"/>
            <a:ext cx="2514600" cy="5143500"/>
          </a:xfrm>
          <a:prstGeom prst="rect">
            <a:avLst/>
          </a:prstGeom>
          <a:solidFill>
            <a:srgbClr val="BC4E21">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BBB0A6"/>
              </a:solidFill>
            </a:endParaRPr>
          </a:p>
        </p:txBody>
      </p:sp>
      <p:sp>
        <p:nvSpPr>
          <p:cNvPr id="18" name="Title Placeholder 1"/>
          <p:cNvSpPr>
            <a:spLocks noGrp="1"/>
          </p:cNvSpPr>
          <p:nvPr>
            <p:ph type="title" hasCustomPrompt="1"/>
          </p:nvPr>
        </p:nvSpPr>
        <p:spPr>
          <a:xfrm>
            <a:off x="249115" y="3867150"/>
            <a:ext cx="1828800" cy="246184"/>
          </a:xfrm>
          <a:prstGeom prst="rect">
            <a:avLst/>
          </a:prstGeom>
        </p:spPr>
        <p:txBody>
          <a:bodyPr vert="horz" lIns="91440" tIns="45720" rIns="91440" bIns="45720" rtlCol="0" anchor="ctr">
            <a:noAutofit/>
          </a:bodyPr>
          <a:lstStyle>
            <a:lvl1pPr algn="l">
              <a:defRPr sz="1600" b="0">
                <a:solidFill>
                  <a:schemeClr val="bg1"/>
                </a:solidFill>
              </a:defRPr>
            </a:lvl1pPr>
          </a:lstStyle>
          <a:p>
            <a:r>
              <a:rPr lang="en-CA" dirty="0" smtClean="0"/>
              <a:t>Name</a:t>
            </a:r>
            <a:endParaRPr lang="en-US" dirty="0"/>
          </a:p>
        </p:txBody>
      </p:sp>
      <p:sp>
        <p:nvSpPr>
          <p:cNvPr id="24" name="Text Placeholder 23"/>
          <p:cNvSpPr>
            <a:spLocks noGrp="1"/>
          </p:cNvSpPr>
          <p:nvPr>
            <p:ph type="body" sz="quarter" idx="10" hasCustomPrompt="1"/>
          </p:nvPr>
        </p:nvSpPr>
        <p:spPr>
          <a:xfrm>
            <a:off x="228600" y="590550"/>
            <a:ext cx="2057400" cy="12954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29" name="Text Placeholder 28"/>
          <p:cNvSpPr>
            <a:spLocks noGrp="1"/>
          </p:cNvSpPr>
          <p:nvPr>
            <p:ph type="body" sz="quarter" idx="11" hasCustomPrompt="1"/>
          </p:nvPr>
        </p:nvSpPr>
        <p:spPr>
          <a:xfrm>
            <a:off x="249115" y="4248150"/>
            <a:ext cx="1828800" cy="228600"/>
          </a:xfrm>
          <a:prstGeom prst="rect">
            <a:avLst/>
          </a:prstGeom>
        </p:spPr>
        <p:txBody>
          <a:bodyPr>
            <a:noAutofit/>
          </a:bodyPr>
          <a:lstStyle>
            <a:lvl1pPr marL="0" indent="0">
              <a:buNone/>
              <a:defRPr sz="1600">
                <a:solidFill>
                  <a:schemeClr val="bg1"/>
                </a:solidFill>
              </a:defRPr>
            </a:lvl1pPr>
          </a:lstStyle>
          <a:p>
            <a:pPr lvl="0"/>
            <a:r>
              <a:rPr lang="en-US" dirty="0" smtClean="0"/>
              <a:t>Date</a:t>
            </a:r>
            <a:endParaRPr lang="en-CA" dirty="0"/>
          </a:p>
        </p:txBody>
      </p:sp>
    </p:spTree>
    <p:extLst>
      <p:ext uri="{BB962C8B-B14F-4D97-AF65-F5344CB8AC3E}">
        <p14:creationId xmlns:p14="http://schemas.microsoft.com/office/powerpoint/2010/main" val="10749037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p:cNvSpPr/>
          <p:nvPr/>
        </p:nvSpPr>
        <p:spPr>
          <a:xfrm rot="16200000">
            <a:off x="3895723" y="-2637167"/>
            <a:ext cx="1352550" cy="9144000"/>
          </a:xfrm>
          <a:prstGeom prst="rect">
            <a:avLst/>
          </a:prstGeom>
          <a:solidFill>
            <a:srgbClr val="BC4E21">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BBB0A6"/>
              </a:solidFill>
            </a:endParaRPr>
          </a:p>
        </p:txBody>
      </p:sp>
      <p:sp>
        <p:nvSpPr>
          <p:cNvPr id="3" name="TextBox 2"/>
          <p:cNvSpPr txBox="1"/>
          <p:nvPr/>
        </p:nvSpPr>
        <p:spPr>
          <a:xfrm>
            <a:off x="838200" y="2083014"/>
            <a:ext cx="1524000" cy="338554"/>
          </a:xfrm>
          <a:prstGeom prst="rect">
            <a:avLst/>
          </a:prstGeom>
          <a:noFill/>
        </p:spPr>
        <p:txBody>
          <a:bodyPr wrap="square" rtlCol="0">
            <a:spAutoFit/>
          </a:bodyPr>
          <a:lstStyle/>
          <a:p>
            <a:pPr algn="l"/>
            <a:r>
              <a:rPr lang="en-CA" sz="1600" dirty="0" smtClean="0">
                <a:solidFill>
                  <a:schemeClr val="bg1"/>
                </a:solidFill>
              </a:rPr>
              <a:t>www.linamar.com</a:t>
            </a:r>
            <a:endParaRPr lang="en-CA" sz="1600" dirty="0">
              <a:solidFill>
                <a:schemeClr val="bg1"/>
              </a:solidFill>
            </a:endParaRPr>
          </a:p>
        </p:txBody>
      </p:sp>
      <p:sp>
        <p:nvSpPr>
          <p:cNvPr id="4" name="TextBox 3"/>
          <p:cNvSpPr txBox="1"/>
          <p:nvPr/>
        </p:nvSpPr>
        <p:spPr>
          <a:xfrm>
            <a:off x="533400" y="1467375"/>
            <a:ext cx="3200400" cy="830997"/>
          </a:xfrm>
          <a:prstGeom prst="rect">
            <a:avLst/>
          </a:prstGeom>
          <a:noFill/>
        </p:spPr>
        <p:txBody>
          <a:bodyPr wrap="square" rtlCol="0">
            <a:spAutoFit/>
          </a:bodyPr>
          <a:lstStyle/>
          <a:p>
            <a:pPr algn="ctr"/>
            <a:r>
              <a:rPr lang="en-US" sz="4800" b="1" dirty="0" smtClean="0">
                <a:solidFill>
                  <a:schemeClr val="bg1"/>
                </a:solidFill>
              </a:rPr>
              <a:t>Than</a:t>
            </a:r>
            <a:r>
              <a:rPr lang="en-US" sz="4800" b="1" baseline="0" dirty="0" smtClean="0">
                <a:solidFill>
                  <a:schemeClr val="bg1"/>
                </a:solidFill>
              </a:rPr>
              <a:t>k You</a:t>
            </a:r>
            <a:endParaRPr lang="en-CA" sz="4800" b="1" dirty="0">
              <a:solidFill>
                <a:schemeClr val="bg1"/>
              </a:solidFill>
            </a:endParaRPr>
          </a:p>
        </p:txBody>
      </p:sp>
      <p:grpSp>
        <p:nvGrpSpPr>
          <p:cNvPr id="31" name="Group 30"/>
          <p:cNvGrpSpPr/>
          <p:nvPr/>
        </p:nvGrpSpPr>
        <p:grpSpPr>
          <a:xfrm>
            <a:off x="6779847" y="1923278"/>
            <a:ext cx="1678353" cy="307777"/>
            <a:chOff x="7160847" y="1923279"/>
            <a:chExt cx="1678353" cy="307777"/>
          </a:xfrm>
        </p:grpSpPr>
        <p:sp>
          <p:nvSpPr>
            <p:cNvPr id="15" name="TextBox 14"/>
            <p:cNvSpPr txBox="1"/>
            <p:nvPr userDrawn="1"/>
          </p:nvSpPr>
          <p:spPr>
            <a:xfrm>
              <a:off x="7239233" y="1923279"/>
              <a:ext cx="1599967" cy="307777"/>
            </a:xfrm>
            <a:prstGeom prst="rect">
              <a:avLst/>
            </a:prstGeom>
            <a:noFill/>
          </p:spPr>
          <p:txBody>
            <a:bodyPr wrap="square" rtlCol="0">
              <a:spAutoFit/>
            </a:bodyPr>
            <a:lstStyle/>
            <a:p>
              <a:pPr algn="l"/>
              <a:r>
                <a:rPr lang="en-CA" sz="1400" dirty="0" smtClean="0">
                  <a:solidFill>
                    <a:schemeClr val="bg1"/>
                  </a:solidFill>
                </a:rPr>
                <a:t>Linamar</a:t>
              </a:r>
              <a:r>
                <a:rPr lang="en-CA" sz="1400" baseline="0" dirty="0" smtClean="0">
                  <a:solidFill>
                    <a:schemeClr val="bg1"/>
                  </a:solidFill>
                </a:rPr>
                <a:t> Corporation</a:t>
              </a:r>
              <a:endParaRPr lang="en-CA" sz="1400" dirty="0">
                <a:solidFill>
                  <a:schemeClr val="bg1"/>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847" y="2022303"/>
              <a:ext cx="109728" cy="109728"/>
            </a:xfrm>
            <a:prstGeom prst="rect">
              <a:avLst/>
            </a:prstGeom>
          </p:spPr>
        </p:pic>
      </p:grpSp>
      <p:grpSp>
        <p:nvGrpSpPr>
          <p:cNvPr id="32" name="Group 31"/>
          <p:cNvGrpSpPr/>
          <p:nvPr/>
        </p:nvGrpSpPr>
        <p:grpSpPr>
          <a:xfrm>
            <a:off x="6777872" y="1708729"/>
            <a:ext cx="1223127" cy="307777"/>
            <a:chOff x="7158872" y="1708730"/>
            <a:chExt cx="1223127" cy="307777"/>
          </a:xfrm>
        </p:grpSpPr>
        <p:sp>
          <p:nvSpPr>
            <p:cNvPr id="13" name="TextBox 12"/>
            <p:cNvSpPr txBox="1"/>
            <p:nvPr userDrawn="1"/>
          </p:nvSpPr>
          <p:spPr>
            <a:xfrm>
              <a:off x="7185542" y="1708730"/>
              <a:ext cx="1196457" cy="307777"/>
            </a:xfrm>
            <a:prstGeom prst="rect">
              <a:avLst/>
            </a:prstGeom>
            <a:noFill/>
          </p:spPr>
          <p:txBody>
            <a:bodyPr wrap="square" rtlCol="0">
              <a:spAutoFit/>
            </a:bodyPr>
            <a:lstStyle/>
            <a:p>
              <a:pPr algn="l"/>
              <a:r>
                <a:rPr lang="en-CA" sz="1400" dirty="0" smtClean="0">
                  <a:solidFill>
                    <a:schemeClr val="bg1"/>
                  </a:solidFill>
                </a:rPr>
                <a:t> @</a:t>
              </a:r>
              <a:r>
                <a:rPr lang="en-CA" sz="1400" dirty="0" err="1" smtClean="0">
                  <a:solidFill>
                    <a:schemeClr val="bg1"/>
                  </a:solidFill>
                </a:rPr>
                <a:t>linamarcorp</a:t>
              </a:r>
              <a:endParaRPr lang="en-CA" sz="1400" dirty="0">
                <a:solidFill>
                  <a:schemeClr val="bg1"/>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58872" y="1825106"/>
              <a:ext cx="109728" cy="109728"/>
            </a:xfrm>
            <a:prstGeom prst="rect">
              <a:avLst/>
            </a:prstGeom>
          </p:spPr>
        </p:pic>
      </p:grpSp>
      <p:grpSp>
        <p:nvGrpSpPr>
          <p:cNvPr id="30" name="Group 29"/>
          <p:cNvGrpSpPr/>
          <p:nvPr/>
        </p:nvGrpSpPr>
        <p:grpSpPr>
          <a:xfrm>
            <a:off x="6777872" y="2137828"/>
            <a:ext cx="1680328" cy="307777"/>
            <a:chOff x="7158872" y="2137829"/>
            <a:chExt cx="1680328" cy="307777"/>
          </a:xfrm>
        </p:grpSpPr>
        <p:sp>
          <p:nvSpPr>
            <p:cNvPr id="17" name="TextBox 16"/>
            <p:cNvSpPr txBox="1"/>
            <p:nvPr userDrawn="1"/>
          </p:nvSpPr>
          <p:spPr>
            <a:xfrm>
              <a:off x="7239233" y="2137829"/>
              <a:ext cx="1599967" cy="307777"/>
            </a:xfrm>
            <a:prstGeom prst="rect">
              <a:avLst/>
            </a:prstGeom>
            <a:noFill/>
          </p:spPr>
          <p:txBody>
            <a:bodyPr wrap="square" rtlCol="0">
              <a:spAutoFit/>
            </a:bodyPr>
            <a:lstStyle/>
            <a:p>
              <a:pPr algn="l"/>
              <a:r>
                <a:rPr lang="en-CA" sz="1400" dirty="0" smtClean="0">
                  <a:solidFill>
                    <a:schemeClr val="bg1"/>
                  </a:solidFill>
                </a:rPr>
                <a:t>Linamar</a:t>
              </a:r>
              <a:r>
                <a:rPr lang="en-CA" sz="1400" baseline="0" dirty="0" smtClean="0">
                  <a:solidFill>
                    <a:schemeClr val="bg1"/>
                  </a:solidFill>
                </a:rPr>
                <a:t> Corporation</a:t>
              </a:r>
              <a:endParaRPr lang="en-CA" sz="1400" dirty="0">
                <a:solidFill>
                  <a:schemeClr val="bg1"/>
                </a:solidFill>
              </a:endParaRP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58872" y="2236853"/>
              <a:ext cx="109728" cy="109728"/>
            </a:xfrm>
            <a:prstGeom prst="rect">
              <a:avLst/>
            </a:prstGeom>
          </p:spPr>
        </p:pic>
      </p:grpSp>
      <p:grpSp>
        <p:nvGrpSpPr>
          <p:cNvPr id="33" name="Group 32"/>
          <p:cNvGrpSpPr/>
          <p:nvPr/>
        </p:nvGrpSpPr>
        <p:grpSpPr>
          <a:xfrm>
            <a:off x="6779847" y="1494180"/>
            <a:ext cx="1221152" cy="307777"/>
            <a:chOff x="7160847" y="1494181"/>
            <a:chExt cx="1221152" cy="307777"/>
          </a:xfrm>
        </p:grpSpPr>
        <p:sp>
          <p:nvSpPr>
            <p:cNvPr id="9" name="TextBox 8"/>
            <p:cNvSpPr txBox="1"/>
            <p:nvPr userDrawn="1"/>
          </p:nvSpPr>
          <p:spPr>
            <a:xfrm>
              <a:off x="7185542" y="1494181"/>
              <a:ext cx="1196457" cy="307777"/>
            </a:xfrm>
            <a:prstGeom prst="rect">
              <a:avLst/>
            </a:prstGeom>
            <a:noFill/>
          </p:spPr>
          <p:txBody>
            <a:bodyPr wrap="square" rtlCol="0">
              <a:spAutoFit/>
            </a:bodyPr>
            <a:lstStyle/>
            <a:p>
              <a:pPr algn="l"/>
              <a:r>
                <a:rPr lang="en-CA" sz="1400" dirty="0" smtClean="0">
                  <a:solidFill>
                    <a:schemeClr val="bg1"/>
                  </a:solidFill>
                </a:rPr>
                <a:t> @</a:t>
              </a:r>
              <a:r>
                <a:rPr lang="en-CA" sz="1400" dirty="0" err="1" smtClean="0">
                  <a:solidFill>
                    <a:schemeClr val="bg1"/>
                  </a:solidFill>
                </a:rPr>
                <a:t>linamarcorp</a:t>
              </a:r>
              <a:endParaRPr lang="en-CA" sz="1400" dirty="0">
                <a:solidFill>
                  <a:schemeClr val="bg1"/>
                </a:solidFill>
              </a:endParaRPr>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60847" y="1604461"/>
              <a:ext cx="109728" cy="109728"/>
            </a:xfrm>
            <a:prstGeom prst="rect">
              <a:avLst/>
            </a:prstGeom>
          </p:spPr>
        </p:pic>
      </p:grpSp>
    </p:spTree>
    <p:extLst>
      <p:ext uri="{BB962C8B-B14F-4D97-AF65-F5344CB8AC3E}">
        <p14:creationId xmlns:p14="http://schemas.microsoft.com/office/powerpoint/2010/main" val="29973743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ank You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Rectangle 13"/>
          <p:cNvSpPr/>
          <p:nvPr userDrawn="1"/>
        </p:nvSpPr>
        <p:spPr>
          <a:xfrm rot="16200000">
            <a:off x="3895723" y="-2637167"/>
            <a:ext cx="1352550" cy="9144000"/>
          </a:xfrm>
          <a:prstGeom prst="rect">
            <a:avLst/>
          </a:prstGeom>
          <a:solidFill>
            <a:srgbClr val="BC4E21">
              <a:alpha val="8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BBB0A6"/>
              </a:solidFill>
            </a:endParaRPr>
          </a:p>
        </p:txBody>
      </p:sp>
      <p:sp>
        <p:nvSpPr>
          <p:cNvPr id="3" name="TextBox 2"/>
          <p:cNvSpPr txBox="1"/>
          <p:nvPr userDrawn="1"/>
        </p:nvSpPr>
        <p:spPr>
          <a:xfrm>
            <a:off x="838200" y="2083014"/>
            <a:ext cx="1524000" cy="338554"/>
          </a:xfrm>
          <a:prstGeom prst="rect">
            <a:avLst/>
          </a:prstGeom>
          <a:noFill/>
        </p:spPr>
        <p:txBody>
          <a:bodyPr wrap="square" rtlCol="0">
            <a:spAutoFit/>
          </a:bodyPr>
          <a:lstStyle/>
          <a:p>
            <a:pPr algn="l"/>
            <a:r>
              <a:rPr lang="en-CA" sz="1600" dirty="0" smtClean="0">
                <a:solidFill>
                  <a:schemeClr val="bg1"/>
                </a:solidFill>
              </a:rPr>
              <a:t>www.linamar.com</a:t>
            </a:r>
            <a:endParaRPr lang="en-CA" sz="1600" dirty="0">
              <a:solidFill>
                <a:schemeClr val="bg1"/>
              </a:solidFill>
            </a:endParaRPr>
          </a:p>
        </p:txBody>
      </p:sp>
      <p:sp>
        <p:nvSpPr>
          <p:cNvPr id="4" name="TextBox 3"/>
          <p:cNvSpPr txBox="1"/>
          <p:nvPr userDrawn="1"/>
        </p:nvSpPr>
        <p:spPr>
          <a:xfrm>
            <a:off x="533400" y="1467375"/>
            <a:ext cx="3200400" cy="830997"/>
          </a:xfrm>
          <a:prstGeom prst="rect">
            <a:avLst/>
          </a:prstGeom>
          <a:noFill/>
        </p:spPr>
        <p:txBody>
          <a:bodyPr wrap="square" rtlCol="0">
            <a:spAutoFit/>
          </a:bodyPr>
          <a:lstStyle/>
          <a:p>
            <a:pPr algn="ctr"/>
            <a:r>
              <a:rPr lang="en-US" sz="4800" b="1" dirty="0" smtClean="0">
                <a:solidFill>
                  <a:schemeClr val="bg1"/>
                </a:solidFill>
              </a:rPr>
              <a:t>Than</a:t>
            </a:r>
            <a:r>
              <a:rPr lang="en-US" sz="4800" b="1" baseline="0" dirty="0" smtClean="0">
                <a:solidFill>
                  <a:schemeClr val="bg1"/>
                </a:solidFill>
              </a:rPr>
              <a:t>k You</a:t>
            </a:r>
            <a:endParaRPr lang="en-CA" sz="4800" b="1" dirty="0">
              <a:solidFill>
                <a:schemeClr val="bg1"/>
              </a:solidFill>
            </a:endParaRPr>
          </a:p>
        </p:txBody>
      </p:sp>
      <p:grpSp>
        <p:nvGrpSpPr>
          <p:cNvPr id="31" name="Group 30"/>
          <p:cNvGrpSpPr/>
          <p:nvPr userDrawn="1"/>
        </p:nvGrpSpPr>
        <p:grpSpPr>
          <a:xfrm>
            <a:off x="6779847" y="1923278"/>
            <a:ext cx="1678353" cy="307777"/>
            <a:chOff x="7160847" y="1923279"/>
            <a:chExt cx="1678353" cy="307777"/>
          </a:xfrm>
        </p:grpSpPr>
        <p:sp>
          <p:nvSpPr>
            <p:cNvPr id="15" name="TextBox 14"/>
            <p:cNvSpPr txBox="1"/>
            <p:nvPr userDrawn="1"/>
          </p:nvSpPr>
          <p:spPr>
            <a:xfrm>
              <a:off x="7239233" y="1923279"/>
              <a:ext cx="1599967" cy="307777"/>
            </a:xfrm>
            <a:prstGeom prst="rect">
              <a:avLst/>
            </a:prstGeom>
            <a:noFill/>
          </p:spPr>
          <p:txBody>
            <a:bodyPr wrap="square" rtlCol="0">
              <a:spAutoFit/>
            </a:bodyPr>
            <a:lstStyle/>
            <a:p>
              <a:pPr algn="l"/>
              <a:r>
                <a:rPr lang="en-CA" sz="1400" dirty="0" smtClean="0">
                  <a:solidFill>
                    <a:schemeClr val="bg1"/>
                  </a:solidFill>
                </a:rPr>
                <a:t>Linamar</a:t>
              </a:r>
              <a:r>
                <a:rPr lang="en-CA" sz="1400" baseline="0" dirty="0" smtClean="0">
                  <a:solidFill>
                    <a:schemeClr val="bg1"/>
                  </a:solidFill>
                </a:rPr>
                <a:t> Corporation</a:t>
              </a:r>
              <a:endParaRPr lang="en-CA" sz="1400" dirty="0">
                <a:solidFill>
                  <a:schemeClr val="bg1"/>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847" y="2022303"/>
              <a:ext cx="109728" cy="109728"/>
            </a:xfrm>
            <a:prstGeom prst="rect">
              <a:avLst/>
            </a:prstGeom>
          </p:spPr>
        </p:pic>
      </p:grpSp>
      <p:grpSp>
        <p:nvGrpSpPr>
          <p:cNvPr id="32" name="Group 31"/>
          <p:cNvGrpSpPr/>
          <p:nvPr userDrawn="1"/>
        </p:nvGrpSpPr>
        <p:grpSpPr>
          <a:xfrm>
            <a:off x="6777872" y="1708729"/>
            <a:ext cx="1223127" cy="307777"/>
            <a:chOff x="7158872" y="1708730"/>
            <a:chExt cx="1223127" cy="307777"/>
          </a:xfrm>
        </p:grpSpPr>
        <p:sp>
          <p:nvSpPr>
            <p:cNvPr id="13" name="TextBox 12"/>
            <p:cNvSpPr txBox="1"/>
            <p:nvPr userDrawn="1"/>
          </p:nvSpPr>
          <p:spPr>
            <a:xfrm>
              <a:off x="7185542" y="1708730"/>
              <a:ext cx="1196457" cy="307777"/>
            </a:xfrm>
            <a:prstGeom prst="rect">
              <a:avLst/>
            </a:prstGeom>
            <a:noFill/>
          </p:spPr>
          <p:txBody>
            <a:bodyPr wrap="square" rtlCol="0">
              <a:spAutoFit/>
            </a:bodyPr>
            <a:lstStyle/>
            <a:p>
              <a:pPr algn="l"/>
              <a:r>
                <a:rPr lang="en-CA" sz="1400" dirty="0" smtClean="0">
                  <a:solidFill>
                    <a:schemeClr val="bg1"/>
                  </a:solidFill>
                </a:rPr>
                <a:t> @</a:t>
              </a:r>
              <a:r>
                <a:rPr lang="en-CA" sz="1400" dirty="0" err="1" smtClean="0">
                  <a:solidFill>
                    <a:schemeClr val="bg1"/>
                  </a:solidFill>
                </a:rPr>
                <a:t>linamarcorp</a:t>
              </a:r>
              <a:endParaRPr lang="en-CA" sz="1400" dirty="0">
                <a:solidFill>
                  <a:schemeClr val="bg1"/>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158872" y="1825106"/>
              <a:ext cx="109728" cy="109728"/>
            </a:xfrm>
            <a:prstGeom prst="rect">
              <a:avLst/>
            </a:prstGeom>
          </p:spPr>
        </p:pic>
      </p:grpSp>
      <p:grpSp>
        <p:nvGrpSpPr>
          <p:cNvPr id="30" name="Group 29"/>
          <p:cNvGrpSpPr/>
          <p:nvPr userDrawn="1"/>
        </p:nvGrpSpPr>
        <p:grpSpPr>
          <a:xfrm>
            <a:off x="6777872" y="2137828"/>
            <a:ext cx="1680328" cy="307777"/>
            <a:chOff x="7158872" y="2137829"/>
            <a:chExt cx="1680328" cy="307777"/>
          </a:xfrm>
        </p:grpSpPr>
        <p:sp>
          <p:nvSpPr>
            <p:cNvPr id="17" name="TextBox 16"/>
            <p:cNvSpPr txBox="1"/>
            <p:nvPr userDrawn="1"/>
          </p:nvSpPr>
          <p:spPr>
            <a:xfrm>
              <a:off x="7239233" y="2137829"/>
              <a:ext cx="1599967" cy="307777"/>
            </a:xfrm>
            <a:prstGeom prst="rect">
              <a:avLst/>
            </a:prstGeom>
            <a:noFill/>
          </p:spPr>
          <p:txBody>
            <a:bodyPr wrap="square" rtlCol="0">
              <a:spAutoFit/>
            </a:bodyPr>
            <a:lstStyle/>
            <a:p>
              <a:pPr algn="l"/>
              <a:r>
                <a:rPr lang="en-CA" sz="1400" dirty="0" smtClean="0">
                  <a:solidFill>
                    <a:schemeClr val="bg1"/>
                  </a:solidFill>
                </a:rPr>
                <a:t>Linamar</a:t>
              </a:r>
              <a:r>
                <a:rPr lang="en-CA" sz="1400" baseline="0" dirty="0" smtClean="0">
                  <a:solidFill>
                    <a:schemeClr val="bg1"/>
                  </a:solidFill>
                </a:rPr>
                <a:t> Corporation</a:t>
              </a:r>
              <a:endParaRPr lang="en-CA" sz="1400" dirty="0">
                <a:solidFill>
                  <a:schemeClr val="bg1"/>
                </a:solidFill>
              </a:endParaRP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58872" y="2236853"/>
              <a:ext cx="109728" cy="109728"/>
            </a:xfrm>
            <a:prstGeom prst="rect">
              <a:avLst/>
            </a:prstGeom>
          </p:spPr>
        </p:pic>
      </p:grpSp>
      <p:grpSp>
        <p:nvGrpSpPr>
          <p:cNvPr id="33" name="Group 32"/>
          <p:cNvGrpSpPr/>
          <p:nvPr userDrawn="1"/>
        </p:nvGrpSpPr>
        <p:grpSpPr>
          <a:xfrm>
            <a:off x="6779847" y="1494180"/>
            <a:ext cx="1221152" cy="307777"/>
            <a:chOff x="7160847" y="1494181"/>
            <a:chExt cx="1221152" cy="307777"/>
          </a:xfrm>
        </p:grpSpPr>
        <p:sp>
          <p:nvSpPr>
            <p:cNvPr id="9" name="TextBox 8"/>
            <p:cNvSpPr txBox="1"/>
            <p:nvPr userDrawn="1"/>
          </p:nvSpPr>
          <p:spPr>
            <a:xfrm>
              <a:off x="7185542" y="1494181"/>
              <a:ext cx="1196457" cy="307777"/>
            </a:xfrm>
            <a:prstGeom prst="rect">
              <a:avLst/>
            </a:prstGeom>
            <a:noFill/>
          </p:spPr>
          <p:txBody>
            <a:bodyPr wrap="square" rtlCol="0">
              <a:spAutoFit/>
            </a:bodyPr>
            <a:lstStyle/>
            <a:p>
              <a:pPr algn="l"/>
              <a:r>
                <a:rPr lang="en-CA" sz="1400" dirty="0" smtClean="0">
                  <a:solidFill>
                    <a:schemeClr val="bg1"/>
                  </a:solidFill>
                </a:rPr>
                <a:t> @</a:t>
              </a:r>
              <a:r>
                <a:rPr lang="en-CA" sz="1400" dirty="0" err="1" smtClean="0">
                  <a:solidFill>
                    <a:schemeClr val="bg1"/>
                  </a:solidFill>
                </a:rPr>
                <a:t>linamarcorp</a:t>
              </a:r>
              <a:endParaRPr lang="en-CA" sz="1400" dirty="0">
                <a:solidFill>
                  <a:schemeClr val="bg1"/>
                </a:solidFill>
              </a:endParaRPr>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60847" y="1604461"/>
              <a:ext cx="109728" cy="109728"/>
            </a:xfrm>
            <a:prstGeom prst="rect">
              <a:avLst/>
            </a:prstGeom>
          </p:spPr>
        </p:pic>
      </p:grpSp>
    </p:spTree>
    <p:extLst>
      <p:ext uri="{BB962C8B-B14F-4D97-AF65-F5344CB8AC3E}">
        <p14:creationId xmlns:p14="http://schemas.microsoft.com/office/powerpoint/2010/main" val="10136465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b="5794"/>
          <a:stretch/>
        </p:blipFill>
        <p:spPr>
          <a:xfrm>
            <a:off x="-22747" y="-34688"/>
            <a:ext cx="9161060" cy="5178188"/>
          </a:xfrm>
          <a:prstGeom prst="rect">
            <a:avLst/>
          </a:prstGeom>
        </p:spPr>
      </p:pic>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b="5794"/>
          <a:stretch/>
        </p:blipFill>
        <p:spPr>
          <a:xfrm>
            <a:off x="-22747" y="-34688"/>
            <a:ext cx="9161060" cy="5178188"/>
          </a:xfrm>
          <a:prstGeom prst="rect">
            <a:avLst/>
          </a:prstGeom>
        </p:spPr>
      </p:pic>
      <p:sp>
        <p:nvSpPr>
          <p:cNvPr id="4" name="Text Placeholder 23"/>
          <p:cNvSpPr>
            <a:spLocks noGrp="1"/>
          </p:cNvSpPr>
          <p:nvPr>
            <p:ph type="body" sz="quarter" idx="10" hasCustomPrompt="1"/>
          </p:nvPr>
        </p:nvSpPr>
        <p:spPr>
          <a:xfrm>
            <a:off x="304800" y="4259799"/>
            <a:ext cx="4114800" cy="6096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5" name="Title Placeholder 1"/>
          <p:cNvSpPr>
            <a:spLocks noGrp="1"/>
          </p:cNvSpPr>
          <p:nvPr>
            <p:ph type="title" hasCustomPrompt="1"/>
          </p:nvPr>
        </p:nvSpPr>
        <p:spPr>
          <a:xfrm>
            <a:off x="7086600" y="4259799"/>
            <a:ext cx="1828800" cy="246184"/>
          </a:xfrm>
          <a:prstGeom prst="rect">
            <a:avLst/>
          </a:prstGeom>
        </p:spPr>
        <p:txBody>
          <a:bodyPr vert="horz" lIns="91440" tIns="45720" rIns="91440" bIns="45720" rtlCol="0" anchor="ctr">
            <a:noAutofit/>
          </a:bodyPr>
          <a:lstStyle>
            <a:lvl1pPr algn="r">
              <a:defRPr sz="1600" b="0">
                <a:solidFill>
                  <a:srgbClr val="404040"/>
                </a:solidFill>
              </a:defRPr>
            </a:lvl1pPr>
          </a:lstStyle>
          <a:p>
            <a:r>
              <a:rPr lang="en-CA" dirty="0" smtClean="0"/>
              <a:t>Name</a:t>
            </a:r>
            <a:endParaRPr lang="en-US" dirty="0"/>
          </a:p>
        </p:txBody>
      </p:sp>
      <p:sp>
        <p:nvSpPr>
          <p:cNvPr id="10" name="Text Placeholder 9"/>
          <p:cNvSpPr>
            <a:spLocks noGrp="1"/>
          </p:cNvSpPr>
          <p:nvPr>
            <p:ph type="body" sz="quarter" idx="11" hasCustomPrompt="1"/>
          </p:nvPr>
        </p:nvSpPr>
        <p:spPr>
          <a:xfrm>
            <a:off x="7086600" y="4623337"/>
            <a:ext cx="1828800" cy="246062"/>
          </a:xfrm>
        </p:spPr>
        <p:txBody>
          <a:bodyPr>
            <a:noAutofit/>
          </a:bodyPr>
          <a:lstStyle>
            <a:lvl1pPr marL="0" indent="0" algn="r">
              <a:buNone/>
              <a:defRPr sz="1600"/>
            </a:lvl1pPr>
          </a:lstStyle>
          <a:p>
            <a:pPr lvl="0"/>
            <a:r>
              <a:rPr lang="en-US" dirty="0" smtClean="0"/>
              <a:t>Date</a:t>
            </a:r>
            <a:endParaRPr lang="en-CA"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800" y="-1085850"/>
            <a:ext cx="2590800" cy="3352800"/>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0800" y="-1085850"/>
            <a:ext cx="2590800" cy="3352800"/>
          </a:xfrm>
          <a:prstGeom prst="rect">
            <a:avLst/>
          </a:prstGeom>
        </p:spPr>
      </p:pic>
    </p:spTree>
    <p:extLst>
      <p:ext uri="{BB962C8B-B14F-4D97-AF65-F5344CB8AC3E}">
        <p14:creationId xmlns:p14="http://schemas.microsoft.com/office/powerpoint/2010/main" val="36725561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eople">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b="5903"/>
          <a:stretch/>
        </p:blipFill>
        <p:spPr>
          <a:xfrm>
            <a:off x="0" y="0"/>
            <a:ext cx="9144000" cy="5162550"/>
          </a:xfrm>
          <a:prstGeom prst="rect">
            <a:avLst/>
          </a:prstGeom>
        </p:spPr>
      </p:pic>
      <p:sp>
        <p:nvSpPr>
          <p:cNvPr id="4" name="Text Placeholder 23"/>
          <p:cNvSpPr>
            <a:spLocks noGrp="1"/>
          </p:cNvSpPr>
          <p:nvPr>
            <p:ph type="body" sz="quarter" idx="10" hasCustomPrompt="1"/>
          </p:nvPr>
        </p:nvSpPr>
        <p:spPr>
          <a:xfrm>
            <a:off x="304800" y="4259799"/>
            <a:ext cx="4114800" cy="6096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5" name="Title Placeholder 1"/>
          <p:cNvSpPr>
            <a:spLocks noGrp="1"/>
          </p:cNvSpPr>
          <p:nvPr>
            <p:ph type="title" hasCustomPrompt="1"/>
          </p:nvPr>
        </p:nvSpPr>
        <p:spPr>
          <a:xfrm>
            <a:off x="7086600" y="4259799"/>
            <a:ext cx="1828800" cy="246184"/>
          </a:xfrm>
          <a:prstGeom prst="rect">
            <a:avLst/>
          </a:prstGeom>
        </p:spPr>
        <p:txBody>
          <a:bodyPr vert="horz" lIns="91440" tIns="45720" rIns="91440" bIns="45720" rtlCol="0" anchor="ctr">
            <a:noAutofit/>
          </a:bodyPr>
          <a:lstStyle>
            <a:lvl1pPr algn="r">
              <a:defRPr sz="1600" b="0">
                <a:solidFill>
                  <a:schemeClr val="bg1"/>
                </a:solidFill>
              </a:defRPr>
            </a:lvl1pPr>
          </a:lstStyle>
          <a:p>
            <a:r>
              <a:rPr lang="en-CA" dirty="0" smtClean="0"/>
              <a:t>Name</a:t>
            </a:r>
            <a:endParaRPr lang="en-US" dirty="0"/>
          </a:p>
        </p:txBody>
      </p:sp>
      <p:sp>
        <p:nvSpPr>
          <p:cNvPr id="10" name="Text Placeholder 9"/>
          <p:cNvSpPr>
            <a:spLocks noGrp="1"/>
          </p:cNvSpPr>
          <p:nvPr>
            <p:ph type="body" sz="quarter" idx="11" hasCustomPrompt="1"/>
          </p:nvPr>
        </p:nvSpPr>
        <p:spPr>
          <a:xfrm>
            <a:off x="7086600" y="4623337"/>
            <a:ext cx="1828800" cy="246062"/>
          </a:xfrm>
        </p:spPr>
        <p:txBody>
          <a:bodyPr>
            <a:noAutofit/>
          </a:bodyPr>
          <a:lstStyle>
            <a:lvl1pPr marL="0" indent="0" algn="r">
              <a:buNone/>
              <a:defRPr sz="1600">
                <a:solidFill>
                  <a:schemeClr val="bg1"/>
                </a:solidFill>
              </a:defRPr>
            </a:lvl1pPr>
          </a:lstStyle>
          <a:p>
            <a:pPr lvl="0"/>
            <a:r>
              <a:rPr lang="en-US" dirty="0" smtClean="0"/>
              <a:t>Date</a:t>
            </a:r>
            <a:endParaRPr lang="en-CA"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b="5903"/>
          <a:stretch/>
        </p:blipFill>
        <p:spPr>
          <a:xfrm>
            <a:off x="0" y="0"/>
            <a:ext cx="9144000" cy="5162550"/>
          </a:xfrm>
          <a:prstGeom prst="rect">
            <a:avLst/>
          </a:prstGeom>
        </p:spPr>
      </p:pic>
    </p:spTree>
    <p:extLst>
      <p:ext uri="{BB962C8B-B14F-4D97-AF65-F5344CB8AC3E}">
        <p14:creationId xmlns:p14="http://schemas.microsoft.com/office/powerpoint/2010/main" val="372199896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MacDon">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5156" y="-247650"/>
            <a:ext cx="9220200" cy="6146800"/>
          </a:xfrm>
          <a:prstGeom prst="rect">
            <a:avLst/>
          </a:prstGeom>
        </p:spPr>
      </p:pic>
      <p:sp>
        <p:nvSpPr>
          <p:cNvPr id="4" name="Text Placeholder 23"/>
          <p:cNvSpPr>
            <a:spLocks noGrp="1"/>
          </p:cNvSpPr>
          <p:nvPr>
            <p:ph type="body" sz="quarter" idx="10" hasCustomPrompt="1"/>
          </p:nvPr>
        </p:nvSpPr>
        <p:spPr>
          <a:xfrm>
            <a:off x="304800" y="4259799"/>
            <a:ext cx="4114800" cy="609600"/>
          </a:xfrm>
          <a:prstGeom prst="rect">
            <a:avLst/>
          </a:prstGeom>
        </p:spPr>
        <p:txBody>
          <a:bodyPr>
            <a:normAutofit/>
          </a:bodyPr>
          <a:lstStyle>
            <a:lvl1pPr marL="0" indent="0">
              <a:buNone/>
              <a:defRPr sz="2800" b="1" baseline="0">
                <a:solidFill>
                  <a:schemeClr val="bg1"/>
                </a:solidFill>
              </a:defRPr>
            </a:lvl1pPr>
          </a:lstStyle>
          <a:p>
            <a:pPr lvl="0"/>
            <a:r>
              <a:rPr lang="en-US" dirty="0" smtClean="0"/>
              <a:t>Presentation Title</a:t>
            </a:r>
            <a:endParaRPr lang="en-CA" dirty="0"/>
          </a:p>
        </p:txBody>
      </p:sp>
      <p:sp>
        <p:nvSpPr>
          <p:cNvPr id="5" name="Title Placeholder 1"/>
          <p:cNvSpPr>
            <a:spLocks noGrp="1"/>
          </p:cNvSpPr>
          <p:nvPr>
            <p:ph type="title" hasCustomPrompt="1"/>
          </p:nvPr>
        </p:nvSpPr>
        <p:spPr>
          <a:xfrm>
            <a:off x="7086600" y="4259799"/>
            <a:ext cx="1828800" cy="246184"/>
          </a:xfrm>
          <a:prstGeom prst="rect">
            <a:avLst/>
          </a:prstGeom>
        </p:spPr>
        <p:txBody>
          <a:bodyPr vert="horz" lIns="91440" tIns="45720" rIns="91440" bIns="45720" rtlCol="0" anchor="ctr">
            <a:noAutofit/>
          </a:bodyPr>
          <a:lstStyle>
            <a:lvl1pPr algn="r">
              <a:defRPr sz="1600" b="0">
                <a:solidFill>
                  <a:schemeClr val="bg1"/>
                </a:solidFill>
              </a:defRPr>
            </a:lvl1pPr>
          </a:lstStyle>
          <a:p>
            <a:r>
              <a:rPr lang="en-CA" dirty="0" smtClean="0"/>
              <a:t>Name</a:t>
            </a:r>
            <a:endParaRPr lang="en-US" dirty="0"/>
          </a:p>
        </p:txBody>
      </p:sp>
      <p:sp>
        <p:nvSpPr>
          <p:cNvPr id="10" name="Text Placeholder 9"/>
          <p:cNvSpPr>
            <a:spLocks noGrp="1"/>
          </p:cNvSpPr>
          <p:nvPr>
            <p:ph type="body" sz="quarter" idx="11" hasCustomPrompt="1"/>
          </p:nvPr>
        </p:nvSpPr>
        <p:spPr>
          <a:xfrm>
            <a:off x="7086600" y="4623337"/>
            <a:ext cx="1828800" cy="246062"/>
          </a:xfrm>
        </p:spPr>
        <p:txBody>
          <a:bodyPr>
            <a:noAutofit/>
          </a:bodyPr>
          <a:lstStyle>
            <a:lvl1pPr marL="0" indent="0" algn="r">
              <a:buNone/>
              <a:defRPr sz="1600" b="0">
                <a:solidFill>
                  <a:schemeClr val="bg1"/>
                </a:solidFill>
              </a:defRPr>
            </a:lvl1pPr>
          </a:lstStyle>
          <a:p>
            <a:pPr lvl="0"/>
            <a:r>
              <a:rPr lang="en-US" dirty="0" smtClean="0"/>
              <a:t>Date</a:t>
            </a:r>
            <a:endParaRPr lang="en-CA" dirty="0"/>
          </a:p>
        </p:txBody>
      </p:sp>
    </p:spTree>
    <p:extLst>
      <p:ext uri="{BB962C8B-B14F-4D97-AF65-F5344CB8AC3E}">
        <p14:creationId xmlns:p14="http://schemas.microsoft.com/office/powerpoint/2010/main" val="31818915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slideLayout" Target="../slideLayouts/slideLayout45.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50" Type="http://schemas.openxmlformats.org/officeDocument/2006/relationships/slideLayout" Target="../slideLayouts/slideLayout56.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41" Type="http://schemas.openxmlformats.org/officeDocument/2006/relationships/slideLayout" Target="../slideLayouts/slideLayout47.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theme" Target="../theme/theme2.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8" Type="http://schemas.openxmlformats.org/officeDocument/2006/relationships/slideLayout" Target="../slideLayouts/slideLayout14.xml"/><Relationship Id="rId51"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85750"/>
            <a:ext cx="6172200" cy="674689"/>
          </a:xfrm>
          <a:prstGeom prst="rect">
            <a:avLst/>
          </a:prstGeom>
        </p:spPr>
        <p:txBody>
          <a:bodyPr vert="horz" lIns="91440" tIns="45720" rIns="91440" bIns="45720" rtlCol="0" anchor="ctr">
            <a:normAutofit/>
          </a:bodyPr>
          <a:lstStyle/>
          <a:p>
            <a:r>
              <a:rPr lang="en-CA" dirty="0" smtClean="0"/>
              <a:t>Presentation Title   |   Section / Slide Title (Grey, 64 64 64)</a:t>
            </a:r>
            <a:endParaRPr lang="en-US" dirty="0"/>
          </a:p>
        </p:txBody>
      </p:sp>
      <p:sp>
        <p:nvSpPr>
          <p:cNvPr id="9" name="Text Placeholder 2"/>
          <p:cNvSpPr>
            <a:spLocks noGrp="1"/>
          </p:cNvSpPr>
          <p:nvPr>
            <p:ph type="body" idx="1"/>
          </p:nvPr>
        </p:nvSpPr>
        <p:spPr>
          <a:xfrm>
            <a:off x="457200" y="1200150"/>
            <a:ext cx="8229600" cy="34290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Tree>
    <p:extLst>
      <p:ext uri="{BB962C8B-B14F-4D97-AF65-F5344CB8AC3E}">
        <p14:creationId xmlns:p14="http://schemas.microsoft.com/office/powerpoint/2010/main" val="2129412663"/>
      </p:ext>
    </p:extLst>
  </p:cSld>
  <p:clrMap bg1="lt1" tx1="dk1" bg2="lt2" tx2="dk2" accent1="accent1" accent2="accent2" accent3="accent3" accent4="accent4" accent5="accent5" accent6="accent6" hlink="hlink" folHlink="folHlink"/>
  <p:sldLayoutIdLst>
    <p:sldLayoutId id="2147483667" r:id="rId1"/>
    <p:sldLayoutId id="2147483688" r:id="rId2"/>
    <p:sldLayoutId id="2147483684" r:id="rId3"/>
    <p:sldLayoutId id="2147483683" r:id="rId4"/>
    <p:sldLayoutId id="2147483689" r:id="rId5"/>
    <p:sldLayoutId id="2147483685" r:id="rId6"/>
  </p:sldLayoutIdLst>
  <p:timing>
    <p:tnLst>
      <p:par>
        <p:cTn id="1" dur="indefinite" restart="never" nodeType="tmRoot"/>
      </p:par>
    </p:tnLst>
  </p:timing>
  <p:txStyles>
    <p:titleStyle>
      <a:lvl1pPr algn="l" defTabSz="914400" rtl="0" eaLnBrk="1" latinLnBrk="0" hangingPunct="1">
        <a:spcBef>
          <a:spcPct val="0"/>
        </a:spcBef>
        <a:buNone/>
        <a:defRPr sz="2400" b="1" kern="1200">
          <a:solidFill>
            <a:srgbClr val="BC4E21"/>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Arial Narrow" panose="020B0606020202030204" pitchFamily="34" charset="0"/>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Arial Narrow" panose="020B0606020202030204" pitchFamily="34" charset="0"/>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85750"/>
            <a:ext cx="6172200" cy="674689"/>
          </a:xfrm>
          <a:prstGeom prst="rect">
            <a:avLst/>
          </a:prstGeom>
        </p:spPr>
        <p:txBody>
          <a:bodyPr vert="horz" lIns="91440" tIns="45720" rIns="91440" bIns="45720" rtlCol="0" anchor="ctr">
            <a:normAutofit/>
          </a:bodyPr>
          <a:lstStyle/>
          <a:p>
            <a:r>
              <a:rPr lang="en-CA" dirty="0" smtClean="0"/>
              <a:t>Presentation Title   |   Section / Slide Title (Grey, 64 64 64)</a:t>
            </a:r>
            <a:endParaRPr lang="en-US" dirty="0"/>
          </a:p>
        </p:txBody>
      </p:sp>
      <p:sp>
        <p:nvSpPr>
          <p:cNvPr id="9" name="Text Placeholder 2"/>
          <p:cNvSpPr>
            <a:spLocks noGrp="1"/>
          </p:cNvSpPr>
          <p:nvPr>
            <p:ph type="body" idx="1"/>
          </p:nvPr>
        </p:nvSpPr>
        <p:spPr>
          <a:xfrm>
            <a:off x="457200" y="1200150"/>
            <a:ext cx="8229600" cy="3429000"/>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dirty="0"/>
          </a:p>
        </p:txBody>
      </p:sp>
      <p:sp>
        <p:nvSpPr>
          <p:cNvPr id="2" name="Slide Number Placeholder 1"/>
          <p:cNvSpPr>
            <a:spLocks noGrp="1"/>
          </p:cNvSpPr>
          <p:nvPr>
            <p:ph type="sldNum" sz="quarter" idx="4"/>
          </p:nvPr>
        </p:nvSpPr>
        <p:spPr>
          <a:xfrm>
            <a:off x="7010400" y="4781550"/>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1F5DFCBF-6DC3-4C9D-BCCF-8EA7A2F4C7BA}" type="slidenum">
              <a:rPr lang="en-CA" smtClean="0"/>
              <a:t>‹#›</a:t>
            </a:fld>
            <a:endParaRPr lang="en-CA"/>
          </a:p>
        </p:txBody>
      </p:sp>
    </p:spTree>
    <p:extLst>
      <p:ext uri="{BB962C8B-B14F-4D97-AF65-F5344CB8AC3E}">
        <p14:creationId xmlns:p14="http://schemas.microsoft.com/office/powerpoint/2010/main" val="320632438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 id="2147483744" r:id="rId39"/>
    <p:sldLayoutId id="2147483745" r:id="rId40"/>
    <p:sldLayoutId id="2147483746" r:id="rId41"/>
    <p:sldLayoutId id="2147483747" r:id="rId42"/>
    <p:sldLayoutId id="2147483748" r:id="rId43"/>
    <p:sldLayoutId id="2147483749" r:id="rId44"/>
    <p:sldLayoutId id="2147483750" r:id="rId45"/>
    <p:sldLayoutId id="2147483751" r:id="rId46"/>
    <p:sldLayoutId id="2147483752" r:id="rId47"/>
    <p:sldLayoutId id="2147483753" r:id="rId48"/>
    <p:sldLayoutId id="2147483754" r:id="rId49"/>
    <p:sldLayoutId id="2147483755" r:id="rId50"/>
    <p:sldLayoutId id="2147483756" r:id="rId51"/>
    <p:sldLayoutId id="2147483758" r:id="rId52"/>
  </p:sldLayoutIdLst>
  <p:timing>
    <p:tnLst>
      <p:par>
        <p:cTn id="1" dur="indefinite" restart="never" nodeType="tmRoot"/>
      </p:par>
    </p:tnLst>
  </p:timing>
  <p:txStyles>
    <p:titleStyle>
      <a:lvl1pPr algn="l" defTabSz="914400" rtl="0" eaLnBrk="1" latinLnBrk="0" hangingPunct="1">
        <a:spcBef>
          <a:spcPct val="0"/>
        </a:spcBef>
        <a:buNone/>
        <a:defRPr sz="2400" b="1" kern="1200">
          <a:solidFill>
            <a:srgbClr val="BC4E21"/>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Arial Narrow" panose="020B0606020202030204" pitchFamily="34" charset="0"/>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Arial Narrow" panose="020B0606020202030204" pitchFamily="34" charset="0"/>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3.xml"/><Relationship Id="rId5" Type="http://schemas.openxmlformats.org/officeDocument/2006/relationships/image" Target="../media/image65.png"/><Relationship Id="rId4"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67.png"/><Relationship Id="rId7" Type="http://schemas.openxmlformats.org/officeDocument/2006/relationships/image" Target="../media/image69.png"/><Relationship Id="rId2" Type="http://schemas.openxmlformats.org/officeDocument/2006/relationships/image" Target="../media/image66.jpg"/><Relationship Id="rId1" Type="http://schemas.openxmlformats.org/officeDocument/2006/relationships/slideLayout" Target="../slideLayouts/slideLayout53.xml"/><Relationship Id="rId6" Type="http://schemas.microsoft.com/office/2007/relationships/hdphoto" Target="../media/hdphoto2.wdp"/><Relationship Id="rId5" Type="http://schemas.openxmlformats.org/officeDocument/2006/relationships/image" Target="../media/image68.png"/><Relationship Id="rId4"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3.xml"/><Relationship Id="rId5" Type="http://schemas.openxmlformats.org/officeDocument/2006/relationships/image" Target="../media/image73.png"/><Relationship Id="rId4" Type="http://schemas.openxmlformats.org/officeDocument/2006/relationships/image" Target="../media/image72.png"/></Relationships>
</file>

<file path=ppt/slides/_rels/slide1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jpeg"/><Relationship Id="rId7" Type="http://schemas.openxmlformats.org/officeDocument/2006/relationships/image" Target="../media/image78.pn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jpeg"/></Relationships>
</file>

<file path=ppt/slides/_rels/slide1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3" Type="http://schemas.openxmlformats.org/officeDocument/2006/relationships/image" Target="../media/image81.jpeg"/><Relationship Id="rId7" Type="http://schemas.openxmlformats.org/officeDocument/2006/relationships/image" Target="../media/image85.jpeg"/><Relationship Id="rId12" Type="http://schemas.microsoft.com/office/2007/relationships/hdphoto" Target="../media/hdphoto5.wdp"/><Relationship Id="rId2" Type="http://schemas.openxmlformats.org/officeDocument/2006/relationships/image" Target="../media/image80.jpeg"/><Relationship Id="rId1" Type="http://schemas.openxmlformats.org/officeDocument/2006/relationships/slideLayout" Target="../slideLayouts/slideLayout53.xml"/><Relationship Id="rId6" Type="http://schemas.openxmlformats.org/officeDocument/2006/relationships/image" Target="../media/image84.png"/><Relationship Id="rId11" Type="http://schemas.openxmlformats.org/officeDocument/2006/relationships/image" Target="../media/image88.png"/><Relationship Id="rId5" Type="http://schemas.openxmlformats.org/officeDocument/2006/relationships/image" Target="../media/image83.png"/><Relationship Id="rId10" Type="http://schemas.openxmlformats.org/officeDocument/2006/relationships/image" Target="../media/image87.jpeg"/><Relationship Id="rId4" Type="http://schemas.openxmlformats.org/officeDocument/2006/relationships/image" Target="../media/image82.jpeg"/><Relationship Id="rId9" Type="http://schemas.microsoft.com/office/2007/relationships/hdphoto" Target="../media/hdphoto4.wdp"/><Relationship Id="rId14" Type="http://schemas.microsoft.com/office/2007/relationships/hdphoto" Target="../media/hdphoto6.wd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xml"/><Relationship Id="rId1" Type="http://schemas.openxmlformats.org/officeDocument/2006/relationships/slideLayout" Target="../slideLayouts/slideLayout5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eg"/><Relationship Id="rId1" Type="http://schemas.openxmlformats.org/officeDocument/2006/relationships/slideLayout" Target="../slideLayouts/slideLayout53.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8.png"/><Relationship Id="rId1" Type="http://schemas.openxmlformats.org/officeDocument/2006/relationships/slideLayout" Target="../slideLayouts/slideLayout5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Layout" Target="../slideLayouts/slideLayout53.xml"/></Relationships>
</file>

<file path=ppt/slides/_rels/slide22.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53.xml"/></Relationships>
</file>

<file path=ppt/slides/_rels/slide2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03.png"/><Relationship Id="rId1" Type="http://schemas.openxmlformats.org/officeDocument/2006/relationships/slideLayout" Target="../slideLayouts/slideLayout53.xml"/></Relationships>
</file>

<file path=ppt/slides/_rels/slide24.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06.jpeg"/><Relationship Id="rId7" Type="http://schemas.openxmlformats.org/officeDocument/2006/relationships/diagramColors" Target="../diagrams/colors2.xml"/><Relationship Id="rId2" Type="http://schemas.openxmlformats.org/officeDocument/2006/relationships/image" Target="../media/image105.png"/><Relationship Id="rId1" Type="http://schemas.openxmlformats.org/officeDocument/2006/relationships/slideLayout" Target="../slideLayouts/slideLayout5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07.png"/><Relationship Id="rId1" Type="http://schemas.openxmlformats.org/officeDocument/2006/relationships/slideLayout" Target="../slideLayouts/slideLayout53.xml"/><Relationship Id="rId5" Type="http://schemas.openxmlformats.org/officeDocument/2006/relationships/image" Target="../media/image109.png"/><Relationship Id="rId4" Type="http://schemas.openxmlformats.org/officeDocument/2006/relationships/image" Target="../media/image108.jpeg"/></Relationships>
</file>

<file path=ppt/slides/_rels/slide27.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10.png"/><Relationship Id="rId1" Type="http://schemas.openxmlformats.org/officeDocument/2006/relationships/slideLayout" Target="../slideLayouts/slideLayout53.xml"/><Relationship Id="rId5" Type="http://schemas.microsoft.com/office/2007/relationships/hdphoto" Target="../media/hdphoto10.wdp"/><Relationship Id="rId4" Type="http://schemas.openxmlformats.org/officeDocument/2006/relationships/image" Target="../media/image111.png"/></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53.xml"/><Relationship Id="rId5" Type="http://schemas.openxmlformats.org/officeDocument/2006/relationships/hyperlink" Target="http://www.riosv-ruse.org/danni-ot-sobstven-monitoring-na-spetzifichni-organichni-veshtestva-na-montyupe-eood.html" TargetMode="External"/><Relationship Id="rId4" Type="http://schemas.openxmlformats.org/officeDocument/2006/relationships/image" Target="../media/image11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53.xml"/><Relationship Id="rId6" Type="http://schemas.microsoft.com/office/2007/relationships/hdphoto" Target="../media/hdphoto12.wdp"/><Relationship Id="rId5" Type="http://schemas.openxmlformats.org/officeDocument/2006/relationships/image" Target="../media/image117.png"/><Relationship Id="rId4" Type="http://schemas.microsoft.com/office/2007/relationships/hdphoto" Target="../media/hdphoto11.wdp"/></Relationships>
</file>

<file path=ppt/slides/_rels/slide3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eg"/><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53.xml"/><Relationship Id="rId4" Type="http://schemas.openxmlformats.org/officeDocument/2006/relationships/image" Target="../media/image122.PNG"/></Relationships>
</file>

<file path=ppt/slides/_rels/slide35.xml.rels><?xml version="1.0" encoding="UTF-8" standalone="yes"?>
<Relationships xmlns="http://schemas.openxmlformats.org/package/2006/relationships"><Relationship Id="rId3" Type="http://schemas.openxmlformats.org/officeDocument/2006/relationships/image" Target="../media/image124.emf"/><Relationship Id="rId2" Type="http://schemas.openxmlformats.org/officeDocument/2006/relationships/image" Target="../media/image123.emf"/><Relationship Id="rId1" Type="http://schemas.openxmlformats.org/officeDocument/2006/relationships/slideLayout" Target="../slideLayouts/slideLayout53.xml"/><Relationship Id="rId4" Type="http://schemas.openxmlformats.org/officeDocument/2006/relationships/image" Target="../media/image122.PNG"/></Relationships>
</file>

<file path=ppt/slides/_rels/slide3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53.xml"/><Relationship Id="rId5" Type="http://schemas.openxmlformats.org/officeDocument/2006/relationships/image" Target="../media/image127.png"/><Relationship Id="rId4" Type="http://schemas.microsoft.com/office/2007/relationships/hdphoto" Target="../media/hdphoto13.wdp"/></Relationships>
</file>

<file path=ppt/slides/_rels/slide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slideLayout" Target="../slideLayouts/slideLayout53.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notesSlide" Target="../notesSlides/notesSlide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26" Type="http://schemas.openxmlformats.org/officeDocument/2006/relationships/image" Target="../media/image56.png"/><Relationship Id="rId3" Type="http://schemas.openxmlformats.org/officeDocument/2006/relationships/image" Target="../media/image33.jpeg"/><Relationship Id="rId21" Type="http://schemas.openxmlformats.org/officeDocument/2006/relationships/image" Target="../media/image51.png"/><Relationship Id="rId7" Type="http://schemas.openxmlformats.org/officeDocument/2006/relationships/image" Target="../media/image37.jpeg"/><Relationship Id="rId12" Type="http://schemas.openxmlformats.org/officeDocument/2006/relationships/image" Target="../media/image42.png"/><Relationship Id="rId17" Type="http://schemas.openxmlformats.org/officeDocument/2006/relationships/image" Target="../media/image47.png"/><Relationship Id="rId25" Type="http://schemas.openxmlformats.org/officeDocument/2006/relationships/image" Target="../media/image55.png"/><Relationship Id="rId2" Type="http://schemas.openxmlformats.org/officeDocument/2006/relationships/image" Target="../media/image32.jpeg"/><Relationship Id="rId16" Type="http://schemas.openxmlformats.org/officeDocument/2006/relationships/image" Target="../media/image46.png"/><Relationship Id="rId20" Type="http://schemas.openxmlformats.org/officeDocument/2006/relationships/image" Target="../media/image50.png"/><Relationship Id="rId29" Type="http://schemas.openxmlformats.org/officeDocument/2006/relationships/image" Target="../media/image59.png"/><Relationship Id="rId1" Type="http://schemas.openxmlformats.org/officeDocument/2006/relationships/slideLayout" Target="../slideLayouts/slideLayout53.xml"/><Relationship Id="rId6" Type="http://schemas.openxmlformats.org/officeDocument/2006/relationships/image" Target="../media/image36.jpeg"/><Relationship Id="rId11" Type="http://schemas.openxmlformats.org/officeDocument/2006/relationships/image" Target="../media/image41.tiff"/><Relationship Id="rId24" Type="http://schemas.openxmlformats.org/officeDocument/2006/relationships/image" Target="../media/image54.png"/><Relationship Id="rId5" Type="http://schemas.openxmlformats.org/officeDocument/2006/relationships/image" Target="../media/image35.tiff"/><Relationship Id="rId15" Type="http://schemas.openxmlformats.org/officeDocument/2006/relationships/image" Target="../media/image45.tiff"/><Relationship Id="rId23" Type="http://schemas.openxmlformats.org/officeDocument/2006/relationships/image" Target="../media/image53.png"/><Relationship Id="rId28" Type="http://schemas.openxmlformats.org/officeDocument/2006/relationships/image" Target="../media/image58.png"/><Relationship Id="rId10" Type="http://schemas.openxmlformats.org/officeDocument/2006/relationships/image" Target="../media/image40.jpeg"/><Relationship Id="rId19" Type="http://schemas.openxmlformats.org/officeDocument/2006/relationships/image" Target="../media/image49.png"/><Relationship Id="rId4" Type="http://schemas.openxmlformats.org/officeDocument/2006/relationships/image" Target="../media/image34.tiff"/><Relationship Id="rId9" Type="http://schemas.openxmlformats.org/officeDocument/2006/relationships/image" Target="../media/image39.png"/><Relationship Id="rId14" Type="http://schemas.openxmlformats.org/officeDocument/2006/relationships/image" Target="../media/image44.tiff"/><Relationship Id="rId22" Type="http://schemas.openxmlformats.org/officeDocument/2006/relationships/image" Target="../media/image52.png"/><Relationship Id="rId27" Type="http://schemas.openxmlformats.org/officeDocument/2006/relationships/image" Target="../media/image5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bg-BG" dirty="0" smtClean="0"/>
              <a:t>Лорето </a:t>
            </a:r>
            <a:r>
              <a:rPr lang="bg-BG" dirty="0" smtClean="0"/>
              <a:t>Айбанез</a:t>
            </a:r>
            <a:r>
              <a:rPr lang="en-US" dirty="0" smtClean="0"/>
              <a:t/>
            </a:r>
            <a:br>
              <a:rPr lang="en-US" dirty="0" smtClean="0"/>
            </a:br>
            <a:r>
              <a:rPr lang="bg-BG" dirty="0" smtClean="0"/>
              <a:t>Управител</a:t>
            </a:r>
            <a:endParaRPr lang="en-US" dirty="0"/>
          </a:p>
        </p:txBody>
      </p:sp>
      <p:sp>
        <p:nvSpPr>
          <p:cNvPr id="3" name="Text Placeholder 2"/>
          <p:cNvSpPr>
            <a:spLocks noGrp="1"/>
          </p:cNvSpPr>
          <p:nvPr>
            <p:ph type="body" sz="quarter" idx="10"/>
          </p:nvPr>
        </p:nvSpPr>
        <p:spPr>
          <a:xfrm>
            <a:off x="76200" y="438150"/>
            <a:ext cx="2362200" cy="1295400"/>
          </a:xfrm>
        </p:spPr>
        <p:txBody>
          <a:bodyPr>
            <a:normAutofit/>
          </a:bodyPr>
          <a:lstStyle/>
          <a:p>
            <a:r>
              <a:rPr lang="bg-BG" sz="2400" dirty="0" smtClean="0"/>
              <a:t>ЛИНАМАР</a:t>
            </a:r>
            <a:endParaRPr lang="en-US" sz="2400" dirty="0" smtClean="0"/>
          </a:p>
          <a:p>
            <a:r>
              <a:rPr lang="bg-BG" sz="2400" dirty="0" smtClean="0"/>
              <a:t>ЛЕКИ МЕТАЛИ РУСЕ</a:t>
            </a:r>
            <a:endParaRPr lang="en-US" sz="2400" dirty="0"/>
          </a:p>
        </p:txBody>
      </p:sp>
      <p:sp>
        <p:nvSpPr>
          <p:cNvPr id="5" name="Text Placeholder 4"/>
          <p:cNvSpPr>
            <a:spLocks noGrp="1"/>
          </p:cNvSpPr>
          <p:nvPr>
            <p:ph type="body" sz="quarter" idx="11"/>
          </p:nvPr>
        </p:nvSpPr>
        <p:spPr/>
        <p:txBody>
          <a:bodyPr/>
          <a:lstStyle/>
          <a:p>
            <a:r>
              <a:rPr lang="en-US" dirty="0" smtClean="0"/>
              <a:t>25/06/2020</a:t>
            </a:r>
            <a:endParaRPr lang="en-US" dirty="0"/>
          </a:p>
        </p:txBody>
      </p:sp>
    </p:spTree>
    <p:extLst>
      <p:ext uri="{BB962C8B-B14F-4D97-AF65-F5344CB8AC3E}">
        <p14:creationId xmlns:p14="http://schemas.microsoft.com/office/powerpoint/2010/main" val="21831156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4758649" y="3630329"/>
            <a:ext cx="3988261" cy="1196591"/>
          </a:xfrm>
        </p:spPr>
        <p:txBody>
          <a:bodyPr>
            <a:normAutofit/>
          </a:bodyPr>
          <a:lstStyle/>
          <a:p>
            <a:r>
              <a:rPr lang="bg-BG" sz="1800" dirty="0" smtClean="0"/>
              <a:t>Създаден</a:t>
            </a:r>
            <a:r>
              <a:rPr lang="en-US" sz="1800" dirty="0" smtClean="0"/>
              <a:t>: 	  </a:t>
            </a:r>
            <a:r>
              <a:rPr lang="bg-BG" sz="1800" dirty="0"/>
              <a:t> </a:t>
            </a:r>
            <a:r>
              <a:rPr lang="bg-BG" sz="1800" dirty="0" smtClean="0"/>
              <a:t>      	 </a:t>
            </a:r>
            <a:r>
              <a:rPr lang="en-US" sz="1800" dirty="0" smtClean="0"/>
              <a:t>2006</a:t>
            </a:r>
          </a:p>
          <a:p>
            <a:r>
              <a:rPr lang="bg-BG" sz="1800" dirty="0" smtClean="0"/>
              <a:t>Площ на завода</a:t>
            </a:r>
            <a:r>
              <a:rPr lang="en-US" sz="1800" dirty="0" smtClean="0"/>
              <a:t>: </a:t>
            </a:r>
            <a:r>
              <a:rPr lang="bg-BG" sz="1800" dirty="0" smtClean="0"/>
              <a:t>	</a:t>
            </a:r>
            <a:r>
              <a:rPr lang="en-US" sz="1800" dirty="0" smtClean="0"/>
              <a:t>140 000 </a:t>
            </a:r>
            <a:r>
              <a:rPr lang="en-US" altLang="bg-BG" sz="1800" dirty="0" smtClean="0"/>
              <a:t>m²</a:t>
            </a:r>
          </a:p>
          <a:p>
            <a:r>
              <a:rPr lang="bg-BG" sz="1800" dirty="0" smtClean="0"/>
              <a:t>Производствени площи</a:t>
            </a:r>
            <a:r>
              <a:rPr lang="en-US" sz="1800" dirty="0" smtClean="0"/>
              <a:t>: </a:t>
            </a:r>
            <a:r>
              <a:rPr lang="bg-BG" sz="1800" dirty="0" smtClean="0"/>
              <a:t>     </a:t>
            </a:r>
            <a:r>
              <a:rPr lang="en-US" sz="1800" dirty="0" smtClean="0"/>
              <a:t>30 000 </a:t>
            </a:r>
            <a:r>
              <a:rPr lang="en-US" altLang="bg-BG" sz="1800" dirty="0" smtClean="0"/>
              <a:t>m²</a:t>
            </a:r>
          </a:p>
        </p:txBody>
      </p:sp>
      <p:sp>
        <p:nvSpPr>
          <p:cNvPr id="4" name="Title 3"/>
          <p:cNvSpPr>
            <a:spLocks noGrp="1"/>
          </p:cNvSpPr>
          <p:nvPr>
            <p:ph type="title"/>
          </p:nvPr>
        </p:nvSpPr>
        <p:spPr/>
        <p:txBody>
          <a:bodyPr>
            <a:normAutofit/>
          </a:bodyPr>
          <a:lstStyle/>
          <a:p>
            <a:r>
              <a:rPr lang="bg-BG" dirty="0" smtClean="0"/>
              <a:t>Нашия завод</a:t>
            </a:r>
            <a:endParaRPr lang="en-CA" b="0" dirty="0"/>
          </a:p>
        </p:txBody>
      </p:sp>
      <p:sp>
        <p:nvSpPr>
          <p:cNvPr id="11" name="Content Placeholder 4"/>
          <p:cNvSpPr txBox="1">
            <a:spLocks/>
          </p:cNvSpPr>
          <p:nvPr/>
        </p:nvSpPr>
        <p:spPr>
          <a:xfrm>
            <a:off x="5334000" y="1100409"/>
            <a:ext cx="3165671" cy="807913"/>
          </a:xfrm>
          <a:prstGeom prst="rect">
            <a:avLst/>
          </a:prstGeom>
        </p:spPr>
        <p:style>
          <a:lnRef idx="3">
            <a:schemeClr val="lt1"/>
          </a:lnRef>
          <a:fillRef idx="1">
            <a:schemeClr val="accent5"/>
          </a:fillRef>
          <a:effectRef idx="1">
            <a:schemeClr val="accent5"/>
          </a:effectRef>
          <a:fontRef idx="minor">
            <a:schemeClr val="lt1"/>
          </a:fontRef>
        </p:style>
        <p:txBody>
          <a:bodyPr vert="horz" wrap="square" lIns="68580" tIns="34290" rIns="68580" bIns="34290" rtlCol="0">
            <a:spAutoFit/>
          </a:bodyPr>
          <a:lstStyle>
            <a:lvl1pPr indent="-342900" algn="ctr">
              <a:spcBef>
                <a:spcPct val="0"/>
              </a:spcBef>
              <a:buClr>
                <a:srgbClr val="BC4E21"/>
              </a:buClr>
              <a:buFont typeface="Wingdings" panose="05000000000000000000" pitchFamily="2" charset="2"/>
              <a:buChar char="§"/>
              <a:defRPr sz="2000" b="1">
                <a:solidFill>
                  <a:srgbClr val="002060"/>
                </a:solidFill>
              </a:defRPr>
            </a:lvl1pPr>
            <a:lvl2pPr marL="800100" marR="0" indent="-342900" fontAlgn="auto">
              <a:lnSpc>
                <a:spcPct val="100000"/>
              </a:lnSpc>
              <a:spcBef>
                <a:spcPct val="20000"/>
              </a:spcBef>
              <a:spcAft>
                <a:spcPts val="0"/>
              </a:spcAft>
              <a:buClr>
                <a:srgbClr val="BC4E21"/>
              </a:buClr>
              <a:buSzTx/>
              <a:buFont typeface="Wingdings" panose="05000000000000000000" pitchFamily="2" charset="2"/>
              <a:buChar char="§"/>
              <a:tabLst/>
              <a:defRPr>
                <a:solidFill>
                  <a:schemeClr val="lt1"/>
                </a:solidFill>
              </a:defRPr>
            </a:lvl2pPr>
            <a:lvl3pPr marL="1143000" indent="-228600">
              <a:spcBef>
                <a:spcPct val="20000"/>
              </a:spcBef>
              <a:buClr>
                <a:srgbClr val="BC4E21"/>
              </a:buClr>
              <a:buFont typeface="Wingdings" panose="05000000000000000000" pitchFamily="2" charset="2"/>
              <a:buChar char="§"/>
              <a:defRPr sz="1600" b="0">
                <a:solidFill>
                  <a:schemeClr val="lt1"/>
                </a:solidFill>
              </a:defRPr>
            </a:lvl3pPr>
            <a:lvl4pPr marL="1600200" indent="-228600">
              <a:spcBef>
                <a:spcPct val="20000"/>
              </a:spcBef>
              <a:buClr>
                <a:srgbClr val="BC4E21"/>
              </a:buClr>
              <a:buFont typeface="Wingdings" panose="05000000000000000000" pitchFamily="2" charset="2"/>
              <a:buChar char="§"/>
              <a:defRPr sz="1400">
                <a:solidFill>
                  <a:schemeClr val="lt1"/>
                </a:solidFill>
                <a:effectLst/>
              </a:defRPr>
            </a:lvl4pPr>
            <a:lvl5pPr marL="2057400" indent="-228600">
              <a:spcBef>
                <a:spcPct val="20000"/>
              </a:spcBef>
              <a:buClr>
                <a:srgbClr val="BC4E21"/>
              </a:buClr>
              <a:buFont typeface="Wingdings" panose="05000000000000000000" pitchFamily="2" charset="2"/>
              <a:buChar char="§"/>
              <a:defRPr sz="1200">
                <a:solidFill>
                  <a:schemeClr val="lt1"/>
                </a:solidFill>
                <a:effectLst/>
              </a:defRPr>
            </a:lvl5pPr>
            <a:lvl6pPr marL="2514600" indent="-228600">
              <a:spcBef>
                <a:spcPct val="20000"/>
              </a:spcBef>
              <a:buFont typeface="Arial" panose="020B0604020202020204" pitchFamily="34" charset="0"/>
              <a:buChar char="•"/>
              <a:defRPr sz="2000">
                <a:solidFill>
                  <a:schemeClr val="lt1"/>
                </a:solidFill>
              </a:defRPr>
            </a:lvl6pPr>
            <a:lvl7pPr marL="2971800" indent="-228600">
              <a:spcBef>
                <a:spcPct val="20000"/>
              </a:spcBef>
              <a:buFont typeface="Arial" panose="020B0604020202020204" pitchFamily="34" charset="0"/>
              <a:buChar char="•"/>
              <a:defRPr sz="2000">
                <a:solidFill>
                  <a:schemeClr val="lt1"/>
                </a:solidFill>
              </a:defRPr>
            </a:lvl7pPr>
            <a:lvl8pPr marL="3429000" indent="-228600">
              <a:spcBef>
                <a:spcPct val="20000"/>
              </a:spcBef>
              <a:buFont typeface="Arial" panose="020B0604020202020204" pitchFamily="34" charset="0"/>
              <a:buChar char="•"/>
              <a:defRPr sz="2000">
                <a:solidFill>
                  <a:schemeClr val="lt1"/>
                </a:solidFill>
              </a:defRPr>
            </a:lvl8pPr>
            <a:lvl9pPr marL="3886200" indent="-228600">
              <a:spcBef>
                <a:spcPct val="20000"/>
              </a:spcBef>
              <a:buFont typeface="Arial" panose="020B0604020202020204" pitchFamily="34" charset="0"/>
              <a:buChar char="•"/>
              <a:defRPr sz="2000">
                <a:solidFill>
                  <a:schemeClr val="lt1"/>
                </a:solidFill>
              </a:defRPr>
            </a:lvl9pPr>
          </a:lstStyle>
          <a:p>
            <a:pPr indent="0" algn="l">
              <a:buNone/>
            </a:pPr>
            <a:r>
              <a:rPr lang="bg-BG" sz="1600" dirty="0" smtClean="0">
                <a:solidFill>
                  <a:schemeClr val="accent1"/>
                </a:solidFill>
              </a:rPr>
              <a:t>Произведени към края на </a:t>
            </a:r>
            <a:r>
              <a:rPr lang="en-US" sz="1600" dirty="0" smtClean="0">
                <a:solidFill>
                  <a:schemeClr val="accent1"/>
                </a:solidFill>
              </a:rPr>
              <a:t>2019:</a:t>
            </a:r>
            <a:endParaRPr lang="en-US" sz="1600" dirty="0">
              <a:solidFill>
                <a:schemeClr val="accent1"/>
              </a:solidFill>
            </a:endParaRPr>
          </a:p>
          <a:p>
            <a:pPr algn="l"/>
            <a:r>
              <a:rPr lang="bg-BG" sz="1600" b="0" dirty="0" smtClean="0">
                <a:solidFill>
                  <a:schemeClr val="tx1"/>
                </a:solidFill>
              </a:rPr>
              <a:t>Цилиндрови глави </a:t>
            </a:r>
            <a:r>
              <a:rPr lang="en-US" sz="1600" b="0" dirty="0" smtClean="0">
                <a:solidFill>
                  <a:schemeClr val="tx1"/>
                </a:solidFill>
              </a:rPr>
              <a:t>1 </a:t>
            </a:r>
            <a:r>
              <a:rPr lang="en-US" sz="1600" b="0" dirty="0">
                <a:solidFill>
                  <a:schemeClr val="tx1"/>
                </a:solidFill>
              </a:rPr>
              <a:t>200 000 </a:t>
            </a:r>
          </a:p>
          <a:p>
            <a:pPr algn="l"/>
            <a:r>
              <a:rPr lang="bg-BG" sz="1600" b="0" dirty="0" smtClean="0">
                <a:solidFill>
                  <a:schemeClr val="tx1"/>
                </a:solidFill>
              </a:rPr>
              <a:t>Комплекта носачи </a:t>
            </a:r>
            <a:r>
              <a:rPr lang="en-US" sz="1600" b="0" dirty="0" smtClean="0">
                <a:solidFill>
                  <a:schemeClr val="tx1"/>
                </a:solidFill>
              </a:rPr>
              <a:t>350 </a:t>
            </a:r>
            <a:r>
              <a:rPr lang="en-US" sz="1600" b="0" dirty="0">
                <a:solidFill>
                  <a:schemeClr val="tx1"/>
                </a:solidFill>
              </a:rPr>
              <a:t>000</a:t>
            </a:r>
            <a:endParaRPr lang="en-CA" sz="1600" b="0" dirty="0">
              <a:solidFill>
                <a:schemeClr val="tx1"/>
              </a:solidFill>
            </a:endParaRPr>
          </a:p>
        </p:txBody>
      </p:sp>
      <p:sp>
        <p:nvSpPr>
          <p:cNvPr id="8" name="Rectangle 7"/>
          <p:cNvSpPr/>
          <p:nvPr/>
        </p:nvSpPr>
        <p:spPr>
          <a:xfrm>
            <a:off x="304800" y="1100409"/>
            <a:ext cx="1188720" cy="46711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bg-BG" sz="1400" b="1" dirty="0" smtClean="0">
                <a:solidFill>
                  <a:schemeClr val="bg1"/>
                </a:solidFill>
              </a:rPr>
              <a:t>Служители</a:t>
            </a:r>
          </a:p>
        </p:txBody>
      </p:sp>
      <p:sp>
        <p:nvSpPr>
          <p:cNvPr id="9" name="Rectangle 8"/>
          <p:cNvSpPr/>
          <p:nvPr/>
        </p:nvSpPr>
        <p:spPr>
          <a:xfrm>
            <a:off x="1493520" y="1100409"/>
            <a:ext cx="2468880" cy="467110"/>
          </a:xfrm>
          <a:prstGeom prst="rect">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smtClean="0">
                <a:solidFill>
                  <a:schemeClr val="tx1"/>
                </a:solidFill>
              </a:rPr>
              <a:t>72</a:t>
            </a:r>
            <a:r>
              <a:rPr lang="bg-BG" sz="1400" dirty="0" smtClean="0">
                <a:solidFill>
                  <a:schemeClr val="tx1"/>
                </a:solidFill>
              </a:rPr>
              <a:t>3</a:t>
            </a:r>
            <a:endParaRPr lang="en-US" sz="1400" dirty="0">
              <a:solidFill>
                <a:schemeClr val="tx1"/>
              </a:solidFill>
            </a:endParaRPr>
          </a:p>
        </p:txBody>
      </p:sp>
      <p:sp>
        <p:nvSpPr>
          <p:cNvPr id="10" name="Rectangle 9"/>
          <p:cNvSpPr/>
          <p:nvPr/>
        </p:nvSpPr>
        <p:spPr>
          <a:xfrm>
            <a:off x="304800" y="1657350"/>
            <a:ext cx="1188720" cy="381000"/>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bg-BG" sz="1400" b="1" dirty="0" smtClean="0">
                <a:solidFill>
                  <a:schemeClr val="bg1"/>
                </a:solidFill>
              </a:rPr>
              <a:t>Продукти</a:t>
            </a:r>
          </a:p>
        </p:txBody>
      </p:sp>
      <p:sp>
        <p:nvSpPr>
          <p:cNvPr id="12" name="Rectangle 11"/>
          <p:cNvSpPr/>
          <p:nvPr/>
        </p:nvSpPr>
        <p:spPr>
          <a:xfrm>
            <a:off x="304800" y="2114551"/>
            <a:ext cx="1188720" cy="456438"/>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bg-BG" sz="1400" b="1" dirty="0" smtClean="0">
                <a:solidFill>
                  <a:schemeClr val="bg1"/>
                </a:solidFill>
              </a:rPr>
              <a:t>Технология</a:t>
            </a:r>
          </a:p>
        </p:txBody>
      </p:sp>
      <p:sp>
        <p:nvSpPr>
          <p:cNvPr id="13" name="Rectangle 12"/>
          <p:cNvSpPr/>
          <p:nvPr/>
        </p:nvSpPr>
        <p:spPr>
          <a:xfrm>
            <a:off x="1493520" y="1657350"/>
            <a:ext cx="2468880" cy="381000"/>
          </a:xfrm>
          <a:prstGeom prst="rect">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bg-BG" sz="1400" dirty="0" smtClean="0">
                <a:solidFill>
                  <a:schemeClr val="tx1"/>
                </a:solidFill>
              </a:rPr>
              <a:t>Цилиндрови глави, Носачи</a:t>
            </a:r>
          </a:p>
        </p:txBody>
      </p:sp>
      <p:sp>
        <p:nvSpPr>
          <p:cNvPr id="14" name="Rectangle 13"/>
          <p:cNvSpPr/>
          <p:nvPr/>
        </p:nvSpPr>
        <p:spPr>
          <a:xfrm>
            <a:off x="1493520" y="2114550"/>
            <a:ext cx="2468880" cy="456439"/>
          </a:xfrm>
          <a:prstGeom prst="rect">
            <a:avLst/>
          </a:prstGeom>
          <a:effectLst/>
        </p:spPr>
        <p:style>
          <a:lnRef idx="1">
            <a:schemeClr val="accent5"/>
          </a:lnRef>
          <a:fillRef idx="2">
            <a:schemeClr val="accent5"/>
          </a:fillRef>
          <a:effectRef idx="1">
            <a:schemeClr val="accent5"/>
          </a:effectRef>
          <a:fontRef idx="minor">
            <a:schemeClr val="dk1"/>
          </a:fontRef>
        </p:style>
        <p:txBody>
          <a:bodyPr rtlCol="0" anchor="ctr"/>
          <a:lstStyle/>
          <a:p>
            <a:pPr algn="ctr"/>
            <a:r>
              <a:rPr lang="bg-BG" sz="1400" dirty="0">
                <a:solidFill>
                  <a:schemeClr val="tx1"/>
                </a:solidFill>
              </a:rPr>
              <a:t>Гравитационно </a:t>
            </a:r>
            <a:r>
              <a:rPr lang="bg-BG" sz="1400" dirty="0" smtClean="0">
                <a:solidFill>
                  <a:schemeClr val="tx1"/>
                </a:solidFill>
              </a:rPr>
              <a:t>леене</a:t>
            </a:r>
            <a:r>
              <a:rPr lang="en-US" sz="1400" dirty="0" smtClean="0">
                <a:solidFill>
                  <a:schemeClr val="tx1"/>
                </a:solidFill>
              </a:rPr>
              <a:t>, </a:t>
            </a:r>
            <a:r>
              <a:rPr lang="bg-BG" sz="1200" dirty="0" smtClean="0">
                <a:solidFill>
                  <a:schemeClr val="tx1"/>
                </a:solidFill>
              </a:rPr>
              <a:t>Неорганичен процес</a:t>
            </a:r>
            <a:endParaRPr lang="en-US" sz="1400" dirty="0">
              <a:solidFill>
                <a:schemeClr val="tx1"/>
              </a:solidFill>
            </a:endParaRPr>
          </a:p>
        </p:txBody>
      </p:sp>
      <p:pic>
        <p:nvPicPr>
          <p:cNvPr id="16" name="Picture 13"/>
          <p:cNvPicPr>
            <a:picLocks noChangeAspect="1"/>
          </p:cNvPicPr>
          <p:nvPr/>
        </p:nvPicPr>
        <p:blipFill rotWithShape="1">
          <a:blip r:embed="rId2" cstate="screen">
            <a:grayscl/>
            <a:extLst>
              <a:ext uri="{28A0092B-C50C-407E-A947-70E740481C1C}">
                <a14:useLocalDpi xmlns:a14="http://schemas.microsoft.com/office/drawing/2010/main"/>
              </a:ext>
            </a:extLst>
          </a:blip>
          <a:srcRect/>
          <a:stretch/>
        </p:blipFill>
        <p:spPr>
          <a:xfrm flipH="1">
            <a:off x="4036566" y="2372796"/>
            <a:ext cx="1449834" cy="1008196"/>
          </a:xfrm>
          <a:prstGeom prst="rect">
            <a:avLst/>
          </a:prstGeom>
        </p:spPr>
      </p:pic>
      <p:pic>
        <p:nvPicPr>
          <p:cNvPr id="17" name="Picture 33"/>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5777219" y="2266950"/>
            <a:ext cx="1233181" cy="1133070"/>
          </a:xfrm>
          <a:prstGeom prst="rect">
            <a:avLst/>
          </a:prstGeom>
        </p:spPr>
      </p:pic>
      <p:pic>
        <p:nvPicPr>
          <p:cNvPr id="18" name="Imag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1277" y="2504863"/>
            <a:ext cx="1776523" cy="866438"/>
          </a:xfrm>
          <a:prstGeom prst="rect">
            <a:avLst/>
          </a:prstGeom>
        </p:spPr>
      </p:pic>
      <p:pic>
        <p:nvPicPr>
          <p:cNvPr id="6" name="Picture 5"/>
          <p:cNvPicPr>
            <a:picLocks noChangeAspect="1"/>
          </p:cNvPicPr>
          <p:nvPr/>
        </p:nvPicPr>
        <p:blipFill>
          <a:blip r:embed="rId5"/>
          <a:stretch>
            <a:fillRect/>
          </a:stretch>
        </p:blipFill>
        <p:spPr>
          <a:xfrm>
            <a:off x="304801" y="2800350"/>
            <a:ext cx="3657600" cy="2057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219477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Нашите продукти</a:t>
            </a:r>
            <a:endParaRPr lang="bg-BG" b="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0821" y="1285875"/>
            <a:ext cx="4186238" cy="3057525"/>
          </a:xfrm>
          <a:prstGeom prst="rect">
            <a:avLst/>
          </a:prstGeom>
        </p:spPr>
      </p:pic>
      <p:sp>
        <p:nvSpPr>
          <p:cNvPr id="5" name="Rectangle 4"/>
          <p:cNvSpPr/>
          <p:nvPr/>
        </p:nvSpPr>
        <p:spPr>
          <a:xfrm>
            <a:off x="1372689" y="1123857"/>
            <a:ext cx="1512168" cy="486054"/>
          </a:xfrm>
          <a:prstGeom prst="rect">
            <a:avLst/>
          </a:prstGeom>
          <a:solidFill>
            <a:schemeClr val="accent4">
              <a:lumMod val="7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r>
              <a:rPr lang="bg-BG" sz="1500" b="1" dirty="0" smtClean="0">
                <a:ln w="0"/>
                <a:solidFill>
                  <a:schemeClr val="tx1"/>
                </a:solidFill>
                <a:effectLst>
                  <a:outerShdw blurRad="38100" dist="19050" dir="2700000" algn="tl" rotWithShape="0">
                    <a:schemeClr val="dk1">
                      <a:alpha val="40000"/>
                    </a:schemeClr>
                  </a:outerShdw>
                </a:effectLst>
              </a:rPr>
              <a:t>Цилиндрови глави</a:t>
            </a:r>
            <a:endParaRPr lang="fr-FR" sz="1500" b="1" dirty="0">
              <a:ln w="0"/>
              <a:solidFill>
                <a:schemeClr val="tx1"/>
              </a:solidFill>
              <a:effectLst>
                <a:outerShdw blurRad="38100" dist="19050" dir="2700000" algn="tl" rotWithShape="0">
                  <a:schemeClr val="dk1">
                    <a:alpha val="40000"/>
                  </a:schemeClr>
                </a:outerShdw>
              </a:effectLst>
            </a:endParaRPr>
          </a:p>
        </p:txBody>
      </p:sp>
      <p:sp>
        <p:nvSpPr>
          <p:cNvPr id="6" name="Rectangle 5"/>
          <p:cNvSpPr/>
          <p:nvPr/>
        </p:nvSpPr>
        <p:spPr>
          <a:xfrm>
            <a:off x="6260232" y="1123857"/>
            <a:ext cx="1512168" cy="486054"/>
          </a:xfrm>
          <a:prstGeom prst="rect">
            <a:avLst/>
          </a:prstGeom>
          <a:solidFill>
            <a:schemeClr val="accent4">
              <a:lumMod val="7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r>
              <a:rPr lang="bg-BG" sz="1500" b="1" dirty="0" smtClean="0">
                <a:ln w="0"/>
                <a:solidFill>
                  <a:schemeClr val="tx1"/>
                </a:solidFill>
                <a:effectLst>
                  <a:outerShdw blurRad="38100" dist="19050" dir="2700000" algn="tl" rotWithShape="0">
                    <a:schemeClr val="dk1">
                      <a:alpha val="40000"/>
                    </a:schemeClr>
                  </a:outerShdw>
                </a:effectLst>
              </a:rPr>
              <a:t>Носачи</a:t>
            </a:r>
            <a:endParaRPr lang="fr-FR" sz="1500" b="1" dirty="0">
              <a:ln w="0"/>
              <a:solidFill>
                <a:schemeClr val="tx1"/>
              </a:solidFill>
              <a:effectLst>
                <a:outerShdw blurRad="38100" dist="19050" dir="2700000" algn="tl" rotWithShape="0">
                  <a:schemeClr val="dk1">
                    <a:alpha val="40000"/>
                  </a:schemeClr>
                </a:outerShdw>
              </a:effectLst>
            </a:endParaRPr>
          </a:p>
        </p:txBody>
      </p:sp>
      <p:cxnSp>
        <p:nvCxnSpPr>
          <p:cNvPr id="7" name="Straight Arrow Connector 6"/>
          <p:cNvCxnSpPr/>
          <p:nvPr/>
        </p:nvCxnSpPr>
        <p:spPr>
          <a:xfrm>
            <a:off x="1858743" y="1609911"/>
            <a:ext cx="1377153" cy="64807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8" name="Straight Arrow Connector 7"/>
          <p:cNvCxnSpPr/>
          <p:nvPr/>
        </p:nvCxnSpPr>
        <p:spPr>
          <a:xfrm flipH="1">
            <a:off x="5261121" y="1609911"/>
            <a:ext cx="1755195" cy="91810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9" name="Picture 8"/>
          <p:cNvPicPr>
            <a:picLocks noChangeAspect="1"/>
          </p:cNvPicPr>
          <p:nvPr/>
        </p:nvPicPr>
        <p:blipFill rotWithShape="1">
          <a:blip r:embed="rId3">
            <a:extLst>
              <a:ext uri="{BEBA8EAE-BF5A-486C-A8C5-ECC9F3942E4B}">
                <a14:imgProps xmlns:a14="http://schemas.microsoft.com/office/drawing/2010/main">
                  <a14:imgLayer r:embed="rId4">
                    <a14:imgEffect>
                      <a14:backgroundRemoval t="14489" b="98153" l="5225" r="89915"/>
                    </a14:imgEffect>
                  </a14:imgLayer>
                </a14:imgProps>
              </a:ext>
            </a:extLst>
          </a:blip>
          <a:srcRect t="10777"/>
          <a:stretch/>
        </p:blipFill>
        <p:spPr>
          <a:xfrm>
            <a:off x="7393114" y="3311445"/>
            <a:ext cx="1497601" cy="1143000"/>
          </a:xfrm>
          <a:prstGeom prst="rect">
            <a:avLst/>
          </a:prstGeom>
          <a:noFill/>
          <a:ln>
            <a:noFill/>
          </a:ln>
        </p:spPr>
        <p:style>
          <a:lnRef idx="2">
            <a:schemeClr val="accent5"/>
          </a:lnRef>
          <a:fillRef idx="1">
            <a:schemeClr val="lt1"/>
          </a:fillRef>
          <a:effectRef idx="0">
            <a:schemeClr val="accent5"/>
          </a:effectRef>
          <a:fontRef idx="minor">
            <a:schemeClr val="dk1"/>
          </a:fontRef>
        </p:style>
      </p:pic>
      <p:pic>
        <p:nvPicPr>
          <p:cNvPr id="14" name="Picture 13"/>
          <p:cNvPicPr>
            <a:picLocks noChangeAspect="1"/>
          </p:cNvPicPr>
          <p:nvPr/>
        </p:nvPicPr>
        <p:blipFill rotWithShape="1">
          <a:blip r:embed="rId5">
            <a:extLst>
              <a:ext uri="{BEBA8EAE-BF5A-486C-A8C5-ECC9F3942E4B}">
                <a14:imgProps xmlns:a14="http://schemas.microsoft.com/office/drawing/2010/main">
                  <a14:imgLayer r:embed="rId6">
                    <a14:imgEffect>
                      <a14:backgroundRemoval t="10015" b="98113" l="3106" r="95901"/>
                    </a14:imgEffect>
                  </a14:imgLayer>
                </a14:imgProps>
              </a:ext>
            </a:extLst>
          </a:blip>
          <a:srcRect t="7724"/>
          <a:stretch/>
        </p:blipFill>
        <p:spPr>
          <a:xfrm>
            <a:off x="156789" y="1933947"/>
            <a:ext cx="1378691" cy="1088879"/>
          </a:xfrm>
          <a:prstGeom prst="rect">
            <a:avLst/>
          </a:prstGeom>
          <a:noFill/>
          <a:ln>
            <a:noFill/>
          </a:ln>
        </p:spPr>
        <p:style>
          <a:lnRef idx="2">
            <a:schemeClr val="accent5"/>
          </a:lnRef>
          <a:fillRef idx="1">
            <a:schemeClr val="lt1"/>
          </a:fillRef>
          <a:effectRef idx="0">
            <a:schemeClr val="accent5"/>
          </a:effectRef>
          <a:fontRef idx="minor">
            <a:schemeClr val="dk1"/>
          </a:fontRef>
        </p:style>
      </p:pic>
      <p:pic>
        <p:nvPicPr>
          <p:cNvPr id="15" name="Picture 14"/>
          <p:cNvPicPr>
            <a:picLocks noChangeAspect="1"/>
          </p:cNvPicPr>
          <p:nvPr/>
        </p:nvPicPr>
        <p:blipFill rotWithShape="1">
          <a:blip r:embed="rId7">
            <a:extLst>
              <a:ext uri="{BEBA8EAE-BF5A-486C-A8C5-ECC9F3942E4B}">
                <a14:imgProps xmlns:a14="http://schemas.microsoft.com/office/drawing/2010/main">
                  <a14:imgLayer r:embed="rId8">
                    <a14:imgEffect>
                      <a14:backgroundRemoval t="17270" b="100000" l="6061" r="100000"/>
                    </a14:imgEffect>
                  </a14:imgLayer>
                </a14:imgProps>
              </a:ext>
            </a:extLst>
          </a:blip>
          <a:srcRect l="4928" t="13486"/>
          <a:stretch/>
        </p:blipFill>
        <p:spPr>
          <a:xfrm>
            <a:off x="238797" y="3311445"/>
            <a:ext cx="1476749" cy="1076471"/>
          </a:xfrm>
          <a:prstGeom prst="rect">
            <a:avLst/>
          </a:prstGeom>
          <a:noFill/>
          <a:ln>
            <a:noFill/>
          </a:ln>
        </p:spPr>
        <p:style>
          <a:lnRef idx="2">
            <a:schemeClr val="accent5"/>
          </a:lnRef>
          <a:fillRef idx="1">
            <a:schemeClr val="lt1"/>
          </a:fillRef>
          <a:effectRef idx="0">
            <a:schemeClr val="accent5"/>
          </a:effectRef>
          <a:fontRef idx="minor">
            <a:schemeClr val="dk1"/>
          </a:fontRef>
        </p:style>
      </p:pic>
    </p:spTree>
    <p:extLst>
      <p:ext uri="{BB962C8B-B14F-4D97-AF65-F5344CB8AC3E}">
        <p14:creationId xmlns:p14="http://schemas.microsoft.com/office/powerpoint/2010/main" val="14315288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524000" y="703512"/>
            <a:ext cx="6597239" cy="4280499"/>
            <a:chOff x="1524000" y="703512"/>
            <a:chExt cx="6597239" cy="4280499"/>
          </a:xfrm>
        </p:grpSpPr>
        <p:grpSp>
          <p:nvGrpSpPr>
            <p:cNvPr id="29" name="Group 28"/>
            <p:cNvGrpSpPr/>
            <p:nvPr/>
          </p:nvGrpSpPr>
          <p:grpSpPr>
            <a:xfrm>
              <a:off x="1524000" y="742950"/>
              <a:ext cx="6597239" cy="4241061"/>
              <a:chOff x="1524000" y="742950"/>
              <a:chExt cx="6597239" cy="4241061"/>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9760" t="33704" b="2927"/>
              <a:stretch/>
            </p:blipFill>
            <p:spPr>
              <a:xfrm>
                <a:off x="1524000" y="742950"/>
                <a:ext cx="6597239" cy="4241061"/>
              </a:xfrm>
              <a:prstGeom prst="rect">
                <a:avLst/>
              </a:prstGeom>
            </p:spPr>
          </p:pic>
          <p:sp>
            <p:nvSpPr>
              <p:cNvPr id="36" name="Oval 35"/>
              <p:cNvSpPr/>
              <p:nvPr/>
            </p:nvSpPr>
            <p:spPr>
              <a:xfrm>
                <a:off x="4821437" y="835703"/>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0" name="Oval 39"/>
              <p:cNvSpPr/>
              <p:nvPr/>
            </p:nvSpPr>
            <p:spPr>
              <a:xfrm>
                <a:off x="4123072" y="2224852"/>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4" name="Oval 43"/>
              <p:cNvSpPr/>
              <p:nvPr/>
            </p:nvSpPr>
            <p:spPr>
              <a:xfrm>
                <a:off x="4656472" y="2303918"/>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5" name="Oval 44"/>
              <p:cNvSpPr/>
              <p:nvPr/>
            </p:nvSpPr>
            <p:spPr>
              <a:xfrm>
                <a:off x="4669628" y="2401463"/>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8" name="Oval 47"/>
              <p:cNvSpPr/>
              <p:nvPr/>
            </p:nvSpPr>
            <p:spPr>
              <a:xfrm>
                <a:off x="5372753" y="2983231"/>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49" name="Oval 48"/>
              <p:cNvSpPr/>
              <p:nvPr/>
            </p:nvSpPr>
            <p:spPr>
              <a:xfrm>
                <a:off x="6248400" y="3333750"/>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0" name="Oval 49"/>
              <p:cNvSpPr/>
              <p:nvPr/>
            </p:nvSpPr>
            <p:spPr>
              <a:xfrm>
                <a:off x="6583681" y="3409950"/>
                <a:ext cx="45719" cy="45719"/>
              </a:xfrm>
              <a:prstGeom prst="ellipse">
                <a:avLst/>
              </a:prstGeom>
              <a:solidFill>
                <a:schemeClr val="tx1">
                  <a:lumMod val="50000"/>
                </a:schemeClr>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1" name="TextBox 4"/>
              <p:cNvSpPr txBox="1">
                <a:spLocks noChangeArrowheads="1"/>
              </p:cNvSpPr>
              <p:nvPr/>
            </p:nvSpPr>
            <p:spPr bwMode="auto">
              <a:xfrm>
                <a:off x="4844296" y="757352"/>
                <a:ext cx="72657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eaLnBrk="1" hangingPunct="1">
                  <a:spcBef>
                    <a:spcPct val="0"/>
                  </a:spcBef>
                  <a:buFontTx/>
                  <a:buNone/>
                </a:pPr>
                <a:r>
                  <a:rPr lang="en-US" altLang="bg-BG" sz="1200" b="1" dirty="0">
                    <a:solidFill>
                      <a:schemeClr val="accent1"/>
                    </a:solidFill>
                    <a:latin typeface="Arial Narrow" panose="020B0606020202030204" pitchFamily="34" charset="0"/>
                  </a:rPr>
                  <a:t>Skövde</a:t>
                </a:r>
                <a:endParaRPr lang="bg-BG" altLang="bg-BG" sz="1100" b="1" dirty="0">
                  <a:solidFill>
                    <a:schemeClr val="accent1"/>
                  </a:solidFill>
                  <a:latin typeface="Arial Narrow" panose="020B0606020202030204" pitchFamily="34" charset="0"/>
                </a:endParaRPr>
              </a:p>
            </p:txBody>
          </p:sp>
          <p:sp>
            <p:nvSpPr>
              <p:cNvPr id="52" name="Rectangle 51"/>
              <p:cNvSpPr/>
              <p:nvPr/>
            </p:nvSpPr>
            <p:spPr>
              <a:xfrm>
                <a:off x="4563930" y="2043417"/>
                <a:ext cx="12122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ct val="0"/>
                  </a:spcBef>
                </a:pPr>
                <a:r>
                  <a:rPr lang="bg-BG" sz="1200" b="1" dirty="0">
                    <a:solidFill>
                      <a:schemeClr val="accent1"/>
                    </a:solidFill>
                    <a:latin typeface="Arial Narrow" panose="020B0606020202030204" pitchFamily="34" charset="0"/>
                  </a:rPr>
                  <a:t>Heilegenstadt</a:t>
                </a:r>
              </a:p>
            </p:txBody>
          </p:sp>
          <p:sp>
            <p:nvSpPr>
              <p:cNvPr id="53" name="TextBox 12"/>
              <p:cNvSpPr txBox="1">
                <a:spLocks noChangeArrowheads="1"/>
              </p:cNvSpPr>
              <p:nvPr/>
            </p:nvSpPr>
            <p:spPr bwMode="auto">
              <a:xfrm>
                <a:off x="4678839" y="2257222"/>
                <a:ext cx="21251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a:spcBef>
                    <a:spcPct val="0"/>
                  </a:spcBef>
                  <a:buNone/>
                </a:pPr>
                <a:r>
                  <a:rPr lang="en-US" altLang="bg-BG" sz="1200" b="1" dirty="0" smtClean="0">
                    <a:solidFill>
                      <a:schemeClr val="accent1"/>
                    </a:solidFill>
                    <a:latin typeface="Arial Narrow" panose="020B0606020202030204" pitchFamily="34" charset="0"/>
                  </a:rPr>
                  <a:t>Ingolstadt (Münchmünster)   </a:t>
                </a:r>
                <a:endParaRPr lang="bg-BG" altLang="bg-BG" sz="1100" b="1" dirty="0">
                  <a:solidFill>
                    <a:schemeClr val="accent1"/>
                  </a:solidFill>
                  <a:latin typeface="Arial Narrow" panose="020B0606020202030204" pitchFamily="34" charset="0"/>
                </a:endParaRPr>
              </a:p>
            </p:txBody>
          </p:sp>
          <p:sp>
            <p:nvSpPr>
              <p:cNvPr id="55" name="TextBox 33"/>
              <p:cNvSpPr txBox="1">
                <a:spLocks noChangeArrowheads="1"/>
              </p:cNvSpPr>
              <p:nvPr/>
            </p:nvSpPr>
            <p:spPr bwMode="auto">
              <a:xfrm>
                <a:off x="3612615" y="2074133"/>
                <a:ext cx="46519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eaLnBrk="1" hangingPunct="1">
                  <a:spcBef>
                    <a:spcPct val="0"/>
                  </a:spcBef>
                  <a:buFontTx/>
                  <a:buNone/>
                </a:pPr>
                <a:r>
                  <a:rPr lang="en-US" altLang="bg-BG" sz="1200" b="1" dirty="0">
                    <a:solidFill>
                      <a:schemeClr val="accent1"/>
                    </a:solidFill>
                    <a:latin typeface="Arial Narrow" panose="020B0606020202030204" pitchFamily="34" charset="0"/>
                  </a:rPr>
                  <a:t>Köln</a:t>
                </a:r>
                <a:endParaRPr lang="bg-BG" altLang="bg-BG" sz="1100" b="1" dirty="0">
                  <a:solidFill>
                    <a:schemeClr val="accent1"/>
                  </a:solidFill>
                  <a:latin typeface="Arial Narrow" panose="020B0606020202030204" pitchFamily="34" charset="0"/>
                </a:endParaRPr>
              </a:p>
            </p:txBody>
          </p:sp>
          <p:sp>
            <p:nvSpPr>
              <p:cNvPr id="56" name="TextBox 9"/>
              <p:cNvSpPr txBox="1">
                <a:spLocks noChangeArrowheads="1"/>
              </p:cNvSpPr>
              <p:nvPr/>
            </p:nvSpPr>
            <p:spPr bwMode="auto">
              <a:xfrm>
                <a:off x="5335006" y="2806904"/>
                <a:ext cx="55131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eaLnBrk="1" hangingPunct="1">
                  <a:spcBef>
                    <a:spcPct val="0"/>
                  </a:spcBef>
                  <a:buFontTx/>
                  <a:buNone/>
                </a:pPr>
                <a:r>
                  <a:rPr lang="en-US" altLang="bg-BG" sz="1200" b="1" dirty="0">
                    <a:solidFill>
                      <a:schemeClr val="accent1"/>
                    </a:solidFill>
                    <a:latin typeface="Arial Narrow" panose="020B0606020202030204" pitchFamily="34" charset="0"/>
                  </a:rPr>
                  <a:t>Györ</a:t>
                </a:r>
                <a:endParaRPr lang="bg-BG" altLang="bg-BG" sz="1100" b="1" dirty="0">
                  <a:solidFill>
                    <a:schemeClr val="accent1"/>
                  </a:solidFill>
                  <a:latin typeface="Arial Narrow" panose="020B0606020202030204" pitchFamily="34" charset="0"/>
                </a:endParaRPr>
              </a:p>
            </p:txBody>
          </p:sp>
          <p:sp>
            <p:nvSpPr>
              <p:cNvPr id="57" name="TextBox 21"/>
              <p:cNvSpPr txBox="1">
                <a:spLocks noChangeArrowheads="1"/>
              </p:cNvSpPr>
              <p:nvPr/>
            </p:nvSpPr>
            <p:spPr bwMode="auto">
              <a:xfrm>
                <a:off x="6080037" y="3092425"/>
                <a:ext cx="74692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eaLnBrk="1" hangingPunct="1">
                  <a:spcBef>
                    <a:spcPct val="0"/>
                  </a:spcBef>
                  <a:buFontTx/>
                  <a:buNone/>
                </a:pPr>
                <a:r>
                  <a:rPr lang="en-US" altLang="bg-BG" sz="1200" b="1" dirty="0">
                    <a:solidFill>
                      <a:schemeClr val="accent1"/>
                    </a:solidFill>
                    <a:latin typeface="Arial Narrow" panose="020B0606020202030204" pitchFamily="34" charset="0"/>
                  </a:rPr>
                  <a:t>Craiova</a:t>
                </a:r>
                <a:endParaRPr lang="bg-BG" altLang="bg-BG" sz="1100" b="1" dirty="0">
                  <a:solidFill>
                    <a:schemeClr val="accent1"/>
                  </a:solidFill>
                  <a:latin typeface="Arial Narrow" panose="020B0606020202030204" pitchFamily="34" charset="0"/>
                </a:endParaRPr>
              </a:p>
            </p:txBody>
          </p:sp>
          <p:sp>
            <p:nvSpPr>
              <p:cNvPr id="58" name="TextBox 21"/>
              <p:cNvSpPr txBox="1">
                <a:spLocks noChangeArrowheads="1"/>
              </p:cNvSpPr>
              <p:nvPr/>
            </p:nvSpPr>
            <p:spPr bwMode="auto">
              <a:xfrm>
                <a:off x="6489106" y="3419995"/>
                <a:ext cx="11201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eaLnBrk="1" hangingPunct="1">
                  <a:spcBef>
                    <a:spcPct val="0"/>
                  </a:spcBef>
                  <a:buFontTx/>
                  <a:buNone/>
                </a:pPr>
                <a:r>
                  <a:rPr lang="en-US" altLang="bg-BG" sz="1200" b="1" dirty="0" smtClean="0">
                    <a:solidFill>
                      <a:schemeClr val="accent1"/>
                    </a:solidFill>
                    <a:latin typeface="Arial Narrow" panose="020B0606020202030204" pitchFamily="34" charset="0"/>
                  </a:rPr>
                  <a:t>LLM - Ruse</a:t>
                </a:r>
                <a:endParaRPr lang="bg-BG" altLang="bg-BG" sz="1100" b="1" dirty="0">
                  <a:solidFill>
                    <a:schemeClr val="accent1"/>
                  </a:solidFill>
                  <a:latin typeface="Arial Narrow" panose="020B0606020202030204" pitchFamily="34" charset="0"/>
                </a:endParaRPr>
              </a:p>
            </p:txBody>
          </p:sp>
        </p:gr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7298" y="3018074"/>
              <a:ext cx="510457" cy="300385"/>
            </a:xfrm>
            <a:prstGeom prst="rect">
              <a:avLst/>
            </a:prstGeom>
          </p:spPr>
        </p:pic>
        <p:pic>
          <p:nvPicPr>
            <p:cNvPr id="42" name="Picture 41"/>
            <p:cNvPicPr>
              <a:picLocks noChangeAspect="1"/>
            </p:cNvPicPr>
            <p:nvPr/>
          </p:nvPicPr>
          <p:blipFill rotWithShape="1">
            <a:blip r:embed="rId4" cstate="print">
              <a:extLst>
                <a:ext uri="{28A0092B-C50C-407E-A947-70E740481C1C}">
                  <a14:useLocalDpi xmlns:a14="http://schemas.microsoft.com/office/drawing/2010/main" val="0"/>
                </a:ext>
              </a:extLst>
            </a:blip>
            <a:srcRect l="22487" t="30197" r="22299" b="27200"/>
            <a:stretch/>
          </p:blipFill>
          <p:spPr>
            <a:xfrm>
              <a:off x="5651228" y="3213549"/>
              <a:ext cx="597172" cy="331762"/>
            </a:xfrm>
            <a:prstGeom prst="rect">
              <a:avLst/>
            </a:prstGeom>
          </p:spPr>
        </p:pic>
        <p:pic>
          <p:nvPicPr>
            <p:cNvPr id="26" name="Pictur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3319" y="2459945"/>
              <a:ext cx="510457" cy="300385"/>
            </a:xfrm>
            <a:prstGeom prst="rect">
              <a:avLst/>
            </a:prstGeom>
          </p:spPr>
        </p:pic>
        <p:pic>
          <p:nvPicPr>
            <p:cNvPr id="28" name="Picture 27"/>
            <p:cNvPicPr>
              <a:picLocks noChangeAspect="1"/>
            </p:cNvPicPr>
            <p:nvPr/>
          </p:nvPicPr>
          <p:blipFill rotWithShape="1">
            <a:blip r:embed="rId4" cstate="print">
              <a:extLst>
                <a:ext uri="{28A0092B-C50C-407E-A947-70E740481C1C}">
                  <a14:useLocalDpi xmlns:a14="http://schemas.microsoft.com/office/drawing/2010/main" val="0"/>
                </a:ext>
              </a:extLst>
            </a:blip>
            <a:srcRect l="22487" t="30197" r="22299" b="27200"/>
            <a:stretch/>
          </p:blipFill>
          <p:spPr>
            <a:xfrm>
              <a:off x="3607912" y="2247091"/>
              <a:ext cx="597172" cy="331762"/>
            </a:xfrm>
            <a:prstGeom prst="rect">
              <a:avLst/>
            </a:prstGeom>
          </p:spPr>
        </p:pic>
        <p:pic>
          <p:nvPicPr>
            <p:cNvPr id="27" name="Picture 26"/>
            <p:cNvPicPr>
              <a:picLocks noChangeAspect="1"/>
            </p:cNvPicPr>
            <p:nvPr/>
          </p:nvPicPr>
          <p:blipFill rotWithShape="1">
            <a:blip r:embed="rId5" cstate="print">
              <a:extLst>
                <a:ext uri="{28A0092B-C50C-407E-A947-70E740481C1C}">
                  <a14:useLocalDpi xmlns:a14="http://schemas.microsoft.com/office/drawing/2010/main" val="0"/>
                </a:ext>
              </a:extLst>
            </a:blip>
            <a:srcRect l="18550" r="19011"/>
            <a:stretch/>
          </p:blipFill>
          <p:spPr>
            <a:xfrm>
              <a:off x="4295191" y="703512"/>
              <a:ext cx="486714" cy="438473"/>
            </a:xfrm>
            <a:prstGeom prst="rect">
              <a:avLst/>
            </a:prstGeom>
          </p:spPr>
        </p:pic>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33839" y="1796277"/>
              <a:ext cx="510457" cy="300385"/>
            </a:xfrm>
            <a:prstGeom prst="rect">
              <a:avLst/>
            </a:prstGeom>
          </p:spPr>
        </p:pic>
      </p:grpSp>
      <p:sp>
        <p:nvSpPr>
          <p:cNvPr id="2" name="Title 1"/>
          <p:cNvSpPr>
            <a:spLocks noGrp="1"/>
          </p:cNvSpPr>
          <p:nvPr>
            <p:ph type="title"/>
          </p:nvPr>
        </p:nvSpPr>
        <p:spPr/>
        <p:txBody>
          <a:bodyPr>
            <a:normAutofit/>
          </a:bodyPr>
          <a:lstStyle/>
          <a:p>
            <a:r>
              <a:rPr lang="bg-BG" dirty="0" smtClean="0"/>
              <a:t>Клиентска мрежа</a:t>
            </a:r>
            <a:endParaRPr lang="bg-BG" b="0" dirty="0"/>
          </a:p>
        </p:txBody>
      </p:sp>
    </p:spTree>
    <p:extLst>
      <p:ext uri="{BB962C8B-B14F-4D97-AF65-F5344CB8AC3E}">
        <p14:creationId xmlns:p14="http://schemas.microsoft.com/office/powerpoint/2010/main" val="38865165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8"/>
          <p:cNvSpPr>
            <a:spLocks noChangeArrowheads="1"/>
          </p:cNvSpPr>
          <p:nvPr/>
        </p:nvSpPr>
        <p:spPr bwMode="auto">
          <a:xfrm>
            <a:off x="1953811" y="514350"/>
            <a:ext cx="4050110" cy="401837"/>
          </a:xfrm>
          <a:prstGeom prst="rect">
            <a:avLst/>
          </a:prstGeom>
          <a:noFill/>
          <a:ln>
            <a:noFill/>
          </a:ln>
          <a:effectLst/>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25400">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57547" tIns="28774" rIns="57547" bIns="28774" anchor="ctr"/>
          <a:lstStyle>
            <a:lvl1pPr algn="ctr">
              <a:defRPr sz="4400">
                <a:solidFill>
                  <a:schemeClr val="tx2"/>
                </a:solidFill>
                <a:latin typeface="Garamond" panose="02020404030301010803" pitchFamily="18" charset="0"/>
              </a:defRPr>
            </a:lvl1pPr>
            <a:lvl2pPr algn="ctr">
              <a:defRPr sz="4400">
                <a:solidFill>
                  <a:schemeClr val="tx2"/>
                </a:solidFill>
                <a:latin typeface="Garamond" panose="02020404030301010803" pitchFamily="18" charset="0"/>
              </a:defRPr>
            </a:lvl2pPr>
            <a:lvl3pPr algn="ctr">
              <a:defRPr sz="4400">
                <a:solidFill>
                  <a:schemeClr val="tx2"/>
                </a:solidFill>
                <a:latin typeface="Garamond" panose="02020404030301010803" pitchFamily="18" charset="0"/>
              </a:defRPr>
            </a:lvl3pPr>
            <a:lvl4pPr algn="ctr">
              <a:defRPr sz="4400">
                <a:solidFill>
                  <a:schemeClr val="tx2"/>
                </a:solidFill>
                <a:latin typeface="Garamond" panose="02020404030301010803" pitchFamily="18" charset="0"/>
              </a:defRPr>
            </a:lvl4pPr>
            <a:lvl5pPr algn="ctr">
              <a:defRPr sz="4400">
                <a:solidFill>
                  <a:schemeClr val="tx2"/>
                </a:solidFill>
                <a:latin typeface="Garamond" panose="02020404030301010803" pitchFamily="18" charset="0"/>
              </a:defRPr>
            </a:lvl5pPr>
            <a:lvl6pPr marL="457200" algn="ctr" fontAlgn="base">
              <a:spcBef>
                <a:spcPct val="0"/>
              </a:spcBef>
              <a:spcAft>
                <a:spcPct val="0"/>
              </a:spcAft>
              <a:defRPr sz="4400">
                <a:solidFill>
                  <a:schemeClr val="tx2"/>
                </a:solidFill>
                <a:latin typeface="Garamond" panose="02020404030301010803" pitchFamily="18" charset="0"/>
              </a:defRPr>
            </a:lvl6pPr>
            <a:lvl7pPr marL="914400" algn="ctr" fontAlgn="base">
              <a:spcBef>
                <a:spcPct val="0"/>
              </a:spcBef>
              <a:spcAft>
                <a:spcPct val="0"/>
              </a:spcAft>
              <a:defRPr sz="4400">
                <a:solidFill>
                  <a:schemeClr val="tx2"/>
                </a:solidFill>
                <a:latin typeface="Garamond" panose="02020404030301010803" pitchFamily="18" charset="0"/>
              </a:defRPr>
            </a:lvl7pPr>
            <a:lvl8pPr marL="1371600" algn="ctr" fontAlgn="base">
              <a:spcBef>
                <a:spcPct val="0"/>
              </a:spcBef>
              <a:spcAft>
                <a:spcPct val="0"/>
              </a:spcAft>
              <a:defRPr sz="4400">
                <a:solidFill>
                  <a:schemeClr val="tx2"/>
                </a:solidFill>
                <a:latin typeface="Garamond" panose="02020404030301010803" pitchFamily="18" charset="0"/>
              </a:defRPr>
            </a:lvl8pPr>
            <a:lvl9pPr marL="1828800" algn="ctr" fontAlgn="base">
              <a:spcBef>
                <a:spcPct val="0"/>
              </a:spcBef>
              <a:spcAft>
                <a:spcPct val="0"/>
              </a:spcAft>
              <a:defRPr sz="4400">
                <a:solidFill>
                  <a:schemeClr val="tx2"/>
                </a:solidFill>
                <a:latin typeface="Garamond" panose="02020404030301010803" pitchFamily="18" charset="0"/>
              </a:defRPr>
            </a:lvl9pPr>
          </a:lstStyle>
          <a:p>
            <a:pPr>
              <a:defRPr/>
            </a:pPr>
            <a:endParaRPr kumimoji="1" lang="fr-FR" altLang="bg-BG" sz="2400" b="1" dirty="0">
              <a:solidFill>
                <a:schemeClr val="tx1"/>
              </a:solidFill>
              <a:effectLst>
                <a:outerShdw blurRad="38100" dist="38100" dir="2700000" algn="tl">
                  <a:srgbClr val="C0C0C0"/>
                </a:outerShdw>
              </a:effectLst>
              <a:latin typeface="+mn-lt"/>
            </a:endParaRPr>
          </a:p>
        </p:txBody>
      </p:sp>
      <p:sp>
        <p:nvSpPr>
          <p:cNvPr id="7" name="Text Box 3"/>
          <p:cNvSpPr txBox="1">
            <a:spLocks noChangeArrowheads="1"/>
          </p:cNvSpPr>
          <p:nvPr/>
        </p:nvSpPr>
        <p:spPr bwMode="auto">
          <a:xfrm>
            <a:off x="155541" y="1133679"/>
            <a:ext cx="4078644" cy="355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marL="257175" indent="-257175">
              <a:spcBef>
                <a:spcPct val="0"/>
              </a:spcBef>
              <a:spcAft>
                <a:spcPts val="900"/>
              </a:spcAft>
              <a:buClr>
                <a:schemeClr val="tx2"/>
              </a:buClr>
              <a:buFont typeface="Wingdings" panose="05000000000000000000" pitchFamily="2" charset="2"/>
              <a:buChar char="§"/>
            </a:pPr>
            <a:r>
              <a:rPr lang="ru-RU" altLang="bg-BG" sz="1500" dirty="0" smtClean="0">
                <a:latin typeface="+mn-lt"/>
              </a:rPr>
              <a:t>Правим регулярни дарения към русенската болница, включително и </a:t>
            </a:r>
            <a:r>
              <a:rPr lang="ru-RU" altLang="bg-BG" sz="1500" dirty="0">
                <a:latin typeface="+mn-lt"/>
              </a:rPr>
              <a:t>по време на пандемията COVID-19;</a:t>
            </a:r>
          </a:p>
          <a:p>
            <a:pPr marL="257175" indent="-257175">
              <a:spcBef>
                <a:spcPct val="0"/>
              </a:spcBef>
              <a:spcAft>
                <a:spcPts val="900"/>
              </a:spcAft>
              <a:buClr>
                <a:schemeClr val="tx2"/>
              </a:buClr>
              <a:buFont typeface="Wingdings" panose="05000000000000000000" pitchFamily="2" charset="2"/>
              <a:buChar char="§"/>
            </a:pPr>
            <a:r>
              <a:rPr lang="ru-RU" altLang="bg-BG" sz="1500" dirty="0" smtClean="0">
                <a:latin typeface="+mn-lt"/>
              </a:rPr>
              <a:t>Подкрепяме </a:t>
            </a:r>
            <a:r>
              <a:rPr lang="ru-RU" altLang="bg-BG" sz="1500" dirty="0">
                <a:latin typeface="+mn-lt"/>
              </a:rPr>
              <a:t>Община Русе </a:t>
            </a:r>
            <a:r>
              <a:rPr lang="ru-RU" altLang="bg-BG" sz="1500" dirty="0" smtClean="0">
                <a:latin typeface="+mn-lt"/>
              </a:rPr>
              <a:t>по </a:t>
            </a:r>
            <a:r>
              <a:rPr lang="ru-RU" altLang="bg-BG" sz="1500" dirty="0">
                <a:latin typeface="+mn-lt"/>
              </a:rPr>
              <a:t>различни събития като Международния фестивал </a:t>
            </a:r>
            <a:r>
              <a:rPr lang="ru-RU" altLang="bg-BG" sz="1500" dirty="0" smtClean="0">
                <a:latin typeface="+mn-lt"/>
              </a:rPr>
              <a:t>Мартенски </a:t>
            </a:r>
            <a:r>
              <a:rPr lang="ru-RU" altLang="bg-BG" sz="1500" dirty="0">
                <a:latin typeface="+mn-lt"/>
              </a:rPr>
              <a:t>музикални дни;</a:t>
            </a:r>
          </a:p>
          <a:p>
            <a:pPr marL="257175" indent="-257175">
              <a:spcBef>
                <a:spcPct val="0"/>
              </a:spcBef>
              <a:spcAft>
                <a:spcPts val="900"/>
              </a:spcAft>
              <a:buClr>
                <a:schemeClr val="tx2"/>
              </a:buClr>
              <a:buFont typeface="Wingdings" panose="05000000000000000000" pitchFamily="2" charset="2"/>
              <a:buChar char="§"/>
            </a:pPr>
            <a:r>
              <a:rPr lang="ru-RU" altLang="bg-BG" sz="1500" dirty="0">
                <a:latin typeface="+mn-lt"/>
              </a:rPr>
              <a:t>Редовно </a:t>
            </a:r>
            <a:r>
              <a:rPr lang="ru-RU" altLang="bg-BG" sz="1500" dirty="0" smtClean="0">
                <a:latin typeface="+mn-lt"/>
              </a:rPr>
              <a:t>организираме </a:t>
            </a:r>
            <a:r>
              <a:rPr lang="ru-RU" altLang="bg-BG" sz="1500" dirty="0">
                <a:latin typeface="+mn-lt"/>
              </a:rPr>
              <a:t>събития за социална отговорност като </a:t>
            </a:r>
            <a:r>
              <a:rPr lang="en-US" altLang="bg-BG" sz="1500" dirty="0" smtClean="0">
                <a:latin typeface="+mn-lt"/>
              </a:rPr>
              <a:t>“</a:t>
            </a:r>
            <a:r>
              <a:rPr lang="ru-RU" altLang="bg-BG" sz="1500" dirty="0" smtClean="0">
                <a:latin typeface="+mn-lt"/>
              </a:rPr>
              <a:t>Ден </a:t>
            </a:r>
            <a:r>
              <a:rPr lang="ru-RU" altLang="bg-BG" sz="1500" dirty="0">
                <a:latin typeface="+mn-lt"/>
              </a:rPr>
              <a:t>на </a:t>
            </a:r>
            <a:r>
              <a:rPr lang="ru-RU" altLang="bg-BG" sz="1500" dirty="0" smtClean="0">
                <a:latin typeface="+mn-lt"/>
              </a:rPr>
              <a:t>детето</a:t>
            </a:r>
            <a:r>
              <a:rPr lang="en-US" altLang="bg-BG" sz="1500" dirty="0" smtClean="0">
                <a:latin typeface="+mn-lt"/>
              </a:rPr>
              <a:t>”</a:t>
            </a:r>
            <a:r>
              <a:rPr lang="ru-RU" altLang="bg-BG" sz="1500" dirty="0" smtClean="0">
                <a:latin typeface="+mn-lt"/>
              </a:rPr>
              <a:t> </a:t>
            </a:r>
            <a:r>
              <a:rPr lang="ru-RU" altLang="bg-BG" sz="1500" dirty="0">
                <a:latin typeface="+mn-lt"/>
              </a:rPr>
              <a:t>и </a:t>
            </a:r>
            <a:r>
              <a:rPr lang="en-US" altLang="bg-BG" sz="1500" dirty="0" smtClean="0">
                <a:latin typeface="+mn-lt"/>
              </a:rPr>
              <a:t>“</a:t>
            </a:r>
            <a:r>
              <a:rPr lang="ru-RU" altLang="bg-BG" sz="1500" dirty="0" smtClean="0">
                <a:latin typeface="+mn-lt"/>
              </a:rPr>
              <a:t>Да </a:t>
            </a:r>
            <a:r>
              <a:rPr lang="bg-BG" altLang="bg-BG" sz="1500" dirty="0" smtClean="0">
                <a:latin typeface="+mn-lt"/>
              </a:rPr>
              <a:t>изчи</a:t>
            </a:r>
            <a:r>
              <a:rPr lang="ru-RU" altLang="bg-BG" sz="1500" dirty="0" smtClean="0">
                <a:latin typeface="+mn-lt"/>
              </a:rPr>
              <a:t>стим </a:t>
            </a:r>
            <a:r>
              <a:rPr lang="ru-RU" altLang="bg-BG" sz="1500" dirty="0">
                <a:latin typeface="+mn-lt"/>
              </a:rPr>
              <a:t>България </a:t>
            </a:r>
            <a:r>
              <a:rPr lang="ru-RU" altLang="bg-BG" sz="1500" dirty="0" smtClean="0">
                <a:latin typeface="+mn-lt"/>
              </a:rPr>
              <a:t>заедно</a:t>
            </a:r>
            <a:r>
              <a:rPr lang="en-US" altLang="bg-BG" sz="1500" dirty="0" smtClean="0">
                <a:latin typeface="+mn-lt"/>
              </a:rPr>
              <a:t>”</a:t>
            </a:r>
            <a:r>
              <a:rPr lang="ru-RU" altLang="bg-BG" sz="1500" dirty="0" smtClean="0">
                <a:latin typeface="+mn-lt"/>
              </a:rPr>
              <a:t>;</a:t>
            </a:r>
            <a:endParaRPr lang="ru-RU" altLang="bg-BG" sz="1500" dirty="0">
              <a:latin typeface="+mn-lt"/>
            </a:endParaRPr>
          </a:p>
          <a:p>
            <a:pPr marL="257175" indent="-257175">
              <a:spcBef>
                <a:spcPct val="0"/>
              </a:spcBef>
              <a:spcAft>
                <a:spcPts val="900"/>
              </a:spcAft>
              <a:buClr>
                <a:schemeClr val="tx2"/>
              </a:buClr>
              <a:buFont typeface="Wingdings" panose="05000000000000000000" pitchFamily="2" charset="2"/>
              <a:buChar char="§"/>
            </a:pPr>
            <a:r>
              <a:rPr lang="en-US" altLang="bg-BG" sz="1500" dirty="0">
                <a:latin typeface="+mn-lt"/>
              </a:rPr>
              <a:t>O</a:t>
            </a:r>
            <a:r>
              <a:rPr lang="ru-RU" altLang="bg-BG" sz="1500" dirty="0" smtClean="0">
                <a:latin typeface="+mn-lt"/>
              </a:rPr>
              <a:t>снов</a:t>
            </a:r>
            <a:r>
              <a:rPr lang="en-US" altLang="bg-BG" sz="1500" dirty="0" smtClean="0">
                <a:latin typeface="+mn-lt"/>
              </a:rPr>
              <a:t>e</a:t>
            </a:r>
            <a:r>
              <a:rPr lang="ru-RU" altLang="bg-BG" sz="1500" dirty="0" smtClean="0">
                <a:latin typeface="+mn-lt"/>
              </a:rPr>
              <a:t>н </a:t>
            </a:r>
            <a:r>
              <a:rPr lang="ru-RU" altLang="bg-BG" sz="1500" dirty="0">
                <a:latin typeface="+mn-lt"/>
              </a:rPr>
              <a:t>спонсор на </a:t>
            </a:r>
            <a:r>
              <a:rPr lang="ru-RU" altLang="bg-BG" sz="1500" dirty="0" smtClean="0">
                <a:latin typeface="+mn-lt"/>
              </a:rPr>
              <a:t>Волейбол</a:t>
            </a:r>
            <a:r>
              <a:rPr lang="en-US" altLang="bg-BG" sz="1500" dirty="0" smtClean="0">
                <a:latin typeface="+mn-lt"/>
              </a:rPr>
              <a:t>e</a:t>
            </a:r>
            <a:r>
              <a:rPr lang="ru-RU" altLang="bg-BG" sz="1500" dirty="0" smtClean="0">
                <a:latin typeface="+mn-lt"/>
              </a:rPr>
              <a:t>н Клуб Дунав</a:t>
            </a:r>
            <a:r>
              <a:rPr lang="en-US" altLang="bg-BG" sz="1500" dirty="0" smtClean="0">
                <a:latin typeface="+mn-lt"/>
              </a:rPr>
              <a:t>-</a:t>
            </a:r>
            <a:r>
              <a:rPr lang="ru-RU" altLang="bg-BG" sz="1500" dirty="0" smtClean="0">
                <a:latin typeface="+mn-lt"/>
              </a:rPr>
              <a:t>Русе.</a:t>
            </a:r>
            <a:endParaRPr lang="ru-RU" altLang="bg-BG" sz="1500" dirty="0">
              <a:latin typeface="+mn-lt"/>
            </a:endParaRPr>
          </a:p>
          <a:p>
            <a:pPr marL="257175" indent="-257175">
              <a:spcBef>
                <a:spcPct val="0"/>
              </a:spcBef>
              <a:spcAft>
                <a:spcPts val="900"/>
              </a:spcAft>
              <a:buClr>
                <a:schemeClr val="tx2"/>
              </a:buClr>
              <a:buFont typeface="Wingdings" panose="05000000000000000000" pitchFamily="2" charset="2"/>
              <a:buChar char="§"/>
            </a:pPr>
            <a:r>
              <a:rPr lang="ru-RU" altLang="bg-BG" sz="1500" dirty="0">
                <a:latin typeface="+mn-lt"/>
              </a:rPr>
              <a:t>Сътрудничество с</a:t>
            </a:r>
            <a:r>
              <a:rPr lang="ru-RU" altLang="bg-BG" sz="1500" dirty="0" smtClean="0">
                <a:latin typeface="+mn-lt"/>
              </a:rPr>
              <a:t> </a:t>
            </a:r>
            <a:r>
              <a:rPr lang="ru-RU" altLang="bg-BG" sz="1500" dirty="0">
                <a:latin typeface="+mn-lt"/>
              </a:rPr>
              <a:t>Русенски университет, </a:t>
            </a:r>
            <a:r>
              <a:rPr lang="ru-RU" altLang="bg-BG" sz="1500" dirty="0" smtClean="0">
                <a:latin typeface="+mn-lt"/>
              </a:rPr>
              <a:t>Х</a:t>
            </a:r>
            <a:r>
              <a:rPr lang="bg-BG" altLang="bg-BG" sz="1500" dirty="0" smtClean="0">
                <a:latin typeface="+mn-lt"/>
              </a:rPr>
              <a:t>ТМУ - </a:t>
            </a:r>
            <a:r>
              <a:rPr lang="ru-RU" altLang="bg-BG" sz="1500" dirty="0" smtClean="0">
                <a:latin typeface="+mn-lt"/>
              </a:rPr>
              <a:t>София</a:t>
            </a:r>
            <a:r>
              <a:rPr lang="ru-RU" altLang="bg-BG" sz="1500" dirty="0">
                <a:latin typeface="+mn-lt"/>
              </a:rPr>
              <a:t>, </a:t>
            </a:r>
            <a:r>
              <a:rPr lang="ru-RU" altLang="bg-BG" sz="1500" dirty="0" smtClean="0">
                <a:latin typeface="+mn-lt"/>
              </a:rPr>
              <a:t>Русенска езикова и други гимназии</a:t>
            </a:r>
            <a:r>
              <a:rPr lang="ru-RU" altLang="bg-BG" sz="1500" dirty="0">
                <a:latin typeface="+mn-lt"/>
              </a:rPr>
              <a:t>;</a:t>
            </a:r>
            <a:endParaRPr lang="en-US" altLang="bg-BG" sz="1500" dirty="0">
              <a:latin typeface="+mn-lt"/>
            </a:endParaRPr>
          </a:p>
        </p:txBody>
      </p:sp>
      <p:sp>
        <p:nvSpPr>
          <p:cNvPr id="13" name="Title 1"/>
          <p:cNvSpPr txBox="1">
            <a:spLocks/>
          </p:cNvSpPr>
          <p:nvPr/>
        </p:nvSpPr>
        <p:spPr>
          <a:xfrm>
            <a:off x="304800" y="281369"/>
            <a:ext cx="7067067" cy="401638"/>
          </a:xfrm>
          <a:prstGeom prst="rect">
            <a:avLst/>
          </a:prstGeom>
        </p:spPr>
        <p:txBody>
          <a:bodyPr vert="horz" lIns="68580" tIns="34290" rIns="68580" bIns="34290" rtlCol="0" anchor="ctr">
            <a:noAutofit/>
          </a:bodyPr>
          <a:lstStyle>
            <a:lvl1pPr algn="l" defTabSz="914400" rtl="0" eaLnBrk="1" latinLnBrk="0" hangingPunct="1">
              <a:spcBef>
                <a:spcPct val="0"/>
              </a:spcBef>
              <a:buNone/>
              <a:defRPr sz="2400" b="1" kern="1200">
                <a:solidFill>
                  <a:srgbClr val="BC4E21"/>
                </a:solidFill>
                <a:latin typeface="Arial Narrow" panose="020B0606020202030204" pitchFamily="34" charset="0"/>
                <a:ea typeface="+mj-ea"/>
                <a:cs typeface="+mj-cs"/>
              </a:defRPr>
            </a:lvl1pPr>
          </a:lstStyle>
          <a:p>
            <a:r>
              <a:rPr lang="bg-BG" dirty="0" smtClean="0"/>
              <a:t>Ние подкрепяме развитието на нашето общество</a:t>
            </a:r>
          </a:p>
        </p:txBody>
      </p:sp>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l="9245" t="32692" r="15448"/>
          <a:stretch/>
        </p:blipFill>
        <p:spPr>
          <a:xfrm>
            <a:off x="6721298" y="2318129"/>
            <a:ext cx="1955972" cy="1167028"/>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r="2540" b="19652"/>
          <a:stretch/>
        </p:blipFill>
        <p:spPr>
          <a:xfrm>
            <a:off x="6693524" y="915988"/>
            <a:ext cx="1986836" cy="1152188"/>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5"/>
          <a:srcRect l="9198" t="18939" r="12393" b="10607"/>
          <a:stretch/>
        </p:blipFill>
        <p:spPr>
          <a:xfrm>
            <a:off x="4515028" y="915988"/>
            <a:ext cx="1897653" cy="1152188"/>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a:blip r:embed="rId6"/>
          <a:stretch>
            <a:fillRect/>
          </a:stretch>
        </p:blipFill>
        <p:spPr>
          <a:xfrm>
            <a:off x="4524286" y="2349485"/>
            <a:ext cx="1906911" cy="1150105"/>
          </a:xfrm>
          <a:prstGeom prst="rect">
            <a:avLst/>
          </a:prstGeom>
          <a:ln>
            <a:noFill/>
          </a:ln>
          <a:effectLst>
            <a:outerShdw blurRad="292100" dist="139700" dir="2700000" algn="tl" rotWithShape="0">
              <a:srgbClr val="333333">
                <a:alpha val="65000"/>
              </a:srgbClr>
            </a:outerShdw>
          </a:effectLst>
        </p:spPr>
      </p:pic>
      <p:pic>
        <p:nvPicPr>
          <p:cNvPr id="12" name="Picture 11"/>
          <p:cNvPicPr>
            <a:picLocks noChangeAspect="1"/>
          </p:cNvPicPr>
          <p:nvPr/>
        </p:nvPicPr>
        <p:blipFill rotWithShape="1">
          <a:blip r:embed="rId7"/>
          <a:srcRect l="5614" t="27100" r="8300" b="16091"/>
          <a:stretch/>
        </p:blipFill>
        <p:spPr>
          <a:xfrm>
            <a:off x="4468269" y="3808075"/>
            <a:ext cx="1981200" cy="1093668"/>
          </a:xfrm>
          <a:prstGeom prst="rect">
            <a:avLst/>
          </a:prstGeom>
          <a:ln>
            <a:noFill/>
          </a:ln>
          <a:effectLst>
            <a:outerShdw blurRad="292100" dist="139700" dir="2700000" algn="tl" rotWithShape="0">
              <a:srgbClr val="333333">
                <a:alpha val="65000"/>
              </a:srgbClr>
            </a:outerShdw>
          </a:effectLst>
        </p:spPr>
      </p:pic>
      <p:pic>
        <p:nvPicPr>
          <p:cNvPr id="17" name="Picture 16"/>
          <p:cNvPicPr>
            <a:picLocks noChangeAspect="1"/>
          </p:cNvPicPr>
          <p:nvPr/>
        </p:nvPicPr>
        <p:blipFill rotWithShape="1">
          <a:blip r:embed="rId8"/>
          <a:srcRect b="20362"/>
          <a:stretch/>
        </p:blipFill>
        <p:spPr>
          <a:xfrm>
            <a:off x="6721299" y="3790950"/>
            <a:ext cx="1955972" cy="116826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295472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altLang="bg-BG" dirty="0" smtClean="0"/>
              <a:t>Стандарти на световно ниво </a:t>
            </a:r>
            <a:r>
              <a:rPr lang="en-US" altLang="bg-BG" dirty="0" smtClean="0"/>
              <a:t>&amp;</a:t>
            </a:r>
            <a:r>
              <a:rPr lang="bg-BG" altLang="bg-BG" dirty="0" smtClean="0"/>
              <a:t> Награди</a:t>
            </a:r>
            <a:endParaRPr lang="bg-BG" b="0" dirty="0"/>
          </a:p>
        </p:txBody>
      </p:sp>
      <p:sp>
        <p:nvSpPr>
          <p:cNvPr id="4" name="Rectangle 6"/>
          <p:cNvSpPr>
            <a:spLocks noChangeArrowheads="1"/>
          </p:cNvSpPr>
          <p:nvPr/>
        </p:nvSpPr>
        <p:spPr bwMode="auto">
          <a:xfrm>
            <a:off x="2078540" y="171449"/>
            <a:ext cx="4857750" cy="714375"/>
          </a:xfrm>
          <a:prstGeom prst="rect">
            <a:avLst/>
          </a:prstGeom>
          <a:ln w="88900" cap="sq">
            <a:no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txBody>
          <a:bodyPr anchor="ctr"/>
          <a:lstStyle>
            <a:lvl1pPr>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algn="ctr">
              <a:spcBef>
                <a:spcPct val="0"/>
              </a:spcBef>
              <a:buFontTx/>
              <a:buNone/>
            </a:pPr>
            <a:endParaRPr lang="en-US" altLang="bg-BG" sz="2250">
              <a:solidFill>
                <a:srgbClr val="333399"/>
              </a:solidFill>
              <a:latin typeface="Rockwell" panose="02060603020205020403" pitchFamily="18" charset="0"/>
            </a:endParaRPr>
          </a:p>
        </p:txBody>
      </p:sp>
      <p:sp>
        <p:nvSpPr>
          <p:cNvPr id="6" name="Line 1566"/>
          <p:cNvSpPr>
            <a:spLocks noChangeShapeType="1"/>
          </p:cNvSpPr>
          <p:nvPr/>
        </p:nvSpPr>
        <p:spPr bwMode="auto">
          <a:xfrm>
            <a:off x="3582697" y="4203699"/>
            <a:ext cx="19248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bg-BG" sz="1125"/>
          </a:p>
        </p:txBody>
      </p:sp>
      <p:pic>
        <p:nvPicPr>
          <p:cNvPr id="8" name="Picture 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00" y="894117"/>
            <a:ext cx="1163708" cy="1058888"/>
          </a:xfrm>
          <a:prstGeom prst="rect">
            <a:avLst/>
          </a:prstGeom>
          <a:ln>
            <a:noFill/>
          </a:ln>
          <a:effectLst>
            <a:outerShdw blurRad="292100" dist="139700" dir="2700000" algn="tl" rotWithShape="0">
              <a:srgbClr val="333333">
                <a:alpha val="65000"/>
              </a:srgbClr>
            </a:outerShdw>
          </a:effectLst>
          <a:extLst/>
        </p:spPr>
      </p:pic>
      <p:sp>
        <p:nvSpPr>
          <p:cNvPr id="10" name="Rectangle 20"/>
          <p:cNvSpPr>
            <a:spLocks noChangeArrowheads="1"/>
          </p:cNvSpPr>
          <p:nvPr/>
        </p:nvSpPr>
        <p:spPr bwMode="auto">
          <a:xfrm>
            <a:off x="347558" y="2224824"/>
            <a:ext cx="6588732" cy="2624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har char="•"/>
              <a:defRPr sz="3200">
                <a:solidFill>
                  <a:schemeClr val="tx1"/>
                </a:solidFill>
                <a:latin typeface="Garamond" panose="02020404030301010803" pitchFamily="18" charset="0"/>
              </a:defRPr>
            </a:lvl1pPr>
            <a:lvl2pPr marL="742950" indent="-285750">
              <a:spcBef>
                <a:spcPct val="20000"/>
              </a:spcBef>
              <a:buChar char="–"/>
              <a:defRPr sz="2800">
                <a:solidFill>
                  <a:schemeClr val="tx1"/>
                </a:solidFill>
                <a:latin typeface="Garamond" panose="02020404030301010803" pitchFamily="18" charset="0"/>
              </a:defRPr>
            </a:lvl2pPr>
            <a:lvl3pPr marL="1143000" indent="-228600">
              <a:spcBef>
                <a:spcPct val="20000"/>
              </a:spcBef>
              <a:buChar char="•"/>
              <a:defRPr sz="2400">
                <a:solidFill>
                  <a:schemeClr val="tx1"/>
                </a:solidFill>
                <a:latin typeface="Garamond" panose="02020404030301010803" pitchFamily="18" charset="0"/>
              </a:defRPr>
            </a:lvl3pPr>
            <a:lvl4pPr marL="1600200" indent="-228600">
              <a:spcBef>
                <a:spcPct val="20000"/>
              </a:spcBef>
              <a:buChar char="–"/>
              <a:defRPr sz="2000">
                <a:solidFill>
                  <a:schemeClr val="tx1"/>
                </a:solidFill>
                <a:latin typeface="Garamond" panose="02020404030301010803" pitchFamily="18" charset="0"/>
              </a:defRPr>
            </a:lvl4pPr>
            <a:lvl5pPr marL="2057400" indent="-228600">
              <a:spcBef>
                <a:spcPct val="20000"/>
              </a:spcBef>
              <a:buChar char="»"/>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har char="»"/>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har char="»"/>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har char="»"/>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har char="»"/>
              <a:defRPr sz="2000">
                <a:solidFill>
                  <a:schemeClr val="tx1"/>
                </a:solidFill>
                <a:latin typeface="Garamond" panose="02020404030301010803" pitchFamily="18" charset="0"/>
              </a:defRPr>
            </a:lvl9pPr>
          </a:lstStyle>
          <a:p>
            <a:pPr>
              <a:buClr>
                <a:srgbClr val="BC4E21"/>
              </a:buClr>
              <a:buFont typeface="Wingdings" panose="05000000000000000000" pitchFamily="2" charset="2"/>
              <a:buChar char="§"/>
            </a:pPr>
            <a:r>
              <a:rPr lang="bg-BG" altLang="bg-BG" sz="1500" dirty="0" smtClean="0">
                <a:latin typeface="+mn-lt"/>
              </a:rPr>
              <a:t>Инвеститор клас А</a:t>
            </a:r>
            <a:endParaRPr lang="fr-BE" altLang="bg-BG" sz="1500" dirty="0">
              <a:latin typeface="+mn-lt"/>
            </a:endParaRPr>
          </a:p>
          <a:p>
            <a:pPr>
              <a:buClr>
                <a:srgbClr val="BC4E21"/>
              </a:buClr>
              <a:buFont typeface="Wingdings" panose="05000000000000000000" pitchFamily="2" charset="2"/>
              <a:buChar char="§"/>
            </a:pPr>
            <a:r>
              <a:rPr lang="bg-BG" altLang="bg-BG" sz="1500" dirty="0" smtClean="0">
                <a:latin typeface="+mn-lt"/>
              </a:rPr>
              <a:t>Инвеститор на годината за автомобилната индустрия за </a:t>
            </a:r>
            <a:r>
              <a:rPr lang="ru-RU" altLang="bg-BG" sz="1500" dirty="0" smtClean="0">
                <a:latin typeface="+mn-lt"/>
              </a:rPr>
              <a:t>2007 </a:t>
            </a:r>
            <a:r>
              <a:rPr lang="bg-BG" altLang="bg-BG" sz="1500" dirty="0" smtClean="0">
                <a:latin typeface="+mn-lt"/>
              </a:rPr>
              <a:t>и</a:t>
            </a:r>
            <a:r>
              <a:rPr lang="ru-RU" altLang="bg-BG" sz="1500" dirty="0" smtClean="0">
                <a:latin typeface="+mn-lt"/>
              </a:rPr>
              <a:t> 2013 </a:t>
            </a:r>
            <a:endParaRPr lang="ru-RU" altLang="bg-BG" sz="1500" dirty="0">
              <a:latin typeface="+mn-lt"/>
            </a:endParaRPr>
          </a:p>
          <a:p>
            <a:pPr>
              <a:buClr>
                <a:srgbClr val="BC4E21"/>
              </a:buClr>
              <a:buFont typeface="Wingdings" panose="05000000000000000000" pitchFamily="2" charset="2"/>
              <a:buChar char="§"/>
            </a:pPr>
            <a:r>
              <a:rPr lang="bg-BG" altLang="bg-BG" sz="1500" dirty="0" smtClean="0">
                <a:latin typeface="+mn-lt"/>
              </a:rPr>
              <a:t>Награда за безопасни условия на труд </a:t>
            </a:r>
            <a:r>
              <a:rPr lang="en-US" altLang="bg-BG" sz="1500" dirty="0" smtClean="0">
                <a:latin typeface="+mn-lt"/>
              </a:rPr>
              <a:t>2013</a:t>
            </a:r>
            <a:endParaRPr lang="en-GB" altLang="bg-BG" sz="1500" dirty="0">
              <a:latin typeface="+mn-lt"/>
            </a:endParaRPr>
          </a:p>
          <a:p>
            <a:pPr>
              <a:buClr>
                <a:srgbClr val="BC4E21"/>
              </a:buClr>
              <a:buFont typeface="Wingdings" panose="05000000000000000000" pitchFamily="2" charset="2"/>
              <a:buChar char="§"/>
            </a:pPr>
            <a:r>
              <a:rPr lang="bg-BG" altLang="bg-BG" sz="1500" dirty="0" smtClean="0">
                <a:latin typeface="+mn-lt"/>
              </a:rPr>
              <a:t>Награда за Зелена компания на </a:t>
            </a:r>
            <a:r>
              <a:rPr lang="en-US" altLang="bg-BG" sz="1500" dirty="0" smtClean="0">
                <a:latin typeface="+mn-lt"/>
              </a:rPr>
              <a:t>2014</a:t>
            </a:r>
            <a:r>
              <a:rPr lang="en-US" altLang="bg-BG" sz="1500" dirty="0">
                <a:latin typeface="+mn-lt"/>
              </a:rPr>
              <a:t>, </a:t>
            </a:r>
            <a:r>
              <a:rPr lang="bg-BG" altLang="bg-BG" sz="1500" dirty="0" smtClean="0">
                <a:latin typeface="+mn-lt"/>
              </a:rPr>
              <a:t>от</a:t>
            </a:r>
            <a:r>
              <a:rPr lang="en-US" altLang="bg-BG" sz="1500" dirty="0" smtClean="0">
                <a:latin typeface="+mn-lt"/>
              </a:rPr>
              <a:t> </a:t>
            </a:r>
            <a:r>
              <a:rPr lang="en-US" altLang="bg-BG" sz="1500" dirty="0">
                <a:latin typeface="+mn-lt"/>
              </a:rPr>
              <a:t>2015</a:t>
            </a:r>
          </a:p>
          <a:p>
            <a:pPr>
              <a:buClr>
                <a:srgbClr val="BC4E21"/>
              </a:buClr>
              <a:buFont typeface="Wingdings" panose="05000000000000000000" pitchFamily="2" charset="2"/>
              <a:buChar char="§"/>
            </a:pPr>
            <a:r>
              <a:rPr lang="en-GB" altLang="bg-BG" sz="1500" dirty="0">
                <a:latin typeface="+mn-lt"/>
              </a:rPr>
              <a:t>ISO 14001 </a:t>
            </a:r>
            <a:r>
              <a:rPr lang="bg-BG" altLang="bg-BG" sz="1500" dirty="0" smtClean="0">
                <a:latin typeface="+mn-lt"/>
              </a:rPr>
              <a:t>сертифициран от </a:t>
            </a:r>
            <a:r>
              <a:rPr lang="en-GB" altLang="bg-BG" sz="1500" dirty="0" smtClean="0">
                <a:latin typeface="+mn-lt"/>
              </a:rPr>
              <a:t>2009</a:t>
            </a:r>
            <a:endParaRPr lang="en-GB" altLang="bg-BG" sz="1500" dirty="0">
              <a:latin typeface="+mn-lt"/>
            </a:endParaRPr>
          </a:p>
          <a:p>
            <a:pPr>
              <a:buClr>
                <a:srgbClr val="BC4E21"/>
              </a:buClr>
              <a:buFont typeface="Wingdings" panose="05000000000000000000" pitchFamily="2" charset="2"/>
              <a:buChar char="§"/>
            </a:pPr>
            <a:r>
              <a:rPr lang="en-GB" altLang="bg-BG" sz="1500" dirty="0">
                <a:latin typeface="+mn-lt"/>
              </a:rPr>
              <a:t>ISO TS 16949 </a:t>
            </a:r>
            <a:r>
              <a:rPr lang="bg-BG" altLang="bg-BG" sz="1500" dirty="0">
                <a:latin typeface="+mn-lt"/>
              </a:rPr>
              <a:t>сертифициран </a:t>
            </a:r>
            <a:r>
              <a:rPr lang="bg-BG" altLang="bg-BG" sz="1500" dirty="0" smtClean="0">
                <a:latin typeface="+mn-lt"/>
              </a:rPr>
              <a:t>от </a:t>
            </a:r>
            <a:r>
              <a:rPr lang="en-GB" altLang="bg-BG" sz="1500" dirty="0" smtClean="0">
                <a:latin typeface="+mn-lt"/>
              </a:rPr>
              <a:t>2009</a:t>
            </a:r>
            <a:endParaRPr lang="en-GB" altLang="bg-BG" sz="1500" dirty="0">
              <a:latin typeface="+mn-lt"/>
            </a:endParaRPr>
          </a:p>
          <a:p>
            <a:pPr>
              <a:buClr>
                <a:srgbClr val="BC4E21"/>
              </a:buClr>
              <a:buFont typeface="Wingdings" panose="05000000000000000000" pitchFamily="2" charset="2"/>
              <a:buChar char="§"/>
            </a:pPr>
            <a:r>
              <a:rPr lang="en-GB" altLang="bg-BG" sz="1500" dirty="0" smtClean="0">
                <a:latin typeface="+mn-lt"/>
              </a:rPr>
              <a:t>ISO 45001, </a:t>
            </a:r>
            <a:r>
              <a:rPr lang="bg-BG" altLang="bg-BG" sz="1500" dirty="0" smtClean="0">
                <a:latin typeface="+mn-lt"/>
              </a:rPr>
              <a:t>преди</a:t>
            </a:r>
            <a:r>
              <a:rPr lang="en-GB" altLang="bg-BG" sz="1500" dirty="0" smtClean="0">
                <a:latin typeface="+mn-lt"/>
              </a:rPr>
              <a:t> OHSAS </a:t>
            </a:r>
            <a:r>
              <a:rPr lang="en-GB" altLang="bg-BG" sz="1500" dirty="0">
                <a:latin typeface="+mn-lt"/>
              </a:rPr>
              <a:t>18001 </a:t>
            </a:r>
            <a:r>
              <a:rPr lang="bg-BG" altLang="bg-BG" sz="1500" dirty="0">
                <a:latin typeface="+mn-lt"/>
              </a:rPr>
              <a:t>сертифициран </a:t>
            </a:r>
            <a:r>
              <a:rPr lang="bg-BG" altLang="bg-BG" sz="1500" dirty="0" smtClean="0">
                <a:latin typeface="+mn-lt"/>
              </a:rPr>
              <a:t>от </a:t>
            </a:r>
            <a:r>
              <a:rPr lang="en-GB" altLang="bg-BG" sz="1500" dirty="0" smtClean="0">
                <a:latin typeface="+mn-lt"/>
              </a:rPr>
              <a:t>2014</a:t>
            </a:r>
            <a:endParaRPr lang="en-GB" altLang="bg-BG" sz="1500" dirty="0">
              <a:latin typeface="+mn-lt"/>
            </a:endParaRPr>
          </a:p>
          <a:p>
            <a:pPr>
              <a:buClr>
                <a:srgbClr val="BC4E21"/>
              </a:buClr>
              <a:buFont typeface="Wingdings" panose="05000000000000000000" pitchFamily="2" charset="2"/>
              <a:buChar char="§"/>
            </a:pPr>
            <a:r>
              <a:rPr lang="en-GB" altLang="bg-BG" sz="1500" dirty="0">
                <a:latin typeface="+mn-lt"/>
              </a:rPr>
              <a:t>ISO 50001 </a:t>
            </a:r>
            <a:r>
              <a:rPr lang="bg-BG" altLang="bg-BG" sz="1500" dirty="0">
                <a:latin typeface="+mn-lt"/>
              </a:rPr>
              <a:t>сертифициран </a:t>
            </a:r>
            <a:r>
              <a:rPr lang="bg-BG" altLang="bg-BG" sz="1500" dirty="0" smtClean="0">
                <a:latin typeface="+mn-lt"/>
              </a:rPr>
              <a:t>от </a:t>
            </a:r>
            <a:r>
              <a:rPr lang="en-GB" altLang="bg-BG" sz="1500" dirty="0" smtClean="0">
                <a:latin typeface="+mn-lt"/>
              </a:rPr>
              <a:t>2016</a:t>
            </a:r>
            <a:endParaRPr lang="en-GB" altLang="bg-BG" sz="1500" dirty="0">
              <a:latin typeface="+mn-lt"/>
            </a:endParaRPr>
          </a:p>
          <a:p>
            <a:pPr>
              <a:buClr>
                <a:srgbClr val="BC4E21"/>
              </a:buClr>
              <a:buFont typeface="Wingdings" panose="05000000000000000000" pitchFamily="2" charset="2"/>
              <a:buChar char="§"/>
            </a:pPr>
            <a:r>
              <a:rPr lang="en-GB" altLang="bg-BG" sz="1500" dirty="0" err="1">
                <a:latin typeface="+mn-lt"/>
              </a:rPr>
              <a:t>IATF</a:t>
            </a:r>
            <a:r>
              <a:rPr lang="en-GB" altLang="bg-BG" sz="1500" dirty="0">
                <a:latin typeface="+mn-lt"/>
              </a:rPr>
              <a:t> </a:t>
            </a:r>
            <a:r>
              <a:rPr lang="bg-BG" altLang="bg-BG" sz="1500" dirty="0">
                <a:latin typeface="+mn-lt"/>
              </a:rPr>
              <a:t>сертифициран </a:t>
            </a:r>
            <a:r>
              <a:rPr lang="bg-BG" altLang="bg-BG" sz="1500" dirty="0" smtClean="0">
                <a:latin typeface="+mn-lt"/>
              </a:rPr>
              <a:t>от </a:t>
            </a:r>
            <a:r>
              <a:rPr lang="en-GB" altLang="bg-BG" sz="1500" dirty="0" smtClean="0">
                <a:latin typeface="+mn-lt"/>
              </a:rPr>
              <a:t>2018</a:t>
            </a:r>
            <a:endParaRPr lang="en-GB" altLang="bg-BG" sz="1500" dirty="0">
              <a:latin typeface="+mn-lt"/>
            </a:endParaRPr>
          </a:p>
          <a:p>
            <a:pPr>
              <a:buFont typeface="Wingdings" panose="05000000000000000000" pitchFamily="2" charset="2"/>
              <a:buChar char="v"/>
            </a:pPr>
            <a:endParaRPr lang="en-GB" altLang="bg-BG" sz="1500" dirty="0">
              <a:latin typeface="+mn-lt"/>
            </a:endParaRPr>
          </a:p>
        </p:txBody>
      </p:sp>
      <p:pic>
        <p:nvPicPr>
          <p:cNvPr id="13" name="Picture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06961" y="901184"/>
            <a:ext cx="1881678" cy="1056781"/>
          </a:xfrm>
          <a:prstGeom prst="rect">
            <a:avLst/>
          </a:prstGeom>
          <a:ln>
            <a:noFill/>
          </a:ln>
          <a:effectLst>
            <a:outerShdw blurRad="292100" dist="139700" dir="2700000" algn="tl" rotWithShape="0">
              <a:srgbClr val="333333">
                <a:alpha val="65000"/>
              </a:srgbClr>
            </a:outerShdw>
          </a:effectLst>
          <a:extLst/>
        </p:spPr>
      </p:pic>
      <p:pic>
        <p:nvPicPr>
          <p:cNvPr id="14" name="Picture 15" descr="http://fcbzr.org/modules/image.php?file_id=1668&amp;ex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29396" y="901184"/>
            <a:ext cx="1595747" cy="1064157"/>
          </a:xfrm>
          <a:prstGeom prst="rect">
            <a:avLst/>
          </a:prstGeom>
          <a:ln>
            <a:noFill/>
          </a:ln>
          <a:effectLst>
            <a:outerShdw blurRad="292100" dist="139700" dir="2700000" algn="tl" rotWithShape="0">
              <a:srgbClr val="333333">
                <a:alpha val="65000"/>
              </a:srgbClr>
            </a:outerShdw>
          </a:effectLst>
          <a:extLst/>
        </p:spPr>
      </p:pic>
      <p:pic>
        <p:nvPicPr>
          <p:cNvPr id="15"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auto">
          <a:xfrm>
            <a:off x="762000" y="822872"/>
            <a:ext cx="885578" cy="1130133"/>
          </a:xfrm>
          <a:prstGeom prst="rect">
            <a:avLst/>
          </a:prstGeom>
          <a:ln>
            <a:noFill/>
          </a:ln>
          <a:effectLst>
            <a:outerShdw blurRad="292100" dist="139700" dir="2700000" algn="tl" rotWithShape="0">
              <a:srgbClr val="333333">
                <a:alpha val="65000"/>
              </a:srgbClr>
            </a:outerShdw>
          </a:effectLst>
          <a:extLst/>
        </p:spPr>
      </p:pic>
      <p:pic>
        <p:nvPicPr>
          <p:cNvPr id="16" name="Picture 1" descr="image00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46785" y="2432965"/>
            <a:ext cx="1578938" cy="835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Ð ÐµÐ·ÑÐ»ÑÐ°Ñ Ñ Ð¸Ð·Ð¾Ð±ÑÐ°Ð¶ÐµÐ½Ð¸Ðµ Ð·Ð° FORD Q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99926" y="873226"/>
            <a:ext cx="1034473" cy="1119112"/>
          </a:xfrm>
          <a:prstGeom prst="rect">
            <a:avLst/>
          </a:prstGeom>
          <a:ln>
            <a:noFill/>
          </a:ln>
          <a:effectLst>
            <a:outerShdw blurRad="292100" dist="139700" dir="2700000" algn="tl" rotWithShape="0">
              <a:srgbClr val="333333">
                <a:alpha val="65000"/>
              </a:srgbClr>
            </a:outerShdw>
          </a:effectLst>
          <a:extLst/>
        </p:spPr>
      </p:pic>
      <p:pic>
        <p:nvPicPr>
          <p:cNvPr id="17" name="Picture 16"/>
          <p:cNvPicPr>
            <a:picLocks noChangeAspect="1"/>
          </p:cNvPicPr>
          <p:nvPr/>
        </p:nvPicPr>
        <p:blipFill rotWithShape="1">
          <a:blip r:embed="rId8">
            <a:extLst>
              <a:ext uri="{BEBA8EAE-BF5A-486C-A8C5-ECC9F3942E4B}">
                <a14:imgProps xmlns:a14="http://schemas.microsoft.com/office/drawing/2010/main">
                  <a14:imgLayer r:embed="rId9">
                    <a14:imgEffect>
                      <a14:backgroundRemoval t="4167" b="92917" l="18750" r="82500"/>
                    </a14:imgEffect>
                  </a14:imgLayer>
                </a14:imgProps>
              </a:ext>
              <a:ext uri="{28A0092B-C50C-407E-A947-70E740481C1C}">
                <a14:useLocalDpi xmlns:a14="http://schemas.microsoft.com/office/drawing/2010/main" val="0"/>
              </a:ext>
            </a:extLst>
          </a:blip>
          <a:srcRect l="18443" r="15026" b="4132"/>
          <a:stretch/>
        </p:blipFill>
        <p:spPr>
          <a:xfrm>
            <a:off x="7557795" y="2114550"/>
            <a:ext cx="960228" cy="1383638"/>
          </a:xfrm>
          <a:prstGeom prst="rect">
            <a:avLst/>
          </a:prstGeom>
          <a:ln>
            <a:noFill/>
          </a:ln>
          <a:effectLst>
            <a:outerShdw blurRad="292100" dist="139700" dir="2700000" algn="tl" rotWithShape="0">
              <a:srgbClr val="333333">
                <a:alpha val="65000"/>
              </a:srgbClr>
            </a:outerShdw>
          </a:effectLst>
        </p:spPr>
      </p:pic>
      <p:pic>
        <p:nvPicPr>
          <p:cNvPr id="19" name="Picture 2" descr="http://qe2ingenieria.com/sites/default/files/iso-50001-energy-management.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54981" y="3941221"/>
            <a:ext cx="795889" cy="9082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1">
            <a:extLst>
              <a:ext uri="{BEBA8EAE-BF5A-486C-A8C5-ECC9F3942E4B}">
                <a14:imgProps xmlns:a14="http://schemas.microsoft.com/office/drawing/2010/main">
                  <a14:imgLayer r:embed="rId12">
                    <a14:imgEffect>
                      <a14:backgroundRemoval t="0" b="99487" l="1026" r="100000">
                        <a14:foregroundMark x1="31795" y1="46667" x2="31795" y2="46667"/>
                        <a14:foregroundMark x1="37436" y1="45128" x2="37436" y2="45128"/>
                        <a14:foregroundMark x1="49744" y1="40513" x2="49744" y2="40513"/>
                        <a14:foregroundMark x1="57949" y1="43590" x2="57949" y2="43590"/>
                        <a14:foregroundMark x1="84103" y1="39487" x2="84103" y2="39487"/>
                        <a14:foregroundMark x1="85641" y1="39487" x2="85641" y2="39487"/>
                        <a14:foregroundMark x1="78974" y1="42564" x2="78974" y2="42564"/>
                      </a14:backgroundRemoval>
                    </a14:imgEffect>
                  </a14:imgLayer>
                </a14:imgProps>
              </a:ext>
              <a:ext uri="{28A0092B-C50C-407E-A947-70E740481C1C}">
                <a14:useLocalDpi xmlns:a14="http://schemas.microsoft.com/office/drawing/2010/main" val="0"/>
              </a:ext>
            </a:extLst>
          </a:blip>
          <a:stretch>
            <a:fillRect/>
          </a:stretch>
        </p:blipFill>
        <p:spPr>
          <a:xfrm>
            <a:off x="6566406" y="3912475"/>
            <a:ext cx="989466" cy="989466"/>
          </a:xfrm>
          <a:prstGeom prst="rect">
            <a:avLst/>
          </a:prstGeom>
          <a:ln>
            <a:noFill/>
          </a:ln>
          <a:effectLst>
            <a:outerShdw blurRad="292100" dist="139700" dir="2700000" algn="tl" rotWithShape="0">
              <a:srgbClr val="333333">
                <a:alpha val="65000"/>
              </a:srgbClr>
            </a:outerShdw>
          </a:effectLst>
        </p:spPr>
      </p:pic>
      <p:pic>
        <p:nvPicPr>
          <p:cNvPr id="21" name="Picture 20"/>
          <p:cNvPicPr>
            <a:picLocks noChangeAspect="1"/>
          </p:cNvPicPr>
          <p:nvPr/>
        </p:nvPicPr>
        <p:blipFill>
          <a:blip r:embed="rId13" cstate="print">
            <a:extLst>
              <a:ext uri="{BEBA8EAE-BF5A-486C-A8C5-ECC9F3942E4B}">
                <a14:imgProps xmlns:a14="http://schemas.microsoft.com/office/drawing/2010/main">
                  <a14:imgLayer r:embed="rId14">
                    <a14:imgEffect>
                      <a14:backgroundRemoval t="0" b="99554" l="0" r="100000">
                        <a14:foregroundMark x1="67857" y1="49554" x2="67857" y2="49554"/>
                        <a14:foregroundMark x1="73661" y1="44196" x2="73661" y2="44196"/>
                        <a14:foregroundMark x1="58482" y1="44196" x2="58482" y2="44196"/>
                        <a14:foregroundMark x1="50000" y1="45982" x2="50000" y2="45982"/>
                        <a14:foregroundMark x1="32143" y1="42411" x2="32143" y2="42411"/>
                        <a14:foregroundMark x1="69196" y1="6696" x2="69196" y2="6696"/>
                        <a14:foregroundMark x1="53571" y1="9821" x2="53571" y2="9821"/>
                        <a14:foregroundMark x1="52232" y1="4911" x2="52232" y2="4911"/>
                        <a14:foregroundMark x1="48661" y1="7589" x2="48661" y2="7589"/>
                        <a14:foregroundMark x1="43304" y1="9821" x2="43304" y2="9821"/>
                        <a14:foregroundMark x1="32589" y1="13393" x2="32589" y2="13393"/>
                        <a14:foregroundMark x1="23661" y1="20089" x2="23661" y2="20089"/>
                        <a14:foregroundMark x1="13839" y1="24554" x2="13839" y2="24554"/>
                        <a14:foregroundMark x1="10714" y1="42857" x2="10714" y2="42857"/>
                        <a14:foregroundMark x1="9821" y1="61161" x2="9821" y2="61161"/>
                        <a14:foregroundMark x1="6696" y1="48661" x2="6696" y2="48661"/>
                        <a14:foregroundMark x1="11161" y1="32589" x2="11161" y2="32589"/>
                        <a14:foregroundMark x1="15179" y1="33036" x2="15179" y2="33036"/>
                        <a14:foregroundMark x1="17857" y1="74107" x2="17857" y2="74107"/>
                        <a14:foregroundMark x1="27679" y1="83036" x2="27679" y2="83036"/>
                        <a14:foregroundMark x1="22768" y1="85268" x2="22768" y2="85268"/>
                        <a14:foregroundMark x1="29464" y1="88839" x2="29464" y2="88839"/>
                        <a14:foregroundMark x1="38839" y1="91518" x2="38839" y2="91518"/>
                        <a14:foregroundMark x1="43304" y1="94196" x2="43304" y2="94196"/>
                        <a14:foregroundMark x1="45982" y1="89732" x2="45982" y2="89732"/>
                        <a14:foregroundMark x1="54464" y1="92857" x2="54464" y2="92857"/>
                        <a14:foregroundMark x1="59821" y1="90625" x2="59821" y2="90625"/>
                        <a14:foregroundMark x1="75000" y1="85268" x2="75000" y2="85268"/>
                        <a14:foregroundMark x1="90179" y1="75446" x2="90179" y2="75446"/>
                        <a14:foregroundMark x1="81696" y1="76339" x2="81696" y2="76339"/>
                        <a14:foregroundMark x1="68750" y1="83482" x2="68750" y2="83482"/>
                        <a14:foregroundMark x1="79911" y1="83036" x2="79911" y2="83036"/>
                        <a14:foregroundMark x1="90179" y1="70089" x2="90179" y2="70089"/>
                        <a14:foregroundMark x1="93750" y1="54464" x2="93750" y2="54464"/>
                        <a14:foregroundMark x1="93304" y1="45536" x2="93304" y2="45536"/>
                        <a14:foregroundMark x1="92411" y1="36161" x2="92411" y2="36161"/>
                        <a14:foregroundMark x1="89286" y1="29464" x2="89286" y2="29464"/>
                        <a14:foregroundMark x1="83482" y1="23661" x2="83482" y2="23661"/>
                        <a14:foregroundMark x1="81250" y1="20536" x2="81250" y2="20536"/>
                        <a14:foregroundMark x1="73661" y1="17411" x2="73661" y2="17411"/>
                        <a14:foregroundMark x1="74554" y1="12946" x2="74554" y2="12946"/>
                        <a14:foregroundMark x1="85268" y1="29911" x2="85268" y2="29911"/>
                        <a14:foregroundMark x1="6696" y1="56696" x2="6696" y2="56696"/>
                        <a14:foregroundMark x1="12054" y1="71875" x2="12054" y2="71875"/>
                      </a14:backgroundRemoval>
                    </a14:imgEffect>
                  </a14:imgLayer>
                </a14:imgProps>
              </a:ext>
              <a:ext uri="{28A0092B-C50C-407E-A947-70E740481C1C}">
                <a14:useLocalDpi xmlns:a14="http://schemas.microsoft.com/office/drawing/2010/main" val="0"/>
              </a:ext>
            </a:extLst>
          </a:blip>
          <a:stretch>
            <a:fillRect/>
          </a:stretch>
        </p:blipFill>
        <p:spPr>
          <a:xfrm>
            <a:off x="5410200" y="3924358"/>
            <a:ext cx="933544" cy="9335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665762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Екологични инициативи</a:t>
            </a:r>
            <a:endParaRPr lang="bg-BG" b="0" dirty="0"/>
          </a:p>
        </p:txBody>
      </p:sp>
    </p:spTree>
    <p:extLst>
      <p:ext uri="{BB962C8B-B14F-4D97-AF65-F5344CB8AC3E}">
        <p14:creationId xmlns:p14="http://schemas.microsoft.com/office/powerpoint/2010/main" val="5205790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p:cNvSpPr>
            <a:spLocks noGrp="1"/>
          </p:cNvSpPr>
          <p:nvPr>
            <p:ph type="title"/>
          </p:nvPr>
        </p:nvSpPr>
        <p:spPr/>
        <p:txBody>
          <a:bodyPr>
            <a:normAutofit/>
          </a:bodyPr>
          <a:lstStyle/>
          <a:p>
            <a:r>
              <a:rPr lang="bg-BG" sz="2200" dirty="0" smtClean="0"/>
              <a:t>Политика по околната среда</a:t>
            </a:r>
            <a:endParaRPr lang="bg-BG" sz="2200" dirty="0"/>
          </a:p>
        </p:txBody>
      </p:sp>
      <p:sp>
        <p:nvSpPr>
          <p:cNvPr id="2" name="Content Placeholder 1"/>
          <p:cNvSpPr>
            <a:spLocks noGrp="1"/>
          </p:cNvSpPr>
          <p:nvPr>
            <p:ph sz="quarter" idx="10"/>
          </p:nvPr>
        </p:nvSpPr>
        <p:spPr>
          <a:xfrm>
            <a:off x="239740" y="885997"/>
            <a:ext cx="8828060" cy="3666953"/>
          </a:xfrm>
        </p:spPr>
        <p:txBody>
          <a:bodyPr>
            <a:noAutofit/>
          </a:bodyPr>
          <a:lstStyle/>
          <a:p>
            <a:r>
              <a:rPr lang="ru-RU" sz="1600" dirty="0"/>
              <a:t>Зеленият ангажимент на Линамар е така нареченото официално изявление за корпоративна политика в областта на околната среда.</a:t>
            </a:r>
            <a:endParaRPr lang="en-US" sz="1600" dirty="0" smtClean="0"/>
          </a:p>
          <a:p>
            <a:r>
              <a:rPr lang="bg-BG" sz="1600" dirty="0" smtClean="0"/>
              <a:t>Фирмата управлява </a:t>
            </a:r>
            <a:r>
              <a:rPr lang="bg-BG" sz="1600" dirty="0"/>
              <a:t>всички аспекти на бизнеса по отговорен начин, който допринася за опазване здравето и безопасността на своите работници и служители, опазване на околната среда, ефективно използване на енергийни ресурси и предоставяне на качествени продукти на своите </a:t>
            </a:r>
            <a:r>
              <a:rPr lang="bg-BG" sz="1600" dirty="0" smtClean="0"/>
              <a:t>клиенти</a:t>
            </a:r>
            <a:r>
              <a:rPr lang="en-US" sz="1600" dirty="0" smtClean="0"/>
              <a:t>, </a:t>
            </a:r>
            <a:r>
              <a:rPr lang="bg-BG" sz="1600" dirty="0" smtClean="0"/>
              <a:t>като се стреми</a:t>
            </a:r>
            <a:r>
              <a:rPr lang="ru-RU" sz="1600" dirty="0" smtClean="0"/>
              <a:t> </a:t>
            </a:r>
            <a:r>
              <a:rPr lang="ru-RU" sz="1600" dirty="0"/>
              <a:t>да </a:t>
            </a:r>
            <a:r>
              <a:rPr lang="ru-RU" sz="1600" dirty="0" smtClean="0"/>
              <a:t>сведе </a:t>
            </a:r>
            <a:r>
              <a:rPr lang="ru-RU" sz="1600" dirty="0"/>
              <a:t>до минимум </a:t>
            </a:r>
            <a:r>
              <a:rPr lang="ru-RU" sz="1600" dirty="0" smtClean="0"/>
              <a:t>екологичн</a:t>
            </a:r>
            <a:r>
              <a:rPr lang="bg-BG" sz="1600" dirty="0" smtClean="0"/>
              <a:t>ия</a:t>
            </a:r>
            <a:r>
              <a:rPr lang="ru-RU" sz="1600" dirty="0" smtClean="0"/>
              <a:t> си отпечатък.</a:t>
            </a:r>
            <a:endParaRPr lang="bg-BG" sz="1600" dirty="0"/>
          </a:p>
          <a:p>
            <a:r>
              <a:rPr lang="bg-BG" sz="1600" dirty="0" smtClean="0"/>
              <a:t>Мениджмънтът</a:t>
            </a:r>
            <a:r>
              <a:rPr lang="bg-BG" sz="1600" b="1" dirty="0" smtClean="0"/>
              <a:t> </a:t>
            </a:r>
            <a:r>
              <a:rPr lang="bg-BG" sz="1600" dirty="0" smtClean="0"/>
              <a:t>е приел </a:t>
            </a:r>
            <a:r>
              <a:rPr lang="de-DE" sz="1600" dirty="0" smtClean="0"/>
              <a:t>система </a:t>
            </a:r>
            <a:r>
              <a:rPr lang="de-DE" sz="1600" dirty="0"/>
              <a:t>по околна </a:t>
            </a:r>
            <a:r>
              <a:rPr lang="de-DE" sz="1600" dirty="0" smtClean="0"/>
              <a:t>среда</a:t>
            </a:r>
            <a:r>
              <a:rPr lang="bg-BG" sz="1600" dirty="0" smtClean="0"/>
              <a:t>, в съответствие</a:t>
            </a:r>
            <a:r>
              <a:rPr lang="de-DE" sz="1600" dirty="0" smtClean="0"/>
              <a:t> </a:t>
            </a:r>
            <a:r>
              <a:rPr lang="bg-BG" sz="1600" dirty="0" smtClean="0"/>
              <a:t>с </a:t>
            </a:r>
            <a:r>
              <a:rPr lang="de-DE" sz="1600" dirty="0" smtClean="0"/>
              <a:t>българското </a:t>
            </a:r>
            <a:r>
              <a:rPr lang="de-DE" sz="1600" dirty="0"/>
              <a:t>законодателство, </a:t>
            </a:r>
            <a:r>
              <a:rPr lang="de-DE" sz="1600" dirty="0" smtClean="0"/>
              <a:t>международните </a:t>
            </a:r>
            <a:r>
              <a:rPr lang="de-DE" sz="1600" dirty="0"/>
              <a:t>стандарти за системи по околна среда и </a:t>
            </a:r>
            <a:r>
              <a:rPr lang="bg-BG" sz="1600" dirty="0" smtClean="0"/>
              <a:t>със</a:t>
            </a:r>
            <a:r>
              <a:rPr lang="de-DE" sz="1600" dirty="0" smtClean="0"/>
              <a:t> </a:t>
            </a:r>
            <a:r>
              <a:rPr lang="de-DE" sz="1600" dirty="0"/>
              <a:t>специфичните изисквания на клиентите</a:t>
            </a:r>
            <a:r>
              <a:rPr lang="de-DE" sz="1600" dirty="0" smtClean="0"/>
              <a:t>.</a:t>
            </a:r>
            <a:endParaRPr lang="bg-BG" sz="1600" dirty="0" smtClean="0"/>
          </a:p>
          <a:p>
            <a:r>
              <a:rPr lang="en-US" sz="1600" dirty="0"/>
              <a:t>При </a:t>
            </a:r>
            <a:r>
              <a:rPr lang="bg-BG" sz="1600" dirty="0" smtClean="0"/>
              <a:t>планирането</a:t>
            </a:r>
            <a:r>
              <a:rPr lang="en-US" sz="1600" dirty="0" smtClean="0"/>
              <a:t> </a:t>
            </a:r>
            <a:r>
              <a:rPr lang="en-US" sz="1600" dirty="0"/>
              <a:t>на системата за </a:t>
            </a:r>
            <a:r>
              <a:rPr lang="bg-BG" sz="1600" dirty="0" smtClean="0"/>
              <a:t>управление</a:t>
            </a:r>
            <a:r>
              <a:rPr lang="en-US" sz="1600" dirty="0" smtClean="0"/>
              <a:t> </a:t>
            </a:r>
            <a:r>
              <a:rPr lang="en-US" sz="1600" dirty="0"/>
              <a:t>по околна среда, </a:t>
            </a:r>
            <a:r>
              <a:rPr lang="bg-BG" sz="1600" dirty="0" smtClean="0"/>
              <a:t>се</a:t>
            </a:r>
            <a:r>
              <a:rPr lang="en-US" sz="1600" dirty="0" smtClean="0"/>
              <a:t> отчита</a:t>
            </a:r>
            <a:r>
              <a:rPr lang="bg-BG" sz="1600" dirty="0" smtClean="0"/>
              <a:t>т</a:t>
            </a:r>
            <a:r>
              <a:rPr lang="en-US" sz="1600" dirty="0" smtClean="0"/>
              <a:t> </a:t>
            </a:r>
            <a:r>
              <a:rPr lang="bg-BG" sz="1600" dirty="0" smtClean="0"/>
              <a:t>всички </a:t>
            </a:r>
            <a:r>
              <a:rPr lang="en-US" sz="1600" dirty="0" smtClean="0"/>
              <a:t>обстоятелства, рискове </a:t>
            </a:r>
            <a:r>
              <a:rPr lang="en-US" sz="1600" dirty="0"/>
              <a:t>и </a:t>
            </a:r>
            <a:r>
              <a:rPr lang="en-US" sz="1600" dirty="0" smtClean="0"/>
              <a:t>възможности, </a:t>
            </a:r>
            <a:r>
              <a:rPr lang="en-US" sz="1600" dirty="0"/>
              <a:t>както и </a:t>
            </a:r>
            <a:r>
              <a:rPr lang="en-US" sz="1600" dirty="0" smtClean="0"/>
              <a:t>задължения</a:t>
            </a:r>
            <a:r>
              <a:rPr lang="bg-BG" sz="1600" dirty="0" smtClean="0"/>
              <a:t> за</a:t>
            </a:r>
            <a:r>
              <a:rPr lang="en-US" sz="1600" dirty="0" smtClean="0"/>
              <a:t>:</a:t>
            </a:r>
            <a:endParaRPr lang="bg-BG" sz="1600" dirty="0" smtClean="0"/>
          </a:p>
          <a:p>
            <a:pPr lvl="1"/>
            <a:r>
              <a:rPr lang="ru-RU" sz="1400" dirty="0" smtClean="0"/>
              <a:t>постигне на очакваните </a:t>
            </a:r>
            <a:r>
              <a:rPr lang="ru-RU" sz="1400" dirty="0"/>
              <a:t>резултати;</a:t>
            </a:r>
          </a:p>
          <a:p>
            <a:pPr lvl="1"/>
            <a:r>
              <a:rPr lang="ru-RU" sz="1400" dirty="0" smtClean="0"/>
              <a:t>предотвратяване </a:t>
            </a:r>
            <a:r>
              <a:rPr lang="ru-RU" sz="1400" dirty="0"/>
              <a:t>или намаляване на нежеланите въздействия, включително възможността външните условия на околната среда да влияят на организацията;</a:t>
            </a:r>
          </a:p>
          <a:p>
            <a:pPr lvl="1"/>
            <a:r>
              <a:rPr lang="ru-RU" sz="1400" dirty="0" smtClean="0"/>
              <a:t>постигане </a:t>
            </a:r>
            <a:r>
              <a:rPr lang="ru-RU" sz="1400" dirty="0"/>
              <a:t>на постоянно подобряване</a:t>
            </a:r>
            <a:r>
              <a:rPr lang="ru-RU" sz="1400" dirty="0" smtClean="0"/>
              <a:t>.</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94570" y="4010399"/>
            <a:ext cx="2020830" cy="1133101"/>
          </a:xfrm>
          <a:prstGeom prst="rect">
            <a:avLst/>
          </a:prstGeom>
        </p:spPr>
      </p:pic>
    </p:spTree>
    <p:extLst>
      <p:ext uri="{BB962C8B-B14F-4D97-AF65-F5344CB8AC3E}">
        <p14:creationId xmlns:p14="http://schemas.microsoft.com/office/powerpoint/2010/main" val="296698831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214744" y="1047749"/>
            <a:ext cx="8664517" cy="3733799"/>
          </a:xfrm>
        </p:spPr>
        <p:txBody>
          <a:bodyPr>
            <a:normAutofit/>
          </a:bodyPr>
          <a:lstStyle/>
          <a:p>
            <a:endParaRPr lang="en-US" sz="1800" b="1" dirty="0">
              <a:solidFill>
                <a:schemeClr val="tx1"/>
              </a:solidFill>
            </a:endParaRPr>
          </a:p>
          <a:p>
            <a:r>
              <a:rPr lang="bg-BG" sz="1800" b="1" dirty="0" smtClean="0"/>
              <a:t>Хронология</a:t>
            </a:r>
            <a:endParaRPr lang="en-US" sz="1800" dirty="0"/>
          </a:p>
          <a:p>
            <a:pPr lvl="1" algn="just"/>
            <a:r>
              <a:rPr lang="ru-RU" sz="1600" b="1" dirty="0"/>
              <a:t>Юли 2017 г. </a:t>
            </a:r>
            <a:r>
              <a:rPr lang="ru-RU" sz="1600" b="1" dirty="0" smtClean="0"/>
              <a:t>– Инвестиционната програма за </a:t>
            </a:r>
            <a:r>
              <a:rPr lang="ru-RU" sz="1600" b="1" dirty="0"/>
              <a:t>околната среда </a:t>
            </a:r>
            <a:r>
              <a:rPr lang="ru-RU" sz="1600" dirty="0"/>
              <a:t>беше одобрена от министъра на околната среда. Междувременно </a:t>
            </a:r>
            <a:r>
              <a:rPr lang="ru-RU" sz="1600" dirty="0" smtClean="0"/>
              <a:t>РИОСВ-Русе </a:t>
            </a:r>
            <a:r>
              <a:rPr lang="ru-RU" sz="1600" dirty="0"/>
              <a:t>даде своето положително </a:t>
            </a:r>
            <a:r>
              <a:rPr lang="ru-RU" sz="1600" dirty="0" smtClean="0"/>
              <a:t>становище </a:t>
            </a:r>
            <a:r>
              <a:rPr lang="ru-RU" sz="1600" dirty="0"/>
              <a:t>за </a:t>
            </a:r>
            <a:r>
              <a:rPr lang="ru-RU" sz="1600" dirty="0" smtClean="0"/>
              <a:t>предложените </a:t>
            </a:r>
            <a:r>
              <a:rPr lang="ru-RU" sz="1600" dirty="0"/>
              <a:t>мерки / </a:t>
            </a:r>
            <a:r>
              <a:rPr lang="ru-RU" sz="1600" dirty="0" smtClean="0"/>
              <a:t>проекти, </a:t>
            </a:r>
            <a:r>
              <a:rPr lang="ru-RU" sz="1600" dirty="0"/>
              <a:t>с цел значително подобряване на въздействието </a:t>
            </a:r>
            <a:r>
              <a:rPr lang="ru-RU" sz="1600" dirty="0" smtClean="0"/>
              <a:t>на завода </a:t>
            </a:r>
            <a:r>
              <a:rPr lang="ru-RU" sz="1600" dirty="0"/>
              <a:t>върху околната </a:t>
            </a:r>
            <a:r>
              <a:rPr lang="ru-RU" sz="1600" dirty="0" smtClean="0"/>
              <a:t>среда.</a:t>
            </a:r>
          </a:p>
          <a:p>
            <a:pPr marL="457200" lvl="1" indent="0" algn="just">
              <a:buNone/>
            </a:pPr>
            <a:r>
              <a:rPr lang="ru-RU" sz="1600" b="1" dirty="0"/>
              <a:t>	</a:t>
            </a:r>
            <a:endParaRPr lang="en-US" dirty="0" smtClean="0">
              <a:solidFill>
                <a:schemeClr val="tx1"/>
              </a:solidFill>
            </a:endParaRPr>
          </a:p>
          <a:p>
            <a:pPr lvl="1" algn="just"/>
            <a:r>
              <a:rPr lang="ru-RU" b="1" dirty="0"/>
              <a:t>Юли</a:t>
            </a:r>
            <a:r>
              <a:rPr lang="en-US" b="1" dirty="0" smtClean="0">
                <a:solidFill>
                  <a:schemeClr val="tx1"/>
                </a:solidFill>
              </a:rPr>
              <a:t> </a:t>
            </a:r>
            <a:r>
              <a:rPr lang="en-US" b="1" dirty="0">
                <a:solidFill>
                  <a:schemeClr val="tx1"/>
                </a:solidFill>
              </a:rPr>
              <a:t>2019 </a:t>
            </a:r>
            <a:r>
              <a:rPr lang="en-US" b="1" dirty="0" smtClean="0">
                <a:solidFill>
                  <a:schemeClr val="tx1"/>
                </a:solidFill>
              </a:rPr>
              <a:t>– </a:t>
            </a:r>
            <a:r>
              <a:rPr lang="bg-BG" b="1" dirty="0" smtClean="0">
                <a:solidFill>
                  <a:schemeClr val="tx1"/>
                </a:solidFill>
              </a:rPr>
              <a:t>получено е ново Комплексно разрешително </a:t>
            </a:r>
            <a:r>
              <a:rPr lang="en-US" b="1" dirty="0" smtClean="0">
                <a:solidFill>
                  <a:schemeClr val="tx1"/>
                </a:solidFill>
              </a:rPr>
              <a:t>105-H2-I0-A0/2019 </a:t>
            </a:r>
            <a:r>
              <a:rPr lang="en-US" dirty="0" smtClean="0">
                <a:solidFill>
                  <a:schemeClr val="tx1"/>
                </a:solidFill>
              </a:rPr>
              <a:t>– </a:t>
            </a:r>
            <a:r>
              <a:rPr lang="bg-BG" dirty="0" smtClean="0">
                <a:solidFill>
                  <a:schemeClr val="tx1"/>
                </a:solidFill>
              </a:rPr>
              <a:t>всички инвестиции са включени в него</a:t>
            </a:r>
            <a:endParaRPr lang="en-US" dirty="0" smtClean="0">
              <a:solidFill>
                <a:schemeClr val="tx1"/>
              </a:solidFill>
            </a:endParaRPr>
          </a:p>
          <a:p>
            <a:pPr marL="457200" lvl="1" indent="0" algn="just">
              <a:buNone/>
            </a:pPr>
            <a:r>
              <a:rPr lang="bg-BG" sz="1400" b="1" dirty="0" smtClean="0">
                <a:solidFill>
                  <a:schemeClr val="tx1"/>
                </a:solidFill>
              </a:rPr>
              <a:t>       	</a:t>
            </a:r>
            <a:endParaRPr lang="en-US" b="1" dirty="0">
              <a:solidFill>
                <a:schemeClr val="tx1"/>
              </a:solidFill>
            </a:endParaRPr>
          </a:p>
        </p:txBody>
      </p:sp>
      <p:sp>
        <p:nvSpPr>
          <p:cNvPr id="3" name="Title 2"/>
          <p:cNvSpPr>
            <a:spLocks noGrp="1"/>
          </p:cNvSpPr>
          <p:nvPr>
            <p:ph type="title"/>
          </p:nvPr>
        </p:nvSpPr>
        <p:spPr/>
        <p:txBody>
          <a:bodyPr>
            <a:normAutofit/>
          </a:bodyPr>
          <a:lstStyle/>
          <a:p>
            <a:r>
              <a:rPr lang="bg-BG" dirty="0" smtClean="0"/>
              <a:t>Инвестиционна програма по окона среда</a:t>
            </a:r>
            <a:endParaRPr lang="bg-BG" b="0" dirty="0"/>
          </a:p>
        </p:txBody>
      </p:sp>
    </p:spTree>
    <p:extLst>
      <p:ext uri="{BB962C8B-B14F-4D97-AF65-F5344CB8AC3E}">
        <p14:creationId xmlns:p14="http://schemas.microsoft.com/office/powerpoint/2010/main" val="23502640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bg-BG" dirty="0" smtClean="0"/>
              <a:t>Био филтри</a:t>
            </a:r>
            <a:endParaRPr lang="bg-BG" dirty="0"/>
          </a:p>
        </p:txBody>
      </p:sp>
      <p:sp>
        <p:nvSpPr>
          <p:cNvPr id="13" name="Rectangle 12"/>
          <p:cNvSpPr/>
          <p:nvPr/>
        </p:nvSpPr>
        <p:spPr>
          <a:xfrm>
            <a:off x="239683" y="934108"/>
            <a:ext cx="8675717" cy="584775"/>
          </a:xfrm>
          <a:prstGeom prst="rect">
            <a:avLst/>
          </a:prstGeom>
        </p:spPr>
        <p:txBody>
          <a:bodyPr wrap="square">
            <a:spAutoFit/>
          </a:bodyPr>
          <a:lstStyle/>
          <a:p>
            <a:pPr algn="just"/>
            <a:r>
              <a:rPr lang="bg-BG" sz="1600" dirty="0">
                <a:solidFill>
                  <a:srgbClr val="000000"/>
                </a:solidFill>
                <a:latin typeface="+mj-lt"/>
                <a:ea typeface="Calibri" panose="020F0502020204030204" pitchFamily="34" charset="0"/>
              </a:rPr>
              <a:t>П</a:t>
            </a:r>
            <a:r>
              <a:rPr lang="ru-RU" sz="1600" dirty="0" smtClean="0">
                <a:solidFill>
                  <a:srgbClr val="000000"/>
                </a:solidFill>
                <a:latin typeface="+mj-lt"/>
                <a:ea typeface="Calibri" panose="020F0502020204030204" pitchFamily="34" charset="0"/>
              </a:rPr>
              <a:t>одобрява </a:t>
            </a:r>
            <a:r>
              <a:rPr lang="ru-RU" sz="1600" dirty="0">
                <a:solidFill>
                  <a:srgbClr val="000000"/>
                </a:solidFill>
                <a:latin typeface="+mj-lt"/>
                <a:ea typeface="Calibri" panose="020F0502020204030204" pitchFamily="34" charset="0"/>
              </a:rPr>
              <a:t>циркулацията на </a:t>
            </a:r>
            <a:r>
              <a:rPr lang="ru-RU" sz="1600" dirty="0" smtClean="0">
                <a:solidFill>
                  <a:srgbClr val="000000"/>
                </a:solidFill>
                <a:latin typeface="+mj-lt"/>
                <a:ea typeface="Calibri" panose="020F0502020204030204" pitchFamily="34" charset="0"/>
              </a:rPr>
              <a:t>въздуха </a:t>
            </a:r>
            <a:r>
              <a:rPr lang="bg-BG" sz="1600" dirty="0" smtClean="0">
                <a:solidFill>
                  <a:srgbClr val="000000"/>
                </a:solidFill>
                <a:latin typeface="+mj-lt"/>
                <a:ea typeface="Calibri" panose="020F0502020204030204" pitchFamily="34" charset="0"/>
              </a:rPr>
              <a:t>в работната среда и от зоните за съхранение на пясъчни сърца.</a:t>
            </a:r>
            <a:r>
              <a:rPr lang="en-US" sz="1600" dirty="0" smtClean="0">
                <a:solidFill>
                  <a:srgbClr val="000000"/>
                </a:solidFill>
                <a:latin typeface="+mj-lt"/>
                <a:ea typeface="Calibri" panose="020F0502020204030204" pitchFamily="34" charset="0"/>
              </a:rPr>
              <a:t> </a:t>
            </a:r>
            <a:r>
              <a:rPr lang="bg-BG" sz="1600" dirty="0" smtClean="0">
                <a:solidFill>
                  <a:srgbClr val="000000"/>
                </a:solidFill>
                <a:latin typeface="+mj-lt"/>
                <a:ea typeface="Calibri" panose="020F0502020204030204" pitchFamily="34" charset="0"/>
              </a:rPr>
              <a:t>Допълнително редуцира миризмите.</a:t>
            </a:r>
            <a:r>
              <a:rPr lang="ru-RU" sz="1600" dirty="0" smtClean="0">
                <a:solidFill>
                  <a:srgbClr val="000000"/>
                </a:solidFill>
                <a:latin typeface="+mj-lt"/>
                <a:ea typeface="Calibri" panose="020F0502020204030204" pitchFamily="34" charset="0"/>
              </a:rPr>
              <a:t> </a:t>
            </a:r>
            <a:endParaRPr lang="bg-BG" sz="1600" dirty="0">
              <a:latin typeface="+mj-lt"/>
            </a:endParaRPr>
          </a:p>
        </p:txBody>
      </p:sp>
      <p:pic>
        <p:nvPicPr>
          <p:cNvPr id="2050" name="0a4b6dc2-2733-4012-a2d7-92d3330939e2" descr="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5469"/>
          <a:stretch/>
        </p:blipFill>
        <p:spPr bwMode="auto">
          <a:xfrm>
            <a:off x="6270775" y="3313098"/>
            <a:ext cx="2797025" cy="17732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p:cNvPicPr>
            <a:picLocks noChangeAspect="1"/>
          </p:cNvPicPr>
          <p:nvPr/>
        </p:nvPicPr>
        <p:blipFill rotWithShape="1">
          <a:blip r:embed="rId3"/>
          <a:srcRect l="2085" r="14728"/>
          <a:stretch/>
        </p:blipFill>
        <p:spPr>
          <a:xfrm>
            <a:off x="6266619" y="1623209"/>
            <a:ext cx="2797025" cy="1633465"/>
          </a:xfrm>
          <a:prstGeom prst="rect">
            <a:avLst/>
          </a:prstGeom>
          <a:ln>
            <a:noFill/>
          </a:ln>
          <a:effectLst>
            <a:outerShdw blurRad="292100" dist="139700" dir="2700000" algn="tl" rotWithShape="0">
              <a:srgbClr val="333333">
                <a:alpha val="65000"/>
              </a:srgbClr>
            </a:outerShdw>
          </a:effectLst>
        </p:spPr>
      </p:pic>
      <p:pic>
        <p:nvPicPr>
          <p:cNvPr id="2" name="Picture 1"/>
          <p:cNvPicPr>
            <a:picLocks noChangeAspect="1"/>
          </p:cNvPicPr>
          <p:nvPr/>
        </p:nvPicPr>
        <p:blipFill>
          <a:blip r:embed="rId4"/>
          <a:stretch>
            <a:fillRect/>
          </a:stretch>
        </p:blipFill>
        <p:spPr>
          <a:xfrm>
            <a:off x="76200" y="3319679"/>
            <a:ext cx="2514600" cy="1699855"/>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5"/>
          <a:srcRect r="2353"/>
          <a:stretch/>
        </p:blipFill>
        <p:spPr>
          <a:xfrm>
            <a:off x="76200" y="1623209"/>
            <a:ext cx="2532661" cy="1617186"/>
          </a:xfrm>
          <a:prstGeom prst="rect">
            <a:avLst/>
          </a:prstGeom>
          <a:ln>
            <a:noFill/>
          </a:ln>
          <a:effectLst>
            <a:outerShdw blurRad="292100" dist="139700" dir="2700000" algn="tl" rotWithShape="0">
              <a:srgbClr val="333333">
                <a:alpha val="65000"/>
              </a:srgbClr>
            </a:outerShdw>
          </a:effectLst>
        </p:spPr>
      </p:pic>
      <p:pic>
        <p:nvPicPr>
          <p:cNvPr id="9" name="Picture 8"/>
          <p:cNvPicPr>
            <a:picLocks noChangeAspect="1"/>
          </p:cNvPicPr>
          <p:nvPr/>
        </p:nvPicPr>
        <p:blipFill rotWithShape="1">
          <a:blip r:embed="rId6"/>
          <a:srcRect l="980" r="3072"/>
          <a:stretch/>
        </p:blipFill>
        <p:spPr>
          <a:xfrm>
            <a:off x="2819400" y="1841974"/>
            <a:ext cx="3282776" cy="286337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0131531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bg-BG" dirty="0" smtClean="0"/>
              <a:t>Вентури скрубери</a:t>
            </a:r>
            <a:endParaRPr lang="bg-BG" dirty="0"/>
          </a:p>
        </p:txBody>
      </p:sp>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l="20936" r="21489" b="31482"/>
          <a:stretch/>
        </p:blipFill>
        <p:spPr>
          <a:xfrm>
            <a:off x="457200" y="1200150"/>
            <a:ext cx="2209800" cy="3716482"/>
          </a:xfrm>
          <a:prstGeom prst="rect">
            <a:avLst/>
          </a:prstGeom>
          <a:ln>
            <a:noFill/>
          </a:ln>
          <a:effectLst>
            <a:outerShdw blurRad="292100" dist="139700" dir="2700000" algn="tl" rotWithShape="0">
              <a:srgbClr val="333333">
                <a:alpha val="65000"/>
              </a:srgbClr>
            </a:outerShdw>
          </a:effectLst>
        </p:spPr>
      </p:pic>
      <p:sp>
        <p:nvSpPr>
          <p:cNvPr id="2" name="Rectangle 1"/>
          <p:cNvSpPr/>
          <p:nvPr/>
        </p:nvSpPr>
        <p:spPr>
          <a:xfrm>
            <a:off x="3034837" y="2190160"/>
            <a:ext cx="3899363" cy="830997"/>
          </a:xfrm>
          <a:prstGeom prst="rect">
            <a:avLst/>
          </a:prstGeom>
        </p:spPr>
        <p:txBody>
          <a:bodyPr wrap="square">
            <a:spAutoFit/>
          </a:bodyPr>
          <a:lstStyle/>
          <a:p>
            <a:pPr marL="285750" indent="-285750" algn="just">
              <a:buClr>
                <a:srgbClr val="BC4E21"/>
              </a:buClr>
              <a:buFont typeface="Wingdings" panose="05000000000000000000" pitchFamily="2" charset="2"/>
              <a:buChar char="§"/>
            </a:pPr>
            <a:r>
              <a:rPr lang="bg-BG" sz="1600" dirty="0">
                <a:solidFill>
                  <a:srgbClr val="000000"/>
                </a:solidFill>
                <a:latin typeface="+mj-lt"/>
                <a:ea typeface="Calibri" panose="020F0502020204030204" pitchFamily="34" charset="0"/>
              </a:rPr>
              <a:t>М</a:t>
            </a:r>
            <a:r>
              <a:rPr lang="bg-BG" sz="1600" dirty="0" smtClean="0">
                <a:solidFill>
                  <a:srgbClr val="000000"/>
                </a:solidFill>
                <a:latin typeface="+mj-lt"/>
                <a:ea typeface="Calibri" panose="020F0502020204030204" pitchFamily="34" charset="0"/>
              </a:rPr>
              <a:t>онтирани </a:t>
            </a:r>
            <a:r>
              <a:rPr lang="bg-BG" sz="1600" dirty="0">
                <a:solidFill>
                  <a:srgbClr val="000000"/>
                </a:solidFill>
                <a:latin typeface="+mj-lt"/>
                <a:ea typeface="Calibri" panose="020F0502020204030204" pitchFamily="34" charset="0"/>
              </a:rPr>
              <a:t>към всеки </a:t>
            </a:r>
            <a:r>
              <a:rPr lang="bg-BG" sz="1600" dirty="0" smtClean="0">
                <a:solidFill>
                  <a:srgbClr val="000000"/>
                </a:solidFill>
                <a:latin typeface="+mj-lt"/>
                <a:ea typeface="Calibri" panose="020F0502020204030204" pitchFamily="34" charset="0"/>
              </a:rPr>
              <a:t>карусел</a:t>
            </a:r>
            <a:r>
              <a:rPr lang="en-US" sz="1600" dirty="0" smtClean="0">
                <a:solidFill>
                  <a:srgbClr val="000000"/>
                </a:solidFill>
                <a:latin typeface="+mj-lt"/>
                <a:ea typeface="Calibri" panose="020F0502020204030204" pitchFamily="34" charset="0"/>
              </a:rPr>
              <a:t>;</a:t>
            </a:r>
          </a:p>
          <a:p>
            <a:pPr marL="285750" indent="-285750" algn="just">
              <a:buClr>
                <a:srgbClr val="BC4E21"/>
              </a:buClr>
              <a:buFont typeface="Wingdings" panose="05000000000000000000" pitchFamily="2" charset="2"/>
              <a:buChar char="§"/>
            </a:pPr>
            <a:endParaRPr lang="en-US" sz="1600" dirty="0" smtClean="0">
              <a:solidFill>
                <a:srgbClr val="000000"/>
              </a:solidFill>
              <a:latin typeface="+mj-lt"/>
              <a:ea typeface="Calibri" panose="020F0502020204030204" pitchFamily="34" charset="0"/>
            </a:endParaRPr>
          </a:p>
          <a:p>
            <a:pPr marL="285750" indent="-285750" algn="just">
              <a:buClr>
                <a:srgbClr val="BC4E21"/>
              </a:buClr>
              <a:buFont typeface="Wingdings" panose="05000000000000000000" pitchFamily="2" charset="2"/>
              <a:buChar char="§"/>
            </a:pPr>
            <a:r>
              <a:rPr lang="bg-BG" sz="1600" dirty="0" smtClean="0">
                <a:solidFill>
                  <a:srgbClr val="000000"/>
                </a:solidFill>
                <a:latin typeface="+mj-lt"/>
                <a:ea typeface="Calibri" panose="020F0502020204030204" pitchFamily="34" charset="0"/>
              </a:rPr>
              <a:t>Намалява емисиите около зоните за леене.</a:t>
            </a:r>
            <a:endParaRPr lang="bg-BG" sz="1600" dirty="0">
              <a:latin typeface="+mj-lt"/>
            </a:endParaRPr>
          </a:p>
        </p:txBody>
      </p:sp>
      <p:pic>
        <p:nvPicPr>
          <p:cNvPr id="4" name="Picture 3"/>
          <p:cNvPicPr>
            <a:picLocks noChangeAspect="1"/>
          </p:cNvPicPr>
          <p:nvPr/>
        </p:nvPicPr>
        <p:blipFill>
          <a:blip r:embed="rId3"/>
          <a:stretch>
            <a:fillRect/>
          </a:stretch>
        </p:blipFill>
        <p:spPr>
          <a:xfrm>
            <a:off x="6934200" y="1125682"/>
            <a:ext cx="1704975" cy="3790950"/>
          </a:xfrm>
          <a:prstGeom prst="rect">
            <a:avLst/>
          </a:prstGeom>
        </p:spPr>
      </p:pic>
    </p:spTree>
    <p:extLst>
      <p:ext uri="{BB962C8B-B14F-4D97-AF65-F5344CB8AC3E}">
        <p14:creationId xmlns:p14="http://schemas.microsoft.com/office/powerpoint/2010/main" val="36417382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r>
              <a:rPr lang="bg-BG" b="1" dirty="0" smtClean="0">
                <a:solidFill>
                  <a:schemeClr val="accent2"/>
                </a:solidFill>
              </a:rPr>
              <a:t>Линамар глобален преглед</a:t>
            </a:r>
          </a:p>
        </p:txBody>
      </p:sp>
      <p:sp>
        <p:nvSpPr>
          <p:cNvPr id="3" name="Content Placeholder 2"/>
          <p:cNvSpPr>
            <a:spLocks noGrp="1"/>
          </p:cNvSpPr>
          <p:nvPr>
            <p:ph sz="quarter" idx="12"/>
          </p:nvPr>
        </p:nvSpPr>
        <p:spPr/>
        <p:txBody>
          <a:bodyPr>
            <a:normAutofit/>
          </a:bodyPr>
          <a:lstStyle/>
          <a:p>
            <a:r>
              <a:rPr lang="bg-BG" b="1" dirty="0" smtClean="0">
                <a:solidFill>
                  <a:schemeClr val="accent2"/>
                </a:solidFill>
              </a:rPr>
              <a:t>Група Линамар Леки </a:t>
            </a:r>
            <a:r>
              <a:rPr lang="bg-BG" b="1" dirty="0">
                <a:solidFill>
                  <a:schemeClr val="accent2"/>
                </a:solidFill>
              </a:rPr>
              <a:t>М</a:t>
            </a:r>
            <a:r>
              <a:rPr lang="bg-BG" b="1" dirty="0" smtClean="0">
                <a:solidFill>
                  <a:schemeClr val="accent2"/>
                </a:solidFill>
              </a:rPr>
              <a:t>етали (ЛЛМ)</a:t>
            </a:r>
          </a:p>
        </p:txBody>
      </p:sp>
      <p:sp>
        <p:nvSpPr>
          <p:cNvPr id="4" name="Content Placeholder 3"/>
          <p:cNvSpPr>
            <a:spLocks noGrp="1"/>
          </p:cNvSpPr>
          <p:nvPr>
            <p:ph sz="quarter" idx="13"/>
          </p:nvPr>
        </p:nvSpPr>
        <p:spPr/>
        <p:txBody>
          <a:bodyPr>
            <a:normAutofit/>
          </a:bodyPr>
          <a:lstStyle/>
          <a:p>
            <a:r>
              <a:rPr lang="bg-BG" b="1" dirty="0" smtClean="0">
                <a:solidFill>
                  <a:schemeClr val="accent2"/>
                </a:solidFill>
              </a:rPr>
              <a:t>ЛЛМ - Русе</a:t>
            </a:r>
          </a:p>
        </p:txBody>
      </p:sp>
      <p:sp>
        <p:nvSpPr>
          <p:cNvPr id="5" name="Content Placeholder 4"/>
          <p:cNvSpPr>
            <a:spLocks noGrp="1"/>
          </p:cNvSpPr>
          <p:nvPr>
            <p:ph sz="quarter" idx="14"/>
          </p:nvPr>
        </p:nvSpPr>
        <p:spPr/>
        <p:txBody>
          <a:bodyPr>
            <a:normAutofit/>
          </a:bodyPr>
          <a:lstStyle/>
          <a:p>
            <a:r>
              <a:rPr lang="bg-BG" b="1" dirty="0" smtClean="0">
                <a:solidFill>
                  <a:schemeClr val="accent2"/>
                </a:solidFill>
              </a:rPr>
              <a:t>Екологични инициативи</a:t>
            </a:r>
          </a:p>
        </p:txBody>
      </p:sp>
    </p:spTree>
    <p:extLst>
      <p:ext uri="{BB962C8B-B14F-4D97-AF65-F5344CB8AC3E}">
        <p14:creationId xmlns:p14="http://schemas.microsoft.com/office/powerpoint/2010/main" val="7804556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bg-BG" dirty="0" smtClean="0"/>
              <a:t>Мултициклон</a:t>
            </a:r>
            <a:endParaRPr lang="bg-BG" dirty="0"/>
          </a:p>
        </p:txBody>
      </p:sp>
      <p:pic>
        <p:nvPicPr>
          <p:cNvPr id="5" name="Picture 4"/>
          <p:cNvPicPr>
            <a:picLocks noChangeAspect="1"/>
          </p:cNvPicPr>
          <p:nvPr/>
        </p:nvPicPr>
        <p:blipFill rotWithShape="1">
          <a:blip r:embed="rId2"/>
          <a:srcRect t="2078"/>
          <a:stretch/>
        </p:blipFill>
        <p:spPr>
          <a:xfrm>
            <a:off x="4267200" y="1247859"/>
            <a:ext cx="4572000" cy="3590842"/>
          </a:xfrm>
          <a:prstGeom prst="rect">
            <a:avLst/>
          </a:prstGeom>
        </p:spPr>
      </p:pic>
      <p:graphicFrame>
        <p:nvGraphicFramePr>
          <p:cNvPr id="7" name="Diagram 6"/>
          <p:cNvGraphicFramePr/>
          <p:nvPr>
            <p:extLst>
              <p:ext uri="{D42A27DB-BD31-4B8C-83A1-F6EECF244321}">
                <p14:modId xmlns:p14="http://schemas.microsoft.com/office/powerpoint/2010/main" val="318505363"/>
              </p:ext>
            </p:extLst>
          </p:nvPr>
        </p:nvGraphicFramePr>
        <p:xfrm>
          <a:off x="533400" y="1428750"/>
          <a:ext cx="3505200" cy="3238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p:cNvGrpSpPr/>
          <p:nvPr/>
        </p:nvGrpSpPr>
        <p:grpSpPr>
          <a:xfrm>
            <a:off x="4343400" y="1197172"/>
            <a:ext cx="4387043" cy="1150443"/>
            <a:chOff x="4343400" y="1197172"/>
            <a:chExt cx="4387043" cy="1150443"/>
          </a:xfrm>
        </p:grpSpPr>
        <p:sp>
          <p:nvSpPr>
            <p:cNvPr id="2" name="TextBox 1"/>
            <p:cNvSpPr txBox="1"/>
            <p:nvPr/>
          </p:nvSpPr>
          <p:spPr>
            <a:xfrm>
              <a:off x="5562600" y="1197173"/>
              <a:ext cx="838200" cy="307777"/>
            </a:xfrm>
            <a:prstGeom prst="rect">
              <a:avLst/>
            </a:prstGeom>
            <a:solidFill>
              <a:schemeClr val="bg1"/>
            </a:solidFill>
          </p:spPr>
          <p:txBody>
            <a:bodyPr wrap="square" rtlCol="0">
              <a:spAutoFit/>
            </a:bodyPr>
            <a:lstStyle/>
            <a:p>
              <a:r>
                <a:rPr lang="en-US" sz="1400" dirty="0" smtClean="0"/>
                <a:t>1-</a:t>
              </a:r>
              <a:r>
                <a:rPr lang="bg-BG" sz="1400" dirty="0" smtClean="0"/>
                <a:t>во ниво</a:t>
              </a:r>
              <a:endParaRPr lang="bg-BG" sz="1400" dirty="0"/>
            </a:p>
          </p:txBody>
        </p:sp>
        <p:sp>
          <p:nvSpPr>
            <p:cNvPr id="6" name="TextBox 5"/>
            <p:cNvSpPr txBox="1"/>
            <p:nvPr/>
          </p:nvSpPr>
          <p:spPr>
            <a:xfrm>
              <a:off x="6629400" y="1197172"/>
              <a:ext cx="838200" cy="307777"/>
            </a:xfrm>
            <a:prstGeom prst="rect">
              <a:avLst/>
            </a:prstGeom>
            <a:solidFill>
              <a:schemeClr val="bg1"/>
            </a:solidFill>
          </p:spPr>
          <p:txBody>
            <a:bodyPr wrap="square" rtlCol="0">
              <a:spAutoFit/>
            </a:bodyPr>
            <a:lstStyle/>
            <a:p>
              <a:r>
                <a:rPr lang="bg-BG" sz="1400" dirty="0"/>
                <a:t>2</a:t>
              </a:r>
              <a:r>
                <a:rPr lang="en-US" sz="1400" dirty="0" smtClean="0"/>
                <a:t>-</a:t>
              </a:r>
              <a:r>
                <a:rPr lang="bg-BG" sz="1400" dirty="0" smtClean="0"/>
                <a:t>ро ниво</a:t>
              </a:r>
              <a:endParaRPr lang="bg-BG" sz="1400" dirty="0"/>
            </a:p>
          </p:txBody>
        </p:sp>
        <p:sp>
          <p:nvSpPr>
            <p:cNvPr id="8" name="TextBox 7"/>
            <p:cNvSpPr txBox="1"/>
            <p:nvPr/>
          </p:nvSpPr>
          <p:spPr>
            <a:xfrm>
              <a:off x="4343400" y="1885950"/>
              <a:ext cx="685800" cy="461665"/>
            </a:xfrm>
            <a:prstGeom prst="rect">
              <a:avLst/>
            </a:prstGeom>
            <a:solidFill>
              <a:schemeClr val="bg1"/>
            </a:solidFill>
          </p:spPr>
          <p:txBody>
            <a:bodyPr wrap="square" rtlCol="0">
              <a:spAutoFit/>
            </a:bodyPr>
            <a:lstStyle/>
            <a:p>
              <a:r>
                <a:rPr lang="bg-BG" sz="1200" dirty="0" smtClean="0"/>
                <a:t>Вход за газове</a:t>
              </a:r>
              <a:endParaRPr lang="bg-BG" sz="1200" dirty="0"/>
            </a:p>
          </p:txBody>
        </p:sp>
        <p:sp>
          <p:nvSpPr>
            <p:cNvPr id="9" name="TextBox 8"/>
            <p:cNvSpPr txBox="1"/>
            <p:nvPr/>
          </p:nvSpPr>
          <p:spPr>
            <a:xfrm>
              <a:off x="8001000" y="1657350"/>
              <a:ext cx="729443" cy="461665"/>
            </a:xfrm>
            <a:prstGeom prst="rect">
              <a:avLst/>
            </a:prstGeom>
            <a:solidFill>
              <a:schemeClr val="bg1"/>
            </a:solidFill>
          </p:spPr>
          <p:txBody>
            <a:bodyPr wrap="square" rtlCol="0">
              <a:spAutoFit/>
            </a:bodyPr>
            <a:lstStyle/>
            <a:p>
              <a:r>
                <a:rPr lang="bg-BG" sz="1200" dirty="0" smtClean="0"/>
                <a:t>Изход за газове</a:t>
              </a:r>
              <a:endParaRPr lang="bg-BG" sz="1200" dirty="0"/>
            </a:p>
          </p:txBody>
        </p:sp>
        <p:cxnSp>
          <p:nvCxnSpPr>
            <p:cNvPr id="10" name="Straight Arrow Connector 9"/>
            <p:cNvCxnSpPr/>
            <p:nvPr/>
          </p:nvCxnSpPr>
          <p:spPr>
            <a:xfrm>
              <a:off x="4343400" y="2125638"/>
              <a:ext cx="68580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1" name="Straight Arrow Connector 10"/>
            <p:cNvCxnSpPr/>
            <p:nvPr/>
          </p:nvCxnSpPr>
          <p:spPr>
            <a:xfrm>
              <a:off x="8001000" y="1885950"/>
              <a:ext cx="685800"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Tree>
    <p:extLst>
      <p:ext uri="{BB962C8B-B14F-4D97-AF65-F5344CB8AC3E}">
        <p14:creationId xmlns:p14="http://schemas.microsoft.com/office/powerpoint/2010/main" val="15469382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bg-BG" sz="2200" dirty="0" smtClean="0"/>
              <a:t>Модификация на аспирационната система на каруселите</a:t>
            </a:r>
            <a:endParaRPr lang="bg-BG" sz="2200" dirty="0"/>
          </a:p>
        </p:txBody>
      </p:sp>
      <p:pic>
        <p:nvPicPr>
          <p:cNvPr id="5" name="Content Placeholder 3"/>
          <p:cNvPicPr>
            <a:picLocks noGrp="1" noChangeAspect="1"/>
          </p:cNvPicPr>
          <p:nvPr>
            <p:ph sz="quarter" idx="10"/>
          </p:nvPr>
        </p:nvPicPr>
        <p:blipFill rotWithShape="1">
          <a:blip r:embed="rId2" cstate="print">
            <a:extLst>
              <a:ext uri="{28A0092B-C50C-407E-A947-70E740481C1C}">
                <a14:useLocalDpi xmlns:a14="http://schemas.microsoft.com/office/drawing/2010/main" val="0"/>
              </a:ext>
            </a:extLst>
          </a:blip>
          <a:srcRect r="14954"/>
          <a:stretch/>
        </p:blipFill>
        <p:spPr>
          <a:xfrm>
            <a:off x="588394" y="1870527"/>
            <a:ext cx="3505200" cy="3034283"/>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41468" y="1833170"/>
            <a:ext cx="4145332" cy="3108999"/>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7150919" y="2496876"/>
            <a:ext cx="1535881" cy="1600200"/>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13"/>
          <p:cNvSpPr/>
          <p:nvPr/>
        </p:nvSpPr>
        <p:spPr>
          <a:xfrm>
            <a:off x="5829713" y="4063975"/>
            <a:ext cx="725028" cy="845093"/>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5" name="Straight Arrow Connector 14"/>
          <p:cNvCxnSpPr>
            <a:stCxn id="14" idx="1"/>
            <a:endCxn id="5" idx="3"/>
          </p:cNvCxnSpPr>
          <p:nvPr/>
        </p:nvCxnSpPr>
        <p:spPr>
          <a:xfrm flipH="1" flipV="1">
            <a:off x="4093594" y="3387669"/>
            <a:ext cx="1736119" cy="10988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09800" y="1044559"/>
            <a:ext cx="4495800" cy="369332"/>
          </a:xfrm>
          <a:prstGeom prst="rect">
            <a:avLst/>
          </a:prstGeom>
          <a:noFill/>
        </p:spPr>
        <p:txBody>
          <a:bodyPr wrap="square" rtlCol="0">
            <a:spAutoFit/>
          </a:bodyPr>
          <a:lstStyle/>
          <a:p>
            <a:pPr algn="just">
              <a:buClr>
                <a:srgbClr val="BC4E21"/>
              </a:buClr>
            </a:pPr>
            <a:r>
              <a:rPr lang="bg-BG" dirty="0" smtClean="0">
                <a:latin typeface="+mj-lt"/>
              </a:rPr>
              <a:t>Подобрена всмукателна функция на каруселите.</a:t>
            </a:r>
            <a:endParaRPr lang="en-US" dirty="0" smtClean="0">
              <a:latin typeface="+mj-lt"/>
            </a:endParaRPr>
          </a:p>
        </p:txBody>
      </p:sp>
    </p:spTree>
    <p:extLst>
      <p:ext uri="{BB962C8B-B14F-4D97-AF65-F5344CB8AC3E}">
        <p14:creationId xmlns:p14="http://schemas.microsoft.com/office/powerpoint/2010/main" val="18122846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bg-BG" sz="2200" dirty="0" smtClean="0"/>
              <a:t>Увеличен поток на машините за изработка на сърц</a:t>
            </a:r>
            <a:r>
              <a:rPr lang="en-US" sz="2200" dirty="0" smtClean="0"/>
              <a:t>a</a:t>
            </a:r>
            <a:endParaRPr lang="bg-BG" sz="2200" dirty="0"/>
          </a:p>
        </p:txBody>
      </p:sp>
      <p:pic>
        <p:nvPicPr>
          <p:cNvPr id="4"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1649408"/>
            <a:ext cx="3345367" cy="3284542"/>
          </a:xfrm>
          <a:prstGeom prst="rect">
            <a:avLst/>
          </a:prstGeom>
          <a:ln>
            <a:noFill/>
          </a:ln>
          <a:effectLst>
            <a:outerShdw blurRad="292100" dist="139700" dir="2700000" algn="tl" rotWithShape="0">
              <a:srgbClr val="333333">
                <a:alpha val="65000"/>
              </a:srgbClr>
            </a:outerShdw>
          </a:effectLst>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81600" y="1615292"/>
            <a:ext cx="3429000" cy="3306535"/>
          </a:xfrm>
          <a:prstGeom prst="rect">
            <a:avLst/>
          </a:prstGeom>
          <a:ln>
            <a:noFill/>
          </a:ln>
          <a:effectLst>
            <a:outerShdw blurRad="292100" dist="139700" dir="2700000" algn="tl" rotWithShape="0">
              <a:srgbClr val="333333">
                <a:alpha val="65000"/>
              </a:srgbClr>
            </a:outerShdw>
          </a:effectLst>
        </p:spPr>
      </p:pic>
      <p:sp>
        <p:nvSpPr>
          <p:cNvPr id="7" name="TextBox 6"/>
          <p:cNvSpPr txBox="1"/>
          <p:nvPr/>
        </p:nvSpPr>
        <p:spPr>
          <a:xfrm>
            <a:off x="2133600" y="1047750"/>
            <a:ext cx="5638800" cy="338554"/>
          </a:xfrm>
          <a:prstGeom prst="rect">
            <a:avLst/>
          </a:prstGeom>
          <a:noFill/>
        </p:spPr>
        <p:txBody>
          <a:bodyPr wrap="square" rtlCol="0">
            <a:spAutoFit/>
          </a:bodyPr>
          <a:lstStyle/>
          <a:p>
            <a:pPr algn="just">
              <a:buClr>
                <a:srgbClr val="BC4E21"/>
              </a:buClr>
            </a:pPr>
            <a:r>
              <a:rPr lang="bg-BG" sz="1600" dirty="0" smtClean="0"/>
              <a:t>Подобрена всмукателна функция на сърцарните машини.</a:t>
            </a:r>
            <a:endParaRPr lang="en-US" sz="1600" dirty="0" smtClean="0"/>
          </a:p>
        </p:txBody>
      </p:sp>
    </p:spTree>
    <p:extLst>
      <p:ext uri="{BB962C8B-B14F-4D97-AF65-F5344CB8AC3E}">
        <p14:creationId xmlns:p14="http://schemas.microsoft.com/office/powerpoint/2010/main" val="247320616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bg-BG" dirty="0" smtClean="0"/>
              <a:t>Трошачи на сърца</a:t>
            </a:r>
            <a:endParaRPr lang="bg-BG" dirty="0"/>
          </a:p>
        </p:txBody>
      </p:sp>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Lst>
          </a:blip>
          <a:stretch>
            <a:fillRect/>
          </a:stretch>
        </p:blipFill>
        <p:spPr>
          <a:xfrm>
            <a:off x="380551" y="895351"/>
            <a:ext cx="4115249" cy="4114799"/>
          </a:xfrm>
          <a:prstGeom prst="rect">
            <a:avLst/>
          </a:prstGeom>
          <a:ln>
            <a:noFill/>
          </a:ln>
          <a:effectLst>
            <a:outerShdw blurRad="292100" dist="139700" dir="2700000" algn="tl" rotWithShape="0">
              <a:srgbClr val="333333">
                <a:alpha val="65000"/>
              </a:srgbClr>
            </a:outerShdw>
          </a:effectLst>
        </p:spPr>
      </p:pic>
      <p:sp>
        <p:nvSpPr>
          <p:cNvPr id="13" name="Rectangle 12"/>
          <p:cNvSpPr/>
          <p:nvPr/>
        </p:nvSpPr>
        <p:spPr>
          <a:xfrm>
            <a:off x="4757737" y="2343150"/>
            <a:ext cx="3895725" cy="646331"/>
          </a:xfrm>
          <a:prstGeom prst="rect">
            <a:avLst/>
          </a:prstGeom>
        </p:spPr>
        <p:txBody>
          <a:bodyPr wrap="square">
            <a:spAutoFit/>
          </a:bodyPr>
          <a:lstStyle/>
          <a:p>
            <a:pPr lvl="1"/>
            <a:r>
              <a:rPr lang="bg-BG" dirty="0" smtClean="0"/>
              <a:t>Намалява емисиите генерирани в зона за охлаждане на каруселите</a:t>
            </a:r>
            <a:r>
              <a:rPr lang="en-US" dirty="0" smtClean="0"/>
              <a:t>.</a:t>
            </a:r>
            <a:endParaRPr lang="en-US" dirty="0"/>
          </a:p>
        </p:txBody>
      </p:sp>
    </p:spTree>
    <p:extLst>
      <p:ext uri="{BB962C8B-B14F-4D97-AF65-F5344CB8AC3E}">
        <p14:creationId xmlns:p14="http://schemas.microsoft.com/office/powerpoint/2010/main" val="25594234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bg-BG" dirty="0"/>
              <a:t>Г</a:t>
            </a:r>
            <a:r>
              <a:rPr lang="bg-BG" dirty="0" smtClean="0"/>
              <a:t>ореща полимеризация</a:t>
            </a:r>
            <a:endParaRPr lang="bg-BG" dirty="0"/>
          </a:p>
        </p:txBody>
      </p:sp>
      <p:pic>
        <p:nvPicPr>
          <p:cNvPr id="10" name="Content Placeholder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1175212"/>
            <a:ext cx="3998259" cy="3707476"/>
          </a:xfrm>
          <a:prstGeom prst="rect">
            <a:avLst/>
          </a:prstGeom>
          <a:ln>
            <a:noFill/>
          </a:ln>
          <a:effectLst>
            <a:outerShdw blurRad="292100" dist="139700" dir="2700000" algn="tl" rotWithShape="0">
              <a:srgbClr val="333333">
                <a:alpha val="65000"/>
              </a:srgbClr>
            </a:outerShdw>
          </a:effectLst>
        </p:spPr>
      </p:pic>
      <p:sp>
        <p:nvSpPr>
          <p:cNvPr id="11" name="Rectangle 10"/>
          <p:cNvSpPr/>
          <p:nvPr/>
        </p:nvSpPr>
        <p:spPr>
          <a:xfrm>
            <a:off x="4800600" y="2114550"/>
            <a:ext cx="4267201" cy="1569660"/>
          </a:xfrm>
          <a:prstGeom prst="rect">
            <a:avLst/>
          </a:prstGeom>
        </p:spPr>
        <p:txBody>
          <a:bodyPr wrap="square">
            <a:spAutoFit/>
          </a:bodyPr>
          <a:lstStyle/>
          <a:p>
            <a:pPr algn="just"/>
            <a:r>
              <a:rPr lang="bg-BG" sz="1600" dirty="0" smtClean="0">
                <a:solidFill>
                  <a:srgbClr val="000000"/>
                </a:solidFill>
                <a:latin typeface="+mj-lt"/>
                <a:ea typeface="Calibri" panose="020F0502020204030204" pitchFamily="34" charset="0"/>
              </a:rPr>
              <a:t>Инсталацията позволява преустановяване </a:t>
            </a:r>
            <a:r>
              <a:rPr lang="bg-BG" sz="1600" dirty="0">
                <a:solidFill>
                  <a:srgbClr val="000000"/>
                </a:solidFill>
                <a:latin typeface="+mj-lt"/>
                <a:ea typeface="Calibri" panose="020F0502020204030204" pitchFamily="34" charset="0"/>
              </a:rPr>
              <a:t>съхранението на пясък от използваните сърца и осигуряване на по-бърза полимеризация на смолата и незабавно връщане на отработения пясък </a:t>
            </a:r>
            <a:r>
              <a:rPr lang="bg-BG" sz="1600" dirty="0" smtClean="0">
                <a:solidFill>
                  <a:srgbClr val="000000"/>
                </a:solidFill>
                <a:latin typeface="+mj-lt"/>
                <a:ea typeface="Calibri" panose="020F0502020204030204" pitchFamily="34" charset="0"/>
              </a:rPr>
              <a:t>в зона за регенерация.</a:t>
            </a:r>
            <a:r>
              <a:rPr lang="en-US" sz="1600" dirty="0" smtClean="0">
                <a:solidFill>
                  <a:srgbClr val="000000"/>
                </a:solidFill>
                <a:latin typeface="+mj-lt"/>
                <a:ea typeface="Calibri" panose="020F0502020204030204" pitchFamily="34" charset="0"/>
              </a:rPr>
              <a:t> </a:t>
            </a:r>
            <a:r>
              <a:rPr lang="bg-BG" sz="1600" dirty="0" smtClean="0">
                <a:solidFill>
                  <a:srgbClr val="000000"/>
                </a:solidFill>
                <a:latin typeface="+mj-lt"/>
                <a:ea typeface="Calibri" panose="020F0502020204030204" pitchFamily="34" charset="0"/>
              </a:rPr>
              <a:t>Допринася за намаляването на миризмите.</a:t>
            </a:r>
            <a:endParaRPr lang="bg-BG" sz="1600" dirty="0">
              <a:latin typeface="+mj-lt"/>
            </a:endParaRPr>
          </a:p>
        </p:txBody>
      </p:sp>
    </p:spTree>
    <p:extLst>
      <p:ext uri="{BB962C8B-B14F-4D97-AF65-F5344CB8AC3E}">
        <p14:creationId xmlns:p14="http://schemas.microsoft.com/office/powerpoint/2010/main" val="38359035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46 </a:t>
            </a:r>
            <a:r>
              <a:rPr lang="bg-BG" dirty="0" smtClean="0"/>
              <a:t>бр. Адиабатни охладители</a:t>
            </a:r>
            <a:endParaRPr lang="bg-BG" dirty="0"/>
          </a:p>
        </p:txBody>
      </p:sp>
      <p:pic>
        <p:nvPicPr>
          <p:cNvPr id="6" name="Content Placeholder 5"/>
          <p:cNvPicPr>
            <a:picLocks noGrp="1" noChangeAspect="1"/>
          </p:cNvPicPr>
          <p:nvPr>
            <p:ph sz="quarter" idx="10"/>
          </p:nvPr>
        </p:nvPicPr>
        <p:blipFill>
          <a:blip r:embed="rId2"/>
          <a:stretch>
            <a:fillRect/>
          </a:stretch>
        </p:blipFill>
        <p:spPr>
          <a:xfrm>
            <a:off x="5410068" y="992365"/>
            <a:ext cx="3048264" cy="1863368"/>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r="16000" b="2834"/>
          <a:stretch/>
        </p:blipFill>
        <p:spPr>
          <a:xfrm>
            <a:off x="5334000" y="2876550"/>
            <a:ext cx="3200400" cy="1981200"/>
          </a:xfrm>
          <a:prstGeom prst="rect">
            <a:avLst/>
          </a:prstGeom>
          <a:ln>
            <a:noFill/>
          </a:ln>
          <a:effectLst>
            <a:outerShdw blurRad="292100" dist="139700" dir="2700000" algn="tl" rotWithShape="0">
              <a:srgbClr val="333333">
                <a:alpha val="65000"/>
              </a:srgbClr>
            </a:outerShdw>
          </a:effectLst>
        </p:spPr>
      </p:pic>
      <p:graphicFrame>
        <p:nvGraphicFramePr>
          <p:cNvPr id="11" name="Diagram 10"/>
          <p:cNvGraphicFramePr/>
          <p:nvPr>
            <p:extLst>
              <p:ext uri="{D42A27DB-BD31-4B8C-83A1-F6EECF244321}">
                <p14:modId xmlns:p14="http://schemas.microsoft.com/office/powerpoint/2010/main" val="2957224086"/>
              </p:ext>
            </p:extLst>
          </p:nvPr>
        </p:nvGraphicFramePr>
        <p:xfrm>
          <a:off x="685800" y="1504950"/>
          <a:ext cx="3581400" cy="32385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4" name="Group 3"/>
          <p:cNvGrpSpPr/>
          <p:nvPr/>
        </p:nvGrpSpPr>
        <p:grpSpPr>
          <a:xfrm>
            <a:off x="5334000" y="1657350"/>
            <a:ext cx="3200400" cy="1187681"/>
            <a:chOff x="5334000" y="1657350"/>
            <a:chExt cx="3200400" cy="1187681"/>
          </a:xfrm>
        </p:grpSpPr>
        <p:sp>
          <p:nvSpPr>
            <p:cNvPr id="2" name="TextBox 1"/>
            <p:cNvSpPr txBox="1"/>
            <p:nvPr/>
          </p:nvSpPr>
          <p:spPr>
            <a:xfrm>
              <a:off x="5334000" y="1657350"/>
              <a:ext cx="685800" cy="430887"/>
            </a:xfrm>
            <a:prstGeom prst="rect">
              <a:avLst/>
            </a:prstGeom>
            <a:solidFill>
              <a:schemeClr val="bg1"/>
            </a:solidFill>
          </p:spPr>
          <p:txBody>
            <a:bodyPr wrap="square" rtlCol="0">
              <a:spAutoFit/>
            </a:bodyPr>
            <a:lstStyle/>
            <a:p>
              <a:r>
                <a:rPr lang="bg-BG" sz="1100" b="1" dirty="0" smtClean="0"/>
                <a:t>ГОРЕЩ ВЪЗДУХ</a:t>
              </a:r>
              <a:endParaRPr lang="bg-BG" sz="1100" b="1" dirty="0"/>
            </a:p>
          </p:txBody>
        </p:sp>
        <p:sp>
          <p:nvSpPr>
            <p:cNvPr id="9" name="TextBox 8"/>
            <p:cNvSpPr txBox="1"/>
            <p:nvPr/>
          </p:nvSpPr>
          <p:spPr>
            <a:xfrm>
              <a:off x="7757292" y="1924049"/>
              <a:ext cx="777108" cy="430887"/>
            </a:xfrm>
            <a:prstGeom prst="rect">
              <a:avLst/>
            </a:prstGeom>
            <a:solidFill>
              <a:schemeClr val="bg1"/>
            </a:solidFill>
          </p:spPr>
          <p:txBody>
            <a:bodyPr wrap="square" rtlCol="0">
              <a:spAutoFit/>
            </a:bodyPr>
            <a:lstStyle/>
            <a:p>
              <a:r>
                <a:rPr lang="bg-BG" sz="1100" b="1" dirty="0" smtClean="0"/>
                <a:t>ОХЛАДЕН ВЪЗДУХ</a:t>
              </a:r>
              <a:endParaRPr lang="bg-BG" sz="1100" b="1" dirty="0"/>
            </a:p>
          </p:txBody>
        </p:sp>
        <p:sp>
          <p:nvSpPr>
            <p:cNvPr id="10" name="TextBox 9"/>
            <p:cNvSpPr txBox="1"/>
            <p:nvPr/>
          </p:nvSpPr>
          <p:spPr>
            <a:xfrm>
              <a:off x="6400800" y="2583421"/>
              <a:ext cx="762000" cy="261610"/>
            </a:xfrm>
            <a:prstGeom prst="rect">
              <a:avLst/>
            </a:prstGeom>
            <a:solidFill>
              <a:schemeClr val="bg1"/>
            </a:solidFill>
          </p:spPr>
          <p:txBody>
            <a:bodyPr wrap="square" rtlCol="0">
              <a:spAutoFit/>
            </a:bodyPr>
            <a:lstStyle/>
            <a:p>
              <a:r>
                <a:rPr lang="bg-BG" sz="1100" b="1" dirty="0" smtClean="0"/>
                <a:t>ФИЛТЪР</a:t>
              </a:r>
              <a:endParaRPr lang="bg-BG" sz="1100" b="1" dirty="0"/>
            </a:p>
          </p:txBody>
        </p:sp>
      </p:grpSp>
    </p:spTree>
    <p:extLst>
      <p:ext uri="{BB962C8B-B14F-4D97-AF65-F5344CB8AC3E}">
        <p14:creationId xmlns:p14="http://schemas.microsoft.com/office/powerpoint/2010/main" val="41575542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a:extLst>
              <a:ext uri="{BEBA8EAE-BF5A-486C-A8C5-ECC9F3942E4B}">
                <a14:imgProps xmlns:a14="http://schemas.microsoft.com/office/drawing/2010/main">
                  <a14:imgLayer r:embed="rId3">
                    <a14:imgEffect>
                      <a14:brightnessContrast bright="40000"/>
                    </a14:imgEffect>
                  </a14:imgLayer>
                </a14:imgProps>
              </a:ext>
            </a:extLst>
          </a:blip>
          <a:stretch>
            <a:fillRect/>
          </a:stretch>
        </p:blipFill>
        <p:spPr>
          <a:xfrm>
            <a:off x="4191000" y="1524797"/>
            <a:ext cx="4724400" cy="3608598"/>
          </a:xfrm>
          <a:prstGeom prst="rect">
            <a:avLst/>
          </a:prstGeom>
          <a:ln w="19050">
            <a:noFill/>
          </a:ln>
        </p:spPr>
      </p:pic>
      <p:sp>
        <p:nvSpPr>
          <p:cNvPr id="3" name="Title 2"/>
          <p:cNvSpPr>
            <a:spLocks noGrp="1"/>
          </p:cNvSpPr>
          <p:nvPr>
            <p:ph type="title"/>
          </p:nvPr>
        </p:nvSpPr>
        <p:spPr/>
        <p:txBody>
          <a:bodyPr>
            <a:normAutofit/>
          </a:bodyPr>
          <a:lstStyle/>
          <a:p>
            <a:r>
              <a:rPr lang="bg-BG" sz="2200" dirty="0" smtClean="0"/>
              <a:t>Нови машини за производство на сърца - неорганични</a:t>
            </a:r>
            <a:endParaRPr lang="bg-BG" sz="2200" dirty="0"/>
          </a:p>
        </p:txBody>
      </p:sp>
      <p:sp>
        <p:nvSpPr>
          <p:cNvPr id="2" name="Rectangle 1"/>
          <p:cNvSpPr/>
          <p:nvPr/>
        </p:nvSpPr>
        <p:spPr>
          <a:xfrm>
            <a:off x="152400" y="994545"/>
            <a:ext cx="3733799" cy="1169551"/>
          </a:xfrm>
          <a:prstGeom prst="rect">
            <a:avLst/>
          </a:prstGeom>
        </p:spPr>
        <p:txBody>
          <a:bodyPr wrap="square">
            <a:spAutoFit/>
          </a:bodyPr>
          <a:lstStyle/>
          <a:p>
            <a:pPr marL="342900" indent="-342900" algn="just">
              <a:buClr>
                <a:srgbClr val="BC4E21"/>
              </a:buClr>
              <a:buFont typeface="Wingdings" panose="05000000000000000000" pitchFamily="2" charset="2"/>
              <a:buChar char="§"/>
            </a:pPr>
            <a:r>
              <a:rPr lang="ru-RU" sz="1400" dirty="0" smtClean="0">
                <a:latin typeface="+mj-lt"/>
              </a:rPr>
              <a:t>Тази технология </a:t>
            </a:r>
            <a:r>
              <a:rPr lang="ru-RU" sz="1400" dirty="0">
                <a:latin typeface="+mj-lt"/>
              </a:rPr>
              <a:t>се счита за „нововъведение в процеса“ </a:t>
            </a:r>
            <a:r>
              <a:rPr lang="ru-RU" sz="1400" dirty="0" smtClean="0">
                <a:latin typeface="+mj-lt"/>
              </a:rPr>
              <a:t>и е част от заключенията </a:t>
            </a:r>
            <a:r>
              <a:rPr lang="ru-RU" sz="1400" dirty="0">
                <a:latin typeface="+mj-lt"/>
              </a:rPr>
              <a:t>за </a:t>
            </a:r>
            <a:r>
              <a:rPr lang="ru-RU" sz="1400" dirty="0" smtClean="0">
                <a:latin typeface="+mj-lt"/>
              </a:rPr>
              <a:t>НДНТ.</a:t>
            </a:r>
          </a:p>
          <a:p>
            <a:pPr marL="342900" indent="-342900" algn="just">
              <a:buClr>
                <a:srgbClr val="BC4E21"/>
              </a:buClr>
              <a:buFont typeface="Wingdings" panose="05000000000000000000" pitchFamily="2" charset="2"/>
              <a:buChar char="§"/>
            </a:pPr>
            <a:endParaRPr lang="ru-RU" sz="1400" dirty="0">
              <a:latin typeface="+mj-lt"/>
            </a:endParaRPr>
          </a:p>
          <a:p>
            <a:pPr marL="342900" indent="-342900" algn="just">
              <a:buClr>
                <a:srgbClr val="BC4E21"/>
              </a:buClr>
              <a:buFont typeface="Wingdings" panose="05000000000000000000" pitchFamily="2" charset="2"/>
              <a:buChar char="§"/>
            </a:pPr>
            <a:r>
              <a:rPr lang="bg-BG" sz="1400" dirty="0" smtClean="0">
                <a:latin typeface="+mj-lt"/>
              </a:rPr>
              <a:t>Ще намали употребата </a:t>
            </a:r>
            <a:r>
              <a:rPr lang="bg-BG" sz="1400" dirty="0">
                <a:latin typeface="+mj-lt"/>
              </a:rPr>
              <a:t>на </a:t>
            </a:r>
            <a:r>
              <a:rPr lang="bg-BG" sz="1400" dirty="0" smtClean="0">
                <a:latin typeface="+mj-lt"/>
              </a:rPr>
              <a:t>органични компоненти в производствения процес.</a:t>
            </a:r>
            <a:endParaRPr lang="fr-FR" sz="1400" dirty="0">
              <a:latin typeface="+mj-lt"/>
            </a:endParaRPr>
          </a:p>
        </p:txBody>
      </p:sp>
      <p:cxnSp>
        <p:nvCxnSpPr>
          <p:cNvPr id="10" name="Straight Arrow Connector 9"/>
          <p:cNvCxnSpPr/>
          <p:nvPr/>
        </p:nvCxnSpPr>
        <p:spPr>
          <a:xfrm>
            <a:off x="6272212" y="6497438"/>
            <a:ext cx="3733800" cy="137160"/>
          </a:xfrm>
          <a:prstGeom prst="straightConnector1">
            <a:avLst/>
          </a:prstGeom>
          <a:ln w="19050" cap="flat" cmpd="sng" algn="ctr">
            <a:solidFill>
              <a:schemeClr val="accent2">
                <a:lumMod val="60000"/>
                <a:lumOff val="40000"/>
              </a:schemeClr>
            </a:solidFill>
            <a:prstDash val="solid"/>
            <a:round/>
            <a:headEnd type="none" w="med" len="med"/>
            <a:tailEnd type="arrow" w="med" len="med"/>
          </a:ln>
          <a:scene3d>
            <a:camera prst="obliqueBottomRight"/>
            <a:lightRig rig="threePt" dir="t"/>
          </a:scene3d>
        </p:spPr>
        <p:style>
          <a:lnRef idx="0">
            <a:scrgbClr r="0" g="0" b="0"/>
          </a:lnRef>
          <a:fillRef idx="0">
            <a:scrgbClr r="0" g="0" b="0"/>
          </a:fillRef>
          <a:effectRef idx="0">
            <a:scrgbClr r="0" g="0" b="0"/>
          </a:effectRef>
          <a:fontRef idx="minor">
            <a:schemeClr val="tx1"/>
          </a:fontRef>
        </p:style>
      </p:cxnSp>
      <p:pic>
        <p:nvPicPr>
          <p:cNvPr id="1026" name="c43e4797-11ec-4c7f-8231-b0d52e9867c6" descr="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200" y="2419350"/>
            <a:ext cx="2895600" cy="2430494"/>
          </a:xfrm>
          <a:prstGeom prst="rect">
            <a:avLst/>
          </a:prstGeom>
          <a:ln w="28575">
            <a:solidFill>
              <a:srgbClr val="00B050"/>
            </a:solidFill>
            <a:miter lim="800000"/>
            <a:headEnd/>
            <a:tailEnd/>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Picture 6" descr="image012"/>
          <p:cNvPicPr>
            <a:picLocks noGrp="1" noChangeAspect="1" noChangeArrowheads="1"/>
          </p:cNvPicPr>
          <p:nvPr>
            <p:ph sz="quarter" idx="10"/>
          </p:nvPr>
        </p:nvPicPr>
        <p:blipFill rotWithShape="1">
          <a:blip r:embed="rId5">
            <a:extLst>
              <a:ext uri="{28A0092B-C50C-407E-A947-70E740481C1C}">
                <a14:useLocalDpi xmlns:a14="http://schemas.microsoft.com/office/drawing/2010/main" val="0"/>
              </a:ext>
            </a:extLst>
          </a:blip>
          <a:srcRect l="13208" t="10537" r="18868" b="16386"/>
          <a:stretch/>
        </p:blipFill>
        <p:spPr bwMode="auto">
          <a:xfrm>
            <a:off x="4233729" y="2419350"/>
            <a:ext cx="3237646" cy="2246293"/>
          </a:xfrm>
          <a:prstGeom prst="rect">
            <a:avLst/>
          </a:prstGeom>
          <a:ln w="28575">
            <a:solidFill>
              <a:srgbClr val="00B050"/>
            </a:solidFill>
            <a:miter lim="800000"/>
            <a:headEnd/>
            <a:tailEnd/>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prst="angle"/>
          </a:sp3d>
          <a:extLst>
            <a:ext uri="{909E8E84-426E-40DD-AFC4-6F175D3DCCD1}">
              <a14:hiddenFill xmlns:a14="http://schemas.microsoft.com/office/drawing/2010/main">
                <a:solidFill>
                  <a:srgbClr val="FFFFFF"/>
                </a:solidFill>
              </a14:hiddenFill>
            </a:ext>
          </a:extLst>
        </p:spPr>
      </p:pic>
      <p:cxnSp>
        <p:nvCxnSpPr>
          <p:cNvPr id="18" name="Straight Arrow Connector 17"/>
          <p:cNvCxnSpPr>
            <a:stCxn id="1026" idx="3"/>
            <a:endCxn id="17" idx="1"/>
          </p:cNvCxnSpPr>
          <p:nvPr/>
        </p:nvCxnSpPr>
        <p:spPr>
          <a:xfrm flipV="1">
            <a:off x="3352800" y="3329096"/>
            <a:ext cx="838200" cy="305501"/>
          </a:xfrm>
          <a:prstGeom prst="straightConnector1">
            <a:avLst/>
          </a:prstGeom>
          <a:ln w="28575">
            <a:solidFill>
              <a:srgbClr val="00B050"/>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0930843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40000" contrast="-40000"/>
                    </a14:imgEffect>
                  </a14:imgLayer>
                </a14:imgProps>
              </a:ext>
            </a:extLst>
          </a:blip>
          <a:srcRect l="9540"/>
          <a:stretch/>
        </p:blipFill>
        <p:spPr>
          <a:xfrm>
            <a:off x="430414" y="2266950"/>
            <a:ext cx="3613078" cy="2667000"/>
          </a:xfrm>
          <a:prstGeom prst="rect">
            <a:avLst/>
          </a:prstGeom>
          <a:ln>
            <a:noFill/>
          </a:ln>
          <a:effectLst>
            <a:outerShdw blurRad="292100" dist="139700" dir="2700000" algn="tl" rotWithShape="0">
              <a:srgbClr val="333333">
                <a:alpha val="65000"/>
              </a:srgbClr>
            </a:outerShdw>
          </a:effectLst>
        </p:spPr>
      </p:pic>
      <p:pic>
        <p:nvPicPr>
          <p:cNvPr id="35" name="Picture 34"/>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contrast="-20000"/>
                    </a14:imgEffect>
                  </a14:imgLayer>
                </a14:imgProps>
              </a:ext>
            </a:extLst>
          </a:blip>
          <a:srcRect l="9677" t="24552" b="31004"/>
          <a:stretch/>
        </p:blipFill>
        <p:spPr>
          <a:xfrm>
            <a:off x="4191000" y="2266950"/>
            <a:ext cx="4667246" cy="266700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430414" y="1110672"/>
            <a:ext cx="8382000" cy="584775"/>
          </a:xfrm>
          <a:prstGeom prst="rect">
            <a:avLst/>
          </a:prstGeom>
        </p:spPr>
        <p:txBody>
          <a:bodyPr wrap="square">
            <a:spAutoFit/>
          </a:bodyPr>
          <a:lstStyle/>
          <a:p>
            <a:pPr algn="just">
              <a:buClr>
                <a:srgbClr val="BC4E21"/>
              </a:buClr>
            </a:pPr>
            <a:r>
              <a:rPr lang="bg-BG" sz="1600" dirty="0">
                <a:latin typeface="+mj-lt"/>
              </a:rPr>
              <a:t>Инсталирана през</a:t>
            </a:r>
            <a:r>
              <a:rPr lang="en-US" sz="1600" dirty="0">
                <a:latin typeface="+mj-lt"/>
              </a:rPr>
              <a:t> </a:t>
            </a:r>
            <a:r>
              <a:rPr lang="bg-BG" sz="1600" b="1" dirty="0">
                <a:latin typeface="+mj-lt"/>
              </a:rPr>
              <a:t>април</a:t>
            </a:r>
            <a:r>
              <a:rPr lang="en-US" sz="1600" b="1" dirty="0">
                <a:latin typeface="+mj-lt"/>
              </a:rPr>
              <a:t> 2018 – </a:t>
            </a:r>
            <a:r>
              <a:rPr lang="bg-BG" sz="1600" dirty="0">
                <a:latin typeface="+mj-lt"/>
              </a:rPr>
              <a:t>следи непрекъснато органични компоненти,</a:t>
            </a:r>
            <a:r>
              <a:rPr lang="en-US" sz="1600" dirty="0">
                <a:latin typeface="+mj-lt"/>
              </a:rPr>
              <a:t> </a:t>
            </a:r>
            <a:r>
              <a:rPr lang="bg-BG" sz="1600" b="1" dirty="0">
                <a:latin typeface="+mj-lt"/>
              </a:rPr>
              <a:t>характерни</a:t>
            </a:r>
            <a:r>
              <a:rPr lang="en-US" sz="1600" dirty="0">
                <a:latin typeface="+mj-lt"/>
              </a:rPr>
              <a:t> </a:t>
            </a:r>
            <a:r>
              <a:rPr lang="bg-BG" sz="1600" dirty="0">
                <a:latin typeface="+mj-lt"/>
              </a:rPr>
              <a:t>за производството на Монтюпе </a:t>
            </a:r>
            <a:r>
              <a:rPr lang="en-US" sz="1600" dirty="0">
                <a:latin typeface="+mj-lt"/>
              </a:rPr>
              <a:t>- </a:t>
            </a:r>
            <a:r>
              <a:rPr lang="bg-BG" sz="1600" dirty="0">
                <a:latin typeface="+mj-lt"/>
              </a:rPr>
              <a:t>фенол</a:t>
            </a:r>
            <a:r>
              <a:rPr lang="en-US" sz="1600" dirty="0">
                <a:latin typeface="+mj-lt"/>
              </a:rPr>
              <a:t>, </a:t>
            </a:r>
            <a:r>
              <a:rPr lang="bg-BG" sz="1600" dirty="0">
                <a:latin typeface="+mj-lt"/>
              </a:rPr>
              <a:t>бензол</a:t>
            </a:r>
            <a:r>
              <a:rPr lang="en-US" sz="1600" dirty="0">
                <a:latin typeface="+mj-lt"/>
              </a:rPr>
              <a:t>, </a:t>
            </a:r>
            <a:r>
              <a:rPr lang="bg-BG" sz="1600" dirty="0">
                <a:latin typeface="+mj-lt"/>
              </a:rPr>
              <a:t>толуен</a:t>
            </a:r>
            <a:r>
              <a:rPr lang="en-US" sz="1600" dirty="0">
                <a:latin typeface="+mj-lt"/>
              </a:rPr>
              <a:t>, </a:t>
            </a:r>
            <a:r>
              <a:rPr lang="bg-BG" sz="1600" dirty="0">
                <a:latin typeface="+mj-lt"/>
              </a:rPr>
              <a:t>ксилен</a:t>
            </a:r>
            <a:r>
              <a:rPr lang="en-US" sz="1600" dirty="0">
                <a:latin typeface="+mj-lt"/>
              </a:rPr>
              <a:t>, O-</a:t>
            </a:r>
            <a:r>
              <a:rPr lang="bg-BG" sz="1600" dirty="0">
                <a:latin typeface="+mj-lt"/>
              </a:rPr>
              <a:t>крезол</a:t>
            </a:r>
            <a:r>
              <a:rPr lang="en-US" sz="1600" dirty="0">
                <a:latin typeface="+mj-lt"/>
              </a:rPr>
              <a:t>, P-</a:t>
            </a:r>
            <a:r>
              <a:rPr lang="bg-BG" sz="1600" dirty="0">
                <a:latin typeface="+mj-lt"/>
              </a:rPr>
              <a:t> крезол</a:t>
            </a:r>
            <a:r>
              <a:rPr lang="en-US" sz="1600" dirty="0">
                <a:latin typeface="+mj-lt"/>
              </a:rPr>
              <a:t>, </a:t>
            </a:r>
            <a:r>
              <a:rPr lang="bg-BG" sz="1600" dirty="0">
                <a:latin typeface="+mj-lt"/>
              </a:rPr>
              <a:t>нафтален</a:t>
            </a:r>
            <a:endParaRPr lang="en-US" sz="1600" dirty="0">
              <a:latin typeface="+mj-lt"/>
            </a:endParaRPr>
          </a:p>
        </p:txBody>
      </p:sp>
      <p:sp>
        <p:nvSpPr>
          <p:cNvPr id="11" name="Title 2"/>
          <p:cNvSpPr txBox="1">
            <a:spLocks/>
          </p:cNvSpPr>
          <p:nvPr/>
        </p:nvSpPr>
        <p:spPr>
          <a:xfrm>
            <a:off x="228599" y="133348"/>
            <a:ext cx="8686801" cy="762001"/>
          </a:xfrm>
          <a:prstGeom prst="rect">
            <a:avLst/>
          </a:prstGeom>
        </p:spPr>
        <p:txBody>
          <a:bodyPr vert="horz" lIns="91440" tIns="45720" rIns="91440" bIns="45720" rtlCol="0" anchor="ctr">
            <a:normAutofit fontScale="97500"/>
          </a:bodyPr>
          <a:lstStyle>
            <a:lvl1pPr algn="l" defTabSz="914400" rtl="0" eaLnBrk="1" latinLnBrk="0" hangingPunct="1">
              <a:spcBef>
                <a:spcPct val="0"/>
              </a:spcBef>
              <a:buNone/>
              <a:defRPr sz="2400" b="1" kern="1200">
                <a:solidFill>
                  <a:srgbClr val="BC4E21"/>
                </a:solidFill>
                <a:latin typeface="Arial Narrow" panose="020B0606020202030204" pitchFamily="34" charset="0"/>
                <a:ea typeface="+mj-ea"/>
                <a:cs typeface="+mj-cs"/>
              </a:defRPr>
            </a:lvl1pPr>
          </a:lstStyle>
          <a:p>
            <a:r>
              <a:rPr lang="bg-BG" dirty="0" smtClean="0"/>
              <a:t>Система за непрекъснат мониторинг</a:t>
            </a:r>
            <a:endParaRPr lang="bg-BG" dirty="0"/>
          </a:p>
        </p:txBody>
      </p:sp>
    </p:spTree>
    <p:extLst>
      <p:ext uri="{BB962C8B-B14F-4D97-AF65-F5344CB8AC3E}">
        <p14:creationId xmlns:p14="http://schemas.microsoft.com/office/powerpoint/2010/main" val="10245548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bg-BG" dirty="0" smtClean="0"/>
              <a:t>Система за непрекъснат мониторинг</a:t>
            </a:r>
            <a:endParaRPr lang="bg-BG"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2876550"/>
            <a:ext cx="2768600" cy="1910135"/>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1899" y="2876550"/>
            <a:ext cx="2768600" cy="1910135"/>
          </a:xfrm>
          <a:prstGeom prst="rect">
            <a:avLst/>
          </a:prstGeom>
        </p:spPr>
      </p:pic>
      <p:pic>
        <p:nvPicPr>
          <p:cNvPr id="9" name="Picture 8"/>
          <p:cNvPicPr>
            <a:picLocks noChangeAspect="1"/>
          </p:cNvPicPr>
          <p:nvPr/>
        </p:nvPicPr>
        <p:blipFill>
          <a:blip r:embed="rId4"/>
          <a:stretch>
            <a:fillRect/>
          </a:stretch>
        </p:blipFill>
        <p:spPr>
          <a:xfrm>
            <a:off x="6158683" y="2876550"/>
            <a:ext cx="2742484" cy="1910135"/>
          </a:xfrm>
          <a:prstGeom prst="rect">
            <a:avLst/>
          </a:prstGeom>
        </p:spPr>
      </p:pic>
      <p:sp>
        <p:nvSpPr>
          <p:cNvPr id="11" name="Content Placeholder 4"/>
          <p:cNvSpPr txBox="1">
            <a:spLocks/>
          </p:cNvSpPr>
          <p:nvPr/>
        </p:nvSpPr>
        <p:spPr>
          <a:xfrm>
            <a:off x="296009" y="1352550"/>
            <a:ext cx="8745996" cy="112226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mj-lt"/>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mj-lt"/>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rgbClr val="404040"/>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bg-BG" sz="1600" dirty="0" smtClean="0"/>
              <a:t>Резултатите от измерените стойности може да бъдат следени </a:t>
            </a:r>
            <a:r>
              <a:rPr lang="bg-BG" sz="1600" b="1" dirty="0" smtClean="0"/>
              <a:t>ежедневно онлайн </a:t>
            </a:r>
            <a:r>
              <a:rPr lang="bg-BG" sz="1600" dirty="0" smtClean="0"/>
              <a:t>на страницата на РИОСВ</a:t>
            </a:r>
            <a:r>
              <a:rPr lang="en-US" sz="1600" dirty="0" smtClean="0"/>
              <a:t> – </a:t>
            </a:r>
            <a:r>
              <a:rPr lang="bg-BG" sz="1600" u="sng" dirty="0">
                <a:hlinkClick r:id="rId5"/>
              </a:rPr>
              <a:t>http://</a:t>
            </a:r>
            <a:r>
              <a:rPr lang="bg-BG" sz="1600" u="sng" dirty="0" smtClean="0">
                <a:hlinkClick r:id="rId5"/>
              </a:rPr>
              <a:t>www.riosv-ruse.org/danni-ot-sobstven-monitoring-na-spetzifichni-organichni-veshtestva-na-montyupe-eood.html</a:t>
            </a:r>
            <a:endParaRPr lang="bg-BG" sz="1600" dirty="0"/>
          </a:p>
        </p:txBody>
      </p:sp>
    </p:spTree>
    <p:extLst>
      <p:ext uri="{BB962C8B-B14F-4D97-AF65-F5344CB8AC3E}">
        <p14:creationId xmlns:p14="http://schemas.microsoft.com/office/powerpoint/2010/main" val="14898458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250883" y="1352550"/>
            <a:ext cx="8664517" cy="3733800"/>
          </a:xfrm>
        </p:spPr>
        <p:txBody>
          <a:bodyPr>
            <a:normAutofit/>
          </a:bodyPr>
          <a:lstStyle/>
          <a:p>
            <a:r>
              <a:rPr lang="bg-BG" dirty="0" smtClean="0"/>
              <a:t>Период на инвестицията</a:t>
            </a:r>
            <a:r>
              <a:rPr lang="en-US" dirty="0" smtClean="0"/>
              <a:t>: </a:t>
            </a:r>
            <a:r>
              <a:rPr lang="en-US" b="1" dirty="0" smtClean="0"/>
              <a:t>2017 - 2022</a:t>
            </a:r>
            <a:endParaRPr lang="en-US" b="1" dirty="0"/>
          </a:p>
          <a:p>
            <a:pPr marL="0" indent="0">
              <a:buNone/>
            </a:pPr>
            <a:r>
              <a:rPr lang="en-US" b="1" dirty="0" smtClean="0"/>
              <a:t>	</a:t>
            </a:r>
            <a:endParaRPr lang="en-US" sz="1800" b="1" dirty="0" smtClean="0"/>
          </a:p>
          <a:p>
            <a:r>
              <a:rPr lang="bg-BG" sz="1800" dirty="0" smtClean="0"/>
              <a:t>Брой проекти</a:t>
            </a:r>
            <a:r>
              <a:rPr lang="en-US" sz="1800" dirty="0" smtClean="0"/>
              <a:t> :</a:t>
            </a:r>
            <a:r>
              <a:rPr lang="bg-BG" sz="1800" dirty="0" smtClean="0"/>
              <a:t> </a:t>
            </a:r>
            <a:r>
              <a:rPr lang="bg-BG" sz="1800" b="1" dirty="0" smtClean="0"/>
              <a:t>10</a:t>
            </a:r>
            <a:endParaRPr lang="en-US" sz="1800" b="1" dirty="0" smtClean="0"/>
          </a:p>
          <a:p>
            <a:pPr marL="0" indent="0">
              <a:buNone/>
            </a:pPr>
            <a:r>
              <a:rPr lang="en-US" sz="1800" b="1" dirty="0"/>
              <a:t>	</a:t>
            </a:r>
            <a:endParaRPr lang="en-US" sz="1600" dirty="0" smtClean="0"/>
          </a:p>
          <a:p>
            <a:pPr lvl="0">
              <a:buClr>
                <a:srgbClr val="BC4E21"/>
              </a:buClr>
            </a:pPr>
            <a:r>
              <a:rPr lang="bg-BG" sz="1800" dirty="0" smtClean="0"/>
              <a:t>Размер на инвестициите </a:t>
            </a:r>
            <a:r>
              <a:rPr lang="bg-BG" sz="1800" dirty="0"/>
              <a:t>в </a:t>
            </a:r>
            <a:r>
              <a:rPr lang="bg-BG" sz="1800" dirty="0" smtClean="0"/>
              <a:t>екологични проекти : </a:t>
            </a:r>
            <a:r>
              <a:rPr lang="bg-BG" sz="1800" b="1" dirty="0" smtClean="0"/>
              <a:t> </a:t>
            </a:r>
            <a:r>
              <a:rPr lang="bg-BG" sz="1800" b="1" dirty="0"/>
              <a:t>14 млн. лв.</a:t>
            </a:r>
          </a:p>
          <a:p>
            <a:pPr marL="0" lvl="0" indent="0">
              <a:buClr>
                <a:srgbClr val="BC4E21"/>
              </a:buClr>
              <a:buNone/>
            </a:pPr>
            <a:r>
              <a:rPr lang="bg-BG" sz="1600" dirty="0"/>
              <a:t>	</a:t>
            </a:r>
            <a:endParaRPr lang="en-US" sz="1600" dirty="0" smtClean="0"/>
          </a:p>
          <a:p>
            <a:r>
              <a:rPr lang="bg-BG" sz="1800" dirty="0" smtClean="0"/>
              <a:t>Очакван резултат </a:t>
            </a:r>
            <a:r>
              <a:rPr lang="en-US" sz="1800" dirty="0" smtClean="0"/>
              <a:t>:</a:t>
            </a:r>
            <a:r>
              <a:rPr lang="bg-BG" sz="1800" dirty="0" smtClean="0"/>
              <a:t> </a:t>
            </a:r>
          </a:p>
          <a:p>
            <a:pPr marL="0" indent="0">
              <a:buNone/>
            </a:pPr>
            <a:r>
              <a:rPr lang="bg-BG" sz="1800" b="1" dirty="0" smtClean="0"/>
              <a:t>       Намаляване на влиянието върху околната среда и изграждане на устойчиво бъдеще</a:t>
            </a:r>
            <a:endParaRPr lang="en-US" sz="1800" b="1" dirty="0"/>
          </a:p>
          <a:p>
            <a:pPr marL="457200" lvl="1" indent="0">
              <a:buNone/>
            </a:pPr>
            <a:endParaRPr lang="en-US" b="1" dirty="0" smtClean="0">
              <a:solidFill>
                <a:schemeClr val="tx1"/>
              </a:solidFill>
            </a:endParaRPr>
          </a:p>
        </p:txBody>
      </p:sp>
      <p:sp>
        <p:nvSpPr>
          <p:cNvPr id="3" name="Title 2"/>
          <p:cNvSpPr>
            <a:spLocks noGrp="1"/>
          </p:cNvSpPr>
          <p:nvPr>
            <p:ph type="title"/>
          </p:nvPr>
        </p:nvSpPr>
        <p:spPr/>
        <p:txBody>
          <a:bodyPr>
            <a:normAutofit/>
          </a:bodyPr>
          <a:lstStyle/>
          <a:p>
            <a:r>
              <a:rPr lang="bg-BG" dirty="0" smtClean="0"/>
              <a:t>Инвестиционна програма по околна среда</a:t>
            </a:r>
            <a:endParaRPr lang="bg-BG" b="0" dirty="0"/>
          </a:p>
        </p:txBody>
      </p:sp>
    </p:spTree>
    <p:extLst>
      <p:ext uri="{BB962C8B-B14F-4D97-AF65-F5344CB8AC3E}">
        <p14:creationId xmlns:p14="http://schemas.microsoft.com/office/powerpoint/2010/main" val="20969101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Линамар глобален преглед</a:t>
            </a:r>
            <a:endParaRPr lang="bg-BG" b="0" dirty="0"/>
          </a:p>
        </p:txBody>
      </p:sp>
    </p:spTree>
    <p:extLst>
      <p:ext uri="{BB962C8B-B14F-4D97-AF65-F5344CB8AC3E}">
        <p14:creationId xmlns:p14="http://schemas.microsoft.com/office/powerpoint/2010/main" val="424625228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01639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ПРИЛОЖЕНИЯ</a:t>
            </a:r>
            <a:endParaRPr lang="bg-BG" dirty="0"/>
          </a:p>
        </p:txBody>
      </p:sp>
      <p:sp>
        <p:nvSpPr>
          <p:cNvPr id="6" name="Content Placeholder 5"/>
          <p:cNvSpPr>
            <a:spLocks noGrp="1"/>
          </p:cNvSpPr>
          <p:nvPr>
            <p:ph sz="quarter" idx="11"/>
          </p:nvPr>
        </p:nvSpPr>
        <p:spPr/>
        <p:txBody>
          <a:bodyPr/>
          <a:lstStyle/>
          <a:p>
            <a:r>
              <a:rPr lang="bg-BG" dirty="0" smtClean="0"/>
              <a:t>КАМПАНИИ ЗА ИЗМЕРВАНЕ</a:t>
            </a:r>
          </a:p>
        </p:txBody>
      </p:sp>
    </p:spTree>
    <p:extLst>
      <p:ext uri="{BB962C8B-B14F-4D97-AF65-F5344CB8AC3E}">
        <p14:creationId xmlns:p14="http://schemas.microsoft.com/office/powerpoint/2010/main" val="42614643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ru-RU" dirty="0" smtClean="0"/>
              <a:t>Източници </a:t>
            </a:r>
            <a:r>
              <a:rPr lang="ru-RU" dirty="0"/>
              <a:t>на </a:t>
            </a:r>
            <a:r>
              <a:rPr lang="ru-RU" dirty="0" smtClean="0"/>
              <a:t>ООС </a:t>
            </a:r>
            <a:r>
              <a:rPr lang="ru-RU" dirty="0"/>
              <a:t>в Русе, съгл. </a:t>
            </a:r>
            <a:r>
              <a:rPr lang="ru-RU" dirty="0" smtClean="0"/>
              <a:t>писмо </a:t>
            </a:r>
            <a:r>
              <a:rPr lang="ru-RU" dirty="0"/>
              <a:t>от </a:t>
            </a:r>
            <a:r>
              <a:rPr lang="ru-RU" dirty="0" smtClean="0"/>
              <a:t>РИОСВ</a:t>
            </a:r>
            <a:endParaRPr lang="bg-BG" b="0" dirty="0"/>
          </a:p>
        </p:txBody>
      </p:sp>
      <p:pic>
        <p:nvPicPr>
          <p:cNvPr id="5" name="Grafik 8">
            <a:extLst>
              <a:ext uri="{FF2B5EF4-FFF2-40B4-BE49-F238E27FC236}">
                <a16:creationId xmlns:a16="http://schemas.microsoft.com/office/drawing/2014/main" id="{75F33A59-47C2-4686-AD1D-F9F12D184BA8}"/>
              </a:ext>
            </a:extLst>
          </p:cNvPr>
          <p:cNvPicPr>
            <a:picLocks noGrp="1" noChangeAspect="1"/>
          </p:cNvPicPr>
          <p:nvPr>
            <p:ph sz="quarter" idx="10"/>
          </p:nvPr>
        </p:nvPicPr>
        <p:blipFill>
          <a:blip r:embed="rId2" cstate="print">
            <a:extLst>
              <a:ext uri="{28A0092B-C50C-407E-A947-70E740481C1C}">
                <a14:useLocalDpi xmlns:a14="http://schemas.microsoft.com/office/drawing/2010/main" val="0"/>
              </a:ext>
            </a:extLst>
          </a:blip>
          <a:stretch>
            <a:fillRect/>
          </a:stretch>
        </p:blipFill>
        <p:spPr>
          <a:xfrm>
            <a:off x="7089759" y="1016557"/>
            <a:ext cx="1909783" cy="1793091"/>
          </a:xfrm>
          <a:prstGeom prst="rect">
            <a:avLst/>
          </a:prstGeom>
        </p:spPr>
      </p:pic>
      <p:pic>
        <p:nvPicPr>
          <p:cNvPr id="6" name="Grafik 5">
            <a:extLst>
              <a:ext uri="{FF2B5EF4-FFF2-40B4-BE49-F238E27FC236}">
                <a16:creationId xmlns:a16="http://schemas.microsoft.com/office/drawing/2014/main" id="{C8372882-23D5-41C0-A6A4-316030CFC8AF}"/>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tretch>
            <a:fillRect/>
          </a:stretch>
        </p:blipFill>
        <p:spPr>
          <a:xfrm>
            <a:off x="457200" y="1123950"/>
            <a:ext cx="6556359" cy="3830795"/>
          </a:xfrm>
          <a:prstGeom prst="rect">
            <a:avLst/>
          </a:prstGeom>
        </p:spPr>
      </p:pic>
      <p:pic>
        <p:nvPicPr>
          <p:cNvPr id="4" name="Picture 3"/>
          <p:cNvPicPr>
            <a:picLocks noChangeAspect="1"/>
          </p:cNvPicPr>
          <p:nvPr/>
        </p:nvPicPr>
        <p:blipFill rotWithShape="1">
          <a:blip r:embed="rId5">
            <a:extLst>
              <a:ext uri="{BEBA8EAE-BF5A-486C-A8C5-ECC9F3942E4B}">
                <a14:imgProps xmlns:a14="http://schemas.microsoft.com/office/drawing/2010/main">
                  <a14:imgLayer r:embed="rId6">
                    <a14:imgEffect>
                      <a14:backgroundRemoval t="4051" b="99241" l="6335" r="99774">
                        <a14:foregroundMark x1="65837" y1="42785" x2="65837" y2="42785"/>
                        <a14:foregroundMark x1="77828" y1="56962" x2="77828" y2="56962"/>
                        <a14:foregroundMark x1="69457" y1="72658" x2="69457" y2="72658"/>
                        <a14:foregroundMark x1="90045" y1="47848" x2="90045" y2="47848"/>
                      </a14:backgroundRemoval>
                    </a14:imgEffect>
                  </a14:imgLayer>
                </a14:imgProps>
              </a:ext>
            </a:extLst>
          </a:blip>
          <a:srcRect l="6561" t="5443"/>
          <a:stretch/>
        </p:blipFill>
        <p:spPr>
          <a:xfrm>
            <a:off x="5867400" y="1291163"/>
            <a:ext cx="489172" cy="442387"/>
          </a:xfrm>
          <a:prstGeom prst="rect">
            <a:avLst/>
          </a:prstGeom>
        </p:spPr>
      </p:pic>
    </p:spTree>
    <p:extLst>
      <p:ext uri="{BB962C8B-B14F-4D97-AF65-F5344CB8AC3E}">
        <p14:creationId xmlns:p14="http://schemas.microsoft.com/office/powerpoint/2010/main" val="345993662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ru-RU" dirty="0">
                <a:latin typeface="+mj-lt"/>
                <a:ea typeface="Tahoma" panose="020B0604030504040204" pitchFamily="34" charset="0"/>
                <a:cs typeface="Tahoma" panose="020B0604030504040204" pitchFamily="34" charset="0"/>
              </a:rPr>
              <a:t>Карта на всички </a:t>
            </a:r>
            <a:r>
              <a:rPr lang="ru-RU" dirty="0" smtClean="0">
                <a:latin typeface="+mj-lt"/>
                <a:ea typeface="Tahoma" panose="020B0604030504040204" pitchFamily="34" charset="0"/>
                <a:cs typeface="Tahoma" panose="020B0604030504040204" pitchFamily="34" charset="0"/>
              </a:rPr>
              <a:t>точки на измервания </a:t>
            </a:r>
            <a:r>
              <a:rPr lang="ru-RU" dirty="0">
                <a:latin typeface="+mj-lt"/>
                <a:ea typeface="Tahoma" panose="020B0604030504040204" pitchFamily="34" charset="0"/>
                <a:cs typeface="Tahoma" panose="020B0604030504040204" pitchFamily="34" charset="0"/>
              </a:rPr>
              <a:t>в </a:t>
            </a:r>
            <a:r>
              <a:rPr lang="ru-RU" dirty="0" smtClean="0">
                <a:latin typeface="+mj-lt"/>
                <a:ea typeface="Tahoma" panose="020B0604030504040204" pitchFamily="34" charset="0"/>
                <a:cs typeface="Tahoma" panose="020B0604030504040204" pitchFamily="34" charset="0"/>
              </a:rPr>
              <a:t>региона</a:t>
            </a:r>
            <a:endParaRPr lang="bg-BG" b="0" dirty="0">
              <a:latin typeface="+mj-lt"/>
            </a:endParaRPr>
          </a:p>
        </p:txBody>
      </p:sp>
      <p:pic>
        <p:nvPicPr>
          <p:cNvPr id="9" name="Picture 8">
            <a:extLst>
              <a:ext uri="{FF2B5EF4-FFF2-40B4-BE49-F238E27FC236}">
                <a16:creationId xmlns:a16="http://schemas.microsoft.com/office/drawing/2014/main" id="{4AFA73A4-BB57-474F-A736-CD19710BEE7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1000" y="1151765"/>
            <a:ext cx="6473347" cy="3705985"/>
          </a:xfrm>
          <a:prstGeom prst="rect">
            <a:avLst/>
          </a:prstGeom>
        </p:spPr>
      </p:pic>
      <p:sp>
        <p:nvSpPr>
          <p:cNvPr id="10" name="Textfeld 8">
            <a:extLst>
              <a:ext uri="{FF2B5EF4-FFF2-40B4-BE49-F238E27FC236}">
                <a16:creationId xmlns:a16="http://schemas.microsoft.com/office/drawing/2014/main" id="{0420E90E-EDCE-4243-B594-C7D49E1737B3}"/>
              </a:ext>
            </a:extLst>
          </p:cNvPr>
          <p:cNvSpPr txBox="1"/>
          <p:nvPr/>
        </p:nvSpPr>
        <p:spPr>
          <a:xfrm>
            <a:off x="7162800" y="1146714"/>
            <a:ext cx="1676400" cy="3539430"/>
          </a:xfrm>
          <a:prstGeom prst="rect">
            <a:avLst/>
          </a:prstGeom>
          <a:noFill/>
        </p:spPr>
        <p:txBody>
          <a:bodyPr wrap="square" rtlCol="0">
            <a:spAutoFit/>
          </a:bodyPr>
          <a:lstStyle/>
          <a:p>
            <a:pPr algn="ctr"/>
            <a:r>
              <a:rPr lang="en-US" sz="1600" b="1" u="sng" dirty="0" smtClean="0">
                <a:solidFill>
                  <a:srgbClr val="BC4E21"/>
                </a:solidFill>
              </a:rPr>
              <a:t>27</a:t>
            </a:r>
            <a:r>
              <a:rPr lang="bg-BG" sz="1600" b="1" u="sng" dirty="0" smtClean="0">
                <a:solidFill>
                  <a:srgbClr val="BC4E21"/>
                </a:solidFill>
              </a:rPr>
              <a:t>/07 –</a:t>
            </a:r>
            <a:r>
              <a:rPr lang="en-US" sz="1600" b="1" u="sng" dirty="0" smtClean="0">
                <a:solidFill>
                  <a:srgbClr val="BC4E21"/>
                </a:solidFill>
              </a:rPr>
              <a:t> 07</a:t>
            </a:r>
            <a:r>
              <a:rPr lang="bg-BG" sz="1600" b="1" u="sng" dirty="0" smtClean="0">
                <a:solidFill>
                  <a:srgbClr val="BC4E21"/>
                </a:solidFill>
              </a:rPr>
              <a:t>/09/</a:t>
            </a:r>
            <a:r>
              <a:rPr lang="en-US" sz="1600" b="1" u="sng" dirty="0" smtClean="0">
                <a:solidFill>
                  <a:srgbClr val="BC4E21"/>
                </a:solidFill>
              </a:rPr>
              <a:t>2018 </a:t>
            </a:r>
            <a:endParaRPr lang="bg-BG" sz="1600" b="1" u="sng" dirty="0" smtClean="0">
              <a:solidFill>
                <a:srgbClr val="BC4E21"/>
              </a:solidFill>
            </a:endParaRPr>
          </a:p>
          <a:p>
            <a:endParaRPr lang="bg-BG" sz="1600" dirty="0" smtClean="0"/>
          </a:p>
          <a:p>
            <a:r>
              <a:rPr lang="bg-BG" sz="1600" b="1" dirty="0" smtClean="0">
                <a:solidFill>
                  <a:srgbClr val="BC4E21"/>
                </a:solidFill>
                <a:latin typeface="+mj-lt"/>
              </a:rPr>
              <a:t>Обхват</a:t>
            </a:r>
          </a:p>
          <a:p>
            <a:endParaRPr lang="bg-BG" sz="1600" b="1" dirty="0" smtClean="0">
              <a:solidFill>
                <a:srgbClr val="BC4E21"/>
              </a:solidFill>
              <a:latin typeface="+mj-lt"/>
            </a:endParaRPr>
          </a:p>
          <a:p>
            <a:pPr marL="285750" indent="-285750">
              <a:buClr>
                <a:srgbClr val="C00000"/>
              </a:buClr>
              <a:buFont typeface="Wingdings" panose="05000000000000000000" pitchFamily="2" charset="2"/>
              <a:buChar char="§"/>
            </a:pPr>
            <a:r>
              <a:rPr lang="de-DE" sz="1600" b="1" dirty="0" smtClean="0">
                <a:latin typeface="+mj-lt"/>
              </a:rPr>
              <a:t>300</a:t>
            </a:r>
            <a:r>
              <a:rPr lang="de-DE" sz="1600" dirty="0" smtClean="0">
                <a:latin typeface="+mj-lt"/>
              </a:rPr>
              <a:t> </a:t>
            </a:r>
            <a:r>
              <a:rPr lang="bg-BG" sz="1600" dirty="0" smtClean="0">
                <a:latin typeface="+mj-lt"/>
              </a:rPr>
              <a:t>общо измервания</a:t>
            </a:r>
          </a:p>
          <a:p>
            <a:pPr marL="285750" indent="-285750">
              <a:buClr>
                <a:srgbClr val="C00000"/>
              </a:buClr>
              <a:buFont typeface="Wingdings" panose="05000000000000000000" pitchFamily="2" charset="2"/>
              <a:buChar char="§"/>
            </a:pPr>
            <a:r>
              <a:rPr lang="de-DE" sz="1600" dirty="0" smtClean="0">
                <a:latin typeface="+mj-lt"/>
              </a:rPr>
              <a:t> </a:t>
            </a:r>
            <a:endParaRPr lang="de-DE" sz="1600" dirty="0">
              <a:latin typeface="+mj-lt"/>
            </a:endParaRPr>
          </a:p>
          <a:p>
            <a:pPr marL="285750" indent="-285750">
              <a:buClr>
                <a:srgbClr val="C00000"/>
              </a:buClr>
              <a:buFont typeface="Wingdings" panose="05000000000000000000" pitchFamily="2" charset="2"/>
              <a:buChar char="§"/>
            </a:pPr>
            <a:r>
              <a:rPr lang="de-DE" sz="1600" b="1" dirty="0">
                <a:latin typeface="+mj-lt"/>
              </a:rPr>
              <a:t>70</a:t>
            </a:r>
            <a:r>
              <a:rPr lang="de-DE" sz="1600" dirty="0">
                <a:latin typeface="+mj-lt"/>
              </a:rPr>
              <a:t> </a:t>
            </a:r>
            <a:r>
              <a:rPr lang="bg-BG" sz="1600" dirty="0" smtClean="0">
                <a:latin typeface="+mj-lt"/>
              </a:rPr>
              <a:t>вътрешни</a:t>
            </a:r>
          </a:p>
          <a:p>
            <a:pPr marL="285750" indent="-285750">
              <a:buClr>
                <a:srgbClr val="C00000"/>
              </a:buClr>
              <a:buFont typeface="Wingdings" panose="05000000000000000000" pitchFamily="2" charset="2"/>
              <a:buChar char="§"/>
            </a:pPr>
            <a:endParaRPr lang="de-DE" sz="1600" dirty="0">
              <a:latin typeface="+mj-lt"/>
            </a:endParaRPr>
          </a:p>
          <a:p>
            <a:pPr marL="285750" indent="-285750">
              <a:buClr>
                <a:srgbClr val="C00000"/>
              </a:buClr>
              <a:buFont typeface="Wingdings" panose="05000000000000000000" pitchFamily="2" charset="2"/>
              <a:buChar char="§"/>
            </a:pPr>
            <a:r>
              <a:rPr lang="de-DE" sz="1600" b="1" dirty="0">
                <a:latin typeface="+mj-lt"/>
              </a:rPr>
              <a:t>230</a:t>
            </a:r>
            <a:r>
              <a:rPr lang="de-DE" sz="1600" dirty="0">
                <a:latin typeface="+mj-lt"/>
              </a:rPr>
              <a:t> </a:t>
            </a:r>
            <a:r>
              <a:rPr lang="bg-BG" sz="1600" dirty="0" smtClean="0">
                <a:latin typeface="+mj-lt"/>
              </a:rPr>
              <a:t>външни</a:t>
            </a:r>
          </a:p>
          <a:p>
            <a:pPr marL="285750" indent="-285750">
              <a:buClr>
                <a:srgbClr val="C00000"/>
              </a:buClr>
              <a:buFont typeface="Wingdings" panose="05000000000000000000" pitchFamily="2" charset="2"/>
              <a:buChar char="§"/>
            </a:pPr>
            <a:endParaRPr lang="de-DE" sz="1600" dirty="0">
              <a:latin typeface="+mj-lt"/>
            </a:endParaRPr>
          </a:p>
          <a:p>
            <a:pPr marL="285750" indent="-285750">
              <a:buClr>
                <a:srgbClr val="C00000"/>
              </a:buClr>
              <a:buFont typeface="Wingdings" panose="05000000000000000000" pitchFamily="2" charset="2"/>
              <a:buChar char="§"/>
            </a:pPr>
            <a:r>
              <a:rPr lang="de-DE" sz="1600" b="1" dirty="0">
                <a:latin typeface="+mj-lt"/>
              </a:rPr>
              <a:t>85</a:t>
            </a:r>
            <a:r>
              <a:rPr lang="de-DE" sz="1600" dirty="0">
                <a:latin typeface="+mj-lt"/>
              </a:rPr>
              <a:t> </a:t>
            </a:r>
            <a:r>
              <a:rPr lang="bg-BG" sz="1600" dirty="0" smtClean="0">
                <a:latin typeface="+mj-lt"/>
              </a:rPr>
              <a:t>точки</a:t>
            </a:r>
          </a:p>
          <a:p>
            <a:pPr marL="285750" indent="-285750">
              <a:buClr>
                <a:srgbClr val="C00000"/>
              </a:buClr>
              <a:buFont typeface="Wingdings" panose="05000000000000000000" pitchFamily="2" charset="2"/>
              <a:buChar char="§"/>
            </a:pPr>
            <a:endParaRPr lang="de-DE" sz="1600" dirty="0">
              <a:latin typeface="+mj-lt"/>
            </a:endParaRPr>
          </a:p>
          <a:p>
            <a:pPr marL="285750" indent="-285750">
              <a:buClr>
                <a:srgbClr val="C00000"/>
              </a:buClr>
              <a:buFont typeface="Wingdings" panose="05000000000000000000" pitchFamily="2" charset="2"/>
              <a:buChar char="§"/>
            </a:pPr>
            <a:r>
              <a:rPr lang="de-DE" sz="1600" b="1" dirty="0">
                <a:latin typeface="+mj-lt"/>
              </a:rPr>
              <a:t>35</a:t>
            </a:r>
            <a:r>
              <a:rPr lang="de-DE" sz="1600" dirty="0">
                <a:latin typeface="+mj-lt"/>
              </a:rPr>
              <a:t> </a:t>
            </a:r>
            <a:r>
              <a:rPr lang="bg-BG" sz="1600" dirty="0" smtClean="0">
                <a:latin typeface="+mj-lt"/>
              </a:rPr>
              <a:t>дни</a:t>
            </a:r>
            <a:endParaRPr lang="de-DE" sz="1600" dirty="0">
              <a:latin typeface="+mj-lt"/>
            </a:endParaRPr>
          </a:p>
        </p:txBody>
      </p:sp>
      <p:pic>
        <p:nvPicPr>
          <p:cNvPr id="11" name="Grafik 8">
            <a:extLst>
              <a:ext uri="{FF2B5EF4-FFF2-40B4-BE49-F238E27FC236}">
                <a16:creationId xmlns:a16="http://schemas.microsoft.com/office/drawing/2014/main" id="{B6F19A8C-3185-402C-8442-89DC300FF4A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999" y="1146714"/>
            <a:ext cx="1105101" cy="1105101"/>
          </a:xfrm>
          <a:prstGeom prst="rect">
            <a:avLst/>
          </a:prstGeom>
        </p:spPr>
      </p:pic>
    </p:spTree>
    <p:extLst>
      <p:ext uri="{BB962C8B-B14F-4D97-AF65-F5344CB8AC3E}">
        <p14:creationId xmlns:p14="http://schemas.microsoft.com/office/powerpoint/2010/main" val="247135739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ru-RU" sz="2000" dirty="0">
                <a:latin typeface="+mj-lt"/>
                <a:ea typeface="Tahoma" panose="020B0604030504040204" pitchFamily="34" charset="0"/>
                <a:cs typeface="Tahoma" panose="020B0604030504040204" pitchFamily="34" charset="0"/>
              </a:rPr>
              <a:t>Бензол в околната среда - </a:t>
            </a:r>
            <a:r>
              <a:rPr lang="ru-RU" sz="2000" dirty="0" smtClean="0">
                <a:latin typeface="+mj-lt"/>
                <a:ea typeface="Tahoma" panose="020B0604030504040204" pitchFamily="34" charset="0"/>
                <a:cs typeface="Tahoma" panose="020B0604030504040204" pitchFamily="34" charset="0"/>
              </a:rPr>
              <a:t>лимит </a:t>
            </a:r>
            <a:r>
              <a:rPr lang="ru-RU" sz="2000" dirty="0">
                <a:latin typeface="+mj-lt"/>
                <a:ea typeface="Tahoma" panose="020B0604030504040204" pitchFamily="34" charset="0"/>
                <a:cs typeface="Tahoma" panose="020B0604030504040204" pitchFamily="34" charset="0"/>
              </a:rPr>
              <a:t>за градски зони 5 µg / </a:t>
            </a:r>
            <a:r>
              <a:rPr lang="ru-RU" sz="2000" dirty="0" smtClean="0">
                <a:latin typeface="+mj-lt"/>
                <a:ea typeface="Tahoma" panose="020B0604030504040204" pitchFamily="34" charset="0"/>
                <a:cs typeface="Tahoma" panose="020B0604030504040204" pitchFamily="34" charset="0"/>
              </a:rPr>
              <a:t>m3</a:t>
            </a:r>
            <a:endParaRPr lang="bg-BG" sz="2000" b="0" dirty="0">
              <a:latin typeface="+mj-lt"/>
            </a:endParaRPr>
          </a:p>
        </p:txBody>
      </p:sp>
      <p:sp>
        <p:nvSpPr>
          <p:cNvPr id="6" name="Datumsplatzhalter 3">
            <a:extLst>
              <a:ext uri="{FF2B5EF4-FFF2-40B4-BE49-F238E27FC236}">
                <a16:creationId xmlns:a16="http://schemas.microsoft.com/office/drawing/2014/main" id="{25DAF17A-2004-441C-A39A-774A12A5FDB2}"/>
              </a:ext>
            </a:extLst>
          </p:cNvPr>
          <p:cNvSpPr txBox="1">
            <a:spLocks/>
          </p:cNvSpPr>
          <p:nvPr/>
        </p:nvSpPr>
        <p:spPr>
          <a:xfrm>
            <a:off x="0" y="268251"/>
            <a:ext cx="0" cy="0"/>
          </a:xfrm>
          <a:prstGeom prst="rect">
            <a:avLst/>
          </a:prstGeom>
        </p:spPr>
        <p:txBody>
          <a:bodyPr vert="horz" lIns="91440" tIns="45720" rIns="91440" bIns="45720" rtlCol="0">
            <a:normAutofit fontScale="25000" lnSpcReduction="2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mj-lt"/>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mj-lt"/>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rgbClr val="404040"/>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p:txBody>
      </p:sp>
      <p:sp>
        <p:nvSpPr>
          <p:cNvPr id="7" name="TextBox 6">
            <a:extLst>
              <a:ext uri="{FF2B5EF4-FFF2-40B4-BE49-F238E27FC236}">
                <a16:creationId xmlns:a16="http://schemas.microsoft.com/office/drawing/2014/main" id="{92D31C4B-78AB-4012-9324-D6067826926B}"/>
              </a:ext>
            </a:extLst>
          </p:cNvPr>
          <p:cNvSpPr txBox="1"/>
          <p:nvPr/>
        </p:nvSpPr>
        <p:spPr>
          <a:xfrm>
            <a:off x="1564970" y="1888235"/>
            <a:ext cx="1951176" cy="338554"/>
          </a:xfrm>
          <a:prstGeom prst="rect">
            <a:avLst/>
          </a:prstGeom>
          <a:noFill/>
        </p:spPr>
        <p:txBody>
          <a:bodyPr wrap="none" rtlCol="0">
            <a:spAutoFit/>
          </a:bodyPr>
          <a:lstStyle/>
          <a:p>
            <a:pPr algn="ctr"/>
            <a:r>
              <a:rPr lang="bg-BG" sz="1600" dirty="0">
                <a:solidFill>
                  <a:srgbClr val="BC4E21"/>
                </a:solidFill>
              </a:rPr>
              <a:t>При </a:t>
            </a:r>
            <a:r>
              <a:rPr lang="bg-BG" sz="1600" b="1" dirty="0" smtClean="0">
                <a:solidFill>
                  <a:srgbClr val="BC4E21"/>
                </a:solidFill>
              </a:rPr>
              <a:t>неработещ</a:t>
            </a:r>
            <a:r>
              <a:rPr lang="bg-BG" sz="1600" dirty="0" smtClean="0">
                <a:solidFill>
                  <a:srgbClr val="BC4E21"/>
                </a:solidFill>
              </a:rPr>
              <a:t> завод</a:t>
            </a:r>
            <a:endParaRPr lang="bg-BG" sz="1600" b="1" dirty="0">
              <a:solidFill>
                <a:srgbClr val="BC4E21"/>
              </a:solidFill>
            </a:endParaRPr>
          </a:p>
        </p:txBody>
      </p:sp>
      <p:sp>
        <p:nvSpPr>
          <p:cNvPr id="8" name="TextBox 7">
            <a:extLst>
              <a:ext uri="{FF2B5EF4-FFF2-40B4-BE49-F238E27FC236}">
                <a16:creationId xmlns:a16="http://schemas.microsoft.com/office/drawing/2014/main" id="{DF2EBF86-3D3A-4EC6-B1C6-7ABA00FCB59E}"/>
              </a:ext>
            </a:extLst>
          </p:cNvPr>
          <p:cNvSpPr txBox="1"/>
          <p:nvPr/>
        </p:nvSpPr>
        <p:spPr>
          <a:xfrm>
            <a:off x="4897499" y="1926759"/>
            <a:ext cx="4038600" cy="338554"/>
          </a:xfrm>
          <a:prstGeom prst="rect">
            <a:avLst/>
          </a:prstGeom>
          <a:noFill/>
        </p:spPr>
        <p:txBody>
          <a:bodyPr wrap="square" rtlCol="0">
            <a:spAutoFit/>
          </a:bodyPr>
          <a:lstStyle/>
          <a:p>
            <a:pPr algn="ctr"/>
            <a:r>
              <a:rPr lang="bg-BG" sz="1600" dirty="0">
                <a:solidFill>
                  <a:srgbClr val="BC4E21"/>
                </a:solidFill>
              </a:rPr>
              <a:t>При </a:t>
            </a:r>
            <a:r>
              <a:rPr lang="bg-BG" sz="1600" b="1" dirty="0" smtClean="0">
                <a:solidFill>
                  <a:srgbClr val="BC4E21"/>
                </a:solidFill>
              </a:rPr>
              <a:t>рабощещ</a:t>
            </a:r>
            <a:r>
              <a:rPr lang="bg-BG" sz="1600" dirty="0" smtClean="0">
                <a:solidFill>
                  <a:srgbClr val="BC4E21"/>
                </a:solidFill>
              </a:rPr>
              <a:t> завод</a:t>
            </a:r>
          </a:p>
        </p:txBody>
      </p:sp>
      <p:pic>
        <p:nvPicPr>
          <p:cNvPr id="12" name="Picture 11">
            <a:extLst>
              <a:ext uri="{FF2B5EF4-FFF2-40B4-BE49-F238E27FC236}">
                <a16:creationId xmlns:a16="http://schemas.microsoft.com/office/drawing/2014/main" id="{819E0779-139D-4039-A19B-771CE1EC1E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400" y="2396066"/>
            <a:ext cx="4014318" cy="2440395"/>
          </a:xfrm>
          <a:prstGeom prst="rect">
            <a:avLst/>
          </a:prstGeom>
        </p:spPr>
      </p:pic>
      <p:pic>
        <p:nvPicPr>
          <p:cNvPr id="13" name="Picture 12">
            <a:extLst>
              <a:ext uri="{FF2B5EF4-FFF2-40B4-BE49-F238E27FC236}">
                <a16:creationId xmlns:a16="http://schemas.microsoft.com/office/drawing/2014/main" id="{357D8D4B-3262-4225-B483-FAFAEBB0C0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7655" y="2386893"/>
            <a:ext cx="4195673" cy="2450607"/>
          </a:xfrm>
          <a:prstGeom prst="rect">
            <a:avLst/>
          </a:prstGeom>
        </p:spPr>
      </p:pic>
      <p:pic>
        <p:nvPicPr>
          <p:cNvPr id="14" name="Grafik 9">
            <a:extLst>
              <a:ext uri="{FF2B5EF4-FFF2-40B4-BE49-F238E27FC236}">
                <a16:creationId xmlns:a16="http://schemas.microsoft.com/office/drawing/2014/main" id="{7BF52E3B-F7E9-41A3-9E31-A924589ABD3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2713"/>
          <a:stretch/>
        </p:blipFill>
        <p:spPr>
          <a:xfrm>
            <a:off x="7505453" y="4120940"/>
            <a:ext cx="1427875" cy="715521"/>
          </a:xfrm>
          <a:prstGeom prst="rect">
            <a:avLst/>
          </a:prstGeom>
        </p:spPr>
      </p:pic>
      <p:sp>
        <p:nvSpPr>
          <p:cNvPr id="15" name="TextBox 14"/>
          <p:cNvSpPr txBox="1"/>
          <p:nvPr/>
        </p:nvSpPr>
        <p:spPr>
          <a:xfrm>
            <a:off x="523702" y="1088418"/>
            <a:ext cx="8526417" cy="646331"/>
          </a:xfrm>
          <a:prstGeom prst="rect">
            <a:avLst/>
          </a:prstGeom>
          <a:noFill/>
        </p:spPr>
        <p:txBody>
          <a:bodyPr wrap="square" rtlCol="0">
            <a:spAutoFit/>
          </a:bodyPr>
          <a:lstStyle/>
          <a:p>
            <a:r>
              <a:rPr lang="ru-RU" b="1" dirty="0">
                <a:latin typeface="+mj-lt"/>
              </a:rPr>
              <a:t>Няма разлика в количеството на отделяния замърсител, когато инсталацията работи или не </a:t>
            </a:r>
            <a:r>
              <a:rPr lang="ru-RU" b="1" dirty="0" smtClean="0">
                <a:latin typeface="+mj-lt"/>
              </a:rPr>
              <a:t>работи</a:t>
            </a:r>
          </a:p>
        </p:txBody>
      </p:sp>
    </p:spTree>
    <p:extLst>
      <p:ext uri="{BB962C8B-B14F-4D97-AF65-F5344CB8AC3E}">
        <p14:creationId xmlns:p14="http://schemas.microsoft.com/office/powerpoint/2010/main" val="34074197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ru-RU" sz="1800" dirty="0">
                <a:latin typeface="+mj-lt"/>
                <a:ea typeface="Tahoma" panose="020B0604030504040204" pitchFamily="34" charset="0"/>
                <a:cs typeface="Tahoma" panose="020B0604030504040204" pitchFamily="34" charset="0"/>
              </a:rPr>
              <a:t>Крезол в околната среда - Ограничение за градски райони 5 µg / </a:t>
            </a:r>
            <a:r>
              <a:rPr lang="ru-RU" sz="1800" dirty="0" smtClean="0">
                <a:latin typeface="+mj-lt"/>
                <a:ea typeface="Tahoma" panose="020B0604030504040204" pitchFamily="34" charset="0"/>
                <a:cs typeface="Tahoma" panose="020B0604030504040204" pitchFamily="34" charset="0"/>
              </a:rPr>
              <a:t>m3</a:t>
            </a:r>
            <a:endParaRPr lang="bg-BG" sz="1800" b="0" dirty="0">
              <a:latin typeface="+mj-lt"/>
            </a:endParaRPr>
          </a:p>
        </p:txBody>
      </p:sp>
      <p:sp>
        <p:nvSpPr>
          <p:cNvPr id="6" name="Datumsplatzhalter 3">
            <a:extLst>
              <a:ext uri="{FF2B5EF4-FFF2-40B4-BE49-F238E27FC236}">
                <a16:creationId xmlns:a16="http://schemas.microsoft.com/office/drawing/2014/main" id="{25DAF17A-2004-441C-A39A-774A12A5FDB2}"/>
              </a:ext>
            </a:extLst>
          </p:cNvPr>
          <p:cNvSpPr txBox="1">
            <a:spLocks/>
          </p:cNvSpPr>
          <p:nvPr/>
        </p:nvSpPr>
        <p:spPr>
          <a:xfrm>
            <a:off x="0" y="268251"/>
            <a:ext cx="0" cy="0"/>
          </a:xfrm>
          <a:prstGeom prst="rect">
            <a:avLst/>
          </a:prstGeom>
        </p:spPr>
        <p:txBody>
          <a:bodyPr vert="horz" lIns="91440" tIns="45720" rIns="91440" bIns="45720" rtlCol="0">
            <a:normAutofit fontScale="25000" lnSpcReduction="2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mj-lt"/>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mj-lt"/>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rgbClr val="404040"/>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p:txBody>
      </p:sp>
      <p:sp>
        <p:nvSpPr>
          <p:cNvPr id="10" name="Datumsplatzhalter 3">
            <a:extLst>
              <a:ext uri="{FF2B5EF4-FFF2-40B4-BE49-F238E27FC236}">
                <a16:creationId xmlns:a16="http://schemas.microsoft.com/office/drawing/2014/main" id="{25DAF17A-2004-441C-A39A-774A12A5FDB2}"/>
              </a:ext>
            </a:extLst>
          </p:cNvPr>
          <p:cNvSpPr txBox="1">
            <a:spLocks/>
          </p:cNvSpPr>
          <p:nvPr/>
        </p:nvSpPr>
        <p:spPr>
          <a:xfrm>
            <a:off x="0" y="236614"/>
            <a:ext cx="0" cy="0"/>
          </a:xfrm>
          <a:prstGeom prst="rect">
            <a:avLst/>
          </a:prstGeom>
        </p:spPr>
        <p:txBody>
          <a:bodyPr vert="horz" lIns="91440" tIns="45720" rIns="91440" bIns="45720" rtlCol="0">
            <a:normAutofit fontScale="25000" lnSpcReduction="20000"/>
          </a:bodyPr>
          <a:lstStyle>
            <a:lvl1pPr marL="342900" indent="-342900" algn="l" defTabSz="914400" rtl="0" eaLnBrk="1" latinLnBrk="0" hangingPunct="1">
              <a:spcBef>
                <a:spcPct val="20000"/>
              </a:spcBef>
              <a:buClr>
                <a:schemeClr val="tx2"/>
              </a:buClr>
              <a:buFont typeface="Wingdings" panose="05000000000000000000" pitchFamily="2" charset="2"/>
              <a:buChar char="§"/>
              <a:defRPr sz="2000" b="0" kern="1200">
                <a:solidFill>
                  <a:srgbClr val="404040"/>
                </a:solidFill>
                <a:latin typeface="Arial Narrow" panose="020B0606020202030204" pitchFamily="34" charset="0"/>
                <a:ea typeface="+mn-ea"/>
                <a:cs typeface="+mn-cs"/>
              </a:defRPr>
            </a:lvl1pPr>
            <a:lvl2pPr marL="7429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800" kern="1200">
                <a:solidFill>
                  <a:srgbClr val="404040"/>
                </a:solidFill>
                <a:latin typeface="Arial Narrow" panose="020B0606020202030204" pitchFamily="34" charset="0"/>
                <a:ea typeface="+mn-ea"/>
                <a:cs typeface="+mn-cs"/>
              </a:defRPr>
            </a:lvl2pPr>
            <a:lvl3pPr marL="1143000" indent="-228600" algn="l" defTabSz="914400" rtl="0" eaLnBrk="1" latinLnBrk="0" hangingPunct="1">
              <a:spcBef>
                <a:spcPct val="20000"/>
              </a:spcBef>
              <a:buClr>
                <a:schemeClr val="tx2"/>
              </a:buClr>
              <a:buFont typeface="Wingdings" panose="05000000000000000000" pitchFamily="2" charset="2"/>
              <a:buChar char="§"/>
              <a:defRPr sz="1600" b="0" kern="1200">
                <a:solidFill>
                  <a:srgbClr val="404040"/>
                </a:solidFill>
                <a:latin typeface="+mj-lt"/>
                <a:ea typeface="+mn-ea"/>
                <a:cs typeface="+mn-cs"/>
              </a:defRPr>
            </a:lvl3pPr>
            <a:lvl4pPr marL="1543050" marR="0" indent="-285750" algn="l" defTabSz="914400" rtl="0" eaLnBrk="1" fontAlgn="auto" latinLnBrk="0" hangingPunct="1">
              <a:lnSpc>
                <a:spcPct val="100000"/>
              </a:lnSpc>
              <a:spcBef>
                <a:spcPct val="20000"/>
              </a:spcBef>
              <a:spcAft>
                <a:spcPts val="0"/>
              </a:spcAft>
              <a:buClr>
                <a:schemeClr val="tx2"/>
              </a:buClr>
              <a:buSzTx/>
              <a:buFont typeface="Wingdings" panose="05000000000000000000" pitchFamily="2" charset="2"/>
              <a:buChar char="§"/>
              <a:tabLst/>
              <a:defRPr sz="1400" kern="1200">
                <a:solidFill>
                  <a:srgbClr val="404040"/>
                </a:solidFill>
                <a:latin typeface="+mj-lt"/>
                <a:ea typeface="+mn-ea"/>
                <a:cs typeface="+mn-cs"/>
              </a:defRPr>
            </a:lvl4pPr>
            <a:lvl5pPr marL="2057400" indent="-228600" algn="l" defTabSz="914400" rtl="0" eaLnBrk="1" latinLnBrk="0" hangingPunct="1">
              <a:spcBef>
                <a:spcPct val="20000"/>
              </a:spcBef>
              <a:buClr>
                <a:schemeClr val="tx2"/>
              </a:buClr>
              <a:buFont typeface="Wingdings" panose="05000000000000000000" pitchFamily="2" charset="2"/>
              <a:buChar char="§"/>
              <a:defRPr sz="1200" kern="1200">
                <a:solidFill>
                  <a:srgbClr val="404040"/>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p:txBody>
      </p:sp>
      <p:pic>
        <p:nvPicPr>
          <p:cNvPr id="19" name="Picture 18"/>
          <p:cNvPicPr>
            <a:picLocks noChangeAspect="1"/>
          </p:cNvPicPr>
          <p:nvPr/>
        </p:nvPicPr>
        <p:blipFill>
          <a:blip r:embed="rId2"/>
          <a:stretch>
            <a:fillRect/>
          </a:stretch>
        </p:blipFill>
        <p:spPr>
          <a:xfrm>
            <a:off x="344228" y="2409490"/>
            <a:ext cx="4253377" cy="2600660"/>
          </a:xfrm>
          <a:prstGeom prst="rect">
            <a:avLst/>
          </a:prstGeom>
        </p:spPr>
      </p:pic>
      <p:pic>
        <p:nvPicPr>
          <p:cNvPr id="20" name="Picture 19"/>
          <p:cNvPicPr>
            <a:picLocks noChangeAspect="1"/>
          </p:cNvPicPr>
          <p:nvPr/>
        </p:nvPicPr>
        <p:blipFill>
          <a:blip r:embed="rId3"/>
          <a:stretch>
            <a:fillRect/>
          </a:stretch>
        </p:blipFill>
        <p:spPr>
          <a:xfrm>
            <a:off x="4724400" y="2409490"/>
            <a:ext cx="4208928" cy="2558348"/>
          </a:xfrm>
          <a:prstGeom prst="rect">
            <a:avLst/>
          </a:prstGeom>
        </p:spPr>
      </p:pic>
      <p:pic>
        <p:nvPicPr>
          <p:cNvPr id="17" name="Grafik 9">
            <a:extLst>
              <a:ext uri="{FF2B5EF4-FFF2-40B4-BE49-F238E27FC236}">
                <a16:creationId xmlns:a16="http://schemas.microsoft.com/office/drawing/2014/main" id="{7BF52E3B-F7E9-41A3-9E31-A924589ABD3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22713"/>
          <a:stretch/>
        </p:blipFill>
        <p:spPr>
          <a:xfrm>
            <a:off x="7620000" y="4428230"/>
            <a:ext cx="1313328" cy="658120"/>
          </a:xfrm>
          <a:prstGeom prst="rect">
            <a:avLst/>
          </a:prstGeom>
        </p:spPr>
      </p:pic>
      <p:sp>
        <p:nvSpPr>
          <p:cNvPr id="12" name="TextBox 11">
            <a:extLst>
              <a:ext uri="{FF2B5EF4-FFF2-40B4-BE49-F238E27FC236}">
                <a16:creationId xmlns:a16="http://schemas.microsoft.com/office/drawing/2014/main" id="{92D31C4B-78AB-4012-9324-D6067826926B}"/>
              </a:ext>
            </a:extLst>
          </p:cNvPr>
          <p:cNvSpPr txBox="1"/>
          <p:nvPr/>
        </p:nvSpPr>
        <p:spPr>
          <a:xfrm>
            <a:off x="1564970" y="1809750"/>
            <a:ext cx="1951176" cy="338554"/>
          </a:xfrm>
          <a:prstGeom prst="rect">
            <a:avLst/>
          </a:prstGeom>
          <a:noFill/>
        </p:spPr>
        <p:txBody>
          <a:bodyPr wrap="none" rtlCol="0">
            <a:spAutoFit/>
          </a:bodyPr>
          <a:lstStyle/>
          <a:p>
            <a:pPr algn="ctr"/>
            <a:r>
              <a:rPr lang="bg-BG" sz="1600" dirty="0">
                <a:solidFill>
                  <a:srgbClr val="BC4E21"/>
                </a:solidFill>
              </a:rPr>
              <a:t>При </a:t>
            </a:r>
            <a:r>
              <a:rPr lang="bg-BG" sz="1600" b="1" dirty="0" smtClean="0">
                <a:solidFill>
                  <a:srgbClr val="BC4E21"/>
                </a:solidFill>
              </a:rPr>
              <a:t>неработещ</a:t>
            </a:r>
            <a:r>
              <a:rPr lang="bg-BG" sz="1600" dirty="0" smtClean="0">
                <a:solidFill>
                  <a:srgbClr val="BC4E21"/>
                </a:solidFill>
              </a:rPr>
              <a:t> завод</a:t>
            </a:r>
            <a:endParaRPr lang="bg-BG" sz="1600" b="1" dirty="0">
              <a:solidFill>
                <a:srgbClr val="BC4E21"/>
              </a:solidFill>
            </a:endParaRPr>
          </a:p>
        </p:txBody>
      </p:sp>
      <p:sp>
        <p:nvSpPr>
          <p:cNvPr id="13" name="TextBox 12">
            <a:extLst>
              <a:ext uri="{FF2B5EF4-FFF2-40B4-BE49-F238E27FC236}">
                <a16:creationId xmlns:a16="http://schemas.microsoft.com/office/drawing/2014/main" id="{DF2EBF86-3D3A-4EC6-B1C6-7ABA00FCB59E}"/>
              </a:ext>
            </a:extLst>
          </p:cNvPr>
          <p:cNvSpPr txBox="1"/>
          <p:nvPr/>
        </p:nvSpPr>
        <p:spPr>
          <a:xfrm>
            <a:off x="4897499" y="1848274"/>
            <a:ext cx="4038600" cy="338554"/>
          </a:xfrm>
          <a:prstGeom prst="rect">
            <a:avLst/>
          </a:prstGeom>
          <a:noFill/>
        </p:spPr>
        <p:txBody>
          <a:bodyPr wrap="square" rtlCol="0">
            <a:spAutoFit/>
          </a:bodyPr>
          <a:lstStyle/>
          <a:p>
            <a:pPr algn="ctr"/>
            <a:r>
              <a:rPr lang="bg-BG" sz="1600" dirty="0">
                <a:solidFill>
                  <a:srgbClr val="BC4E21"/>
                </a:solidFill>
              </a:rPr>
              <a:t>При </a:t>
            </a:r>
            <a:r>
              <a:rPr lang="bg-BG" sz="1600" b="1" dirty="0" smtClean="0">
                <a:solidFill>
                  <a:srgbClr val="BC4E21"/>
                </a:solidFill>
              </a:rPr>
              <a:t>рабощещ</a:t>
            </a:r>
            <a:r>
              <a:rPr lang="bg-BG" sz="1600" dirty="0" smtClean="0">
                <a:solidFill>
                  <a:srgbClr val="BC4E21"/>
                </a:solidFill>
              </a:rPr>
              <a:t> завод</a:t>
            </a:r>
          </a:p>
        </p:txBody>
      </p:sp>
      <p:sp>
        <p:nvSpPr>
          <p:cNvPr id="14" name="TextBox 13"/>
          <p:cNvSpPr txBox="1"/>
          <p:nvPr/>
        </p:nvSpPr>
        <p:spPr>
          <a:xfrm>
            <a:off x="533400" y="964905"/>
            <a:ext cx="8526417" cy="646331"/>
          </a:xfrm>
          <a:prstGeom prst="rect">
            <a:avLst/>
          </a:prstGeom>
          <a:noFill/>
        </p:spPr>
        <p:txBody>
          <a:bodyPr wrap="square" rtlCol="0">
            <a:spAutoFit/>
          </a:bodyPr>
          <a:lstStyle/>
          <a:p>
            <a:r>
              <a:rPr lang="ru-RU" b="1" dirty="0">
                <a:latin typeface="+mj-lt"/>
              </a:rPr>
              <a:t>Няма разлика в количеството на отделяния замърсител, когато инсталацията работи или не </a:t>
            </a:r>
            <a:r>
              <a:rPr lang="ru-RU" b="1" dirty="0" smtClean="0">
                <a:latin typeface="+mj-lt"/>
              </a:rPr>
              <a:t>работи</a:t>
            </a:r>
          </a:p>
        </p:txBody>
      </p:sp>
    </p:spTree>
    <p:extLst>
      <p:ext uri="{BB962C8B-B14F-4D97-AF65-F5344CB8AC3E}">
        <p14:creationId xmlns:p14="http://schemas.microsoft.com/office/powerpoint/2010/main" val="95049580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ru-RU" dirty="0" smtClean="0"/>
              <a:t>Измерван</a:t>
            </a:r>
            <a:r>
              <a:rPr lang="bg-BG" dirty="0" smtClean="0"/>
              <a:t>ия чрез</a:t>
            </a:r>
            <a:r>
              <a:rPr lang="ru-RU" dirty="0" smtClean="0"/>
              <a:t> </a:t>
            </a:r>
            <a:r>
              <a:rPr lang="ru-RU" dirty="0"/>
              <a:t>системата за </a:t>
            </a:r>
            <a:r>
              <a:rPr lang="ru-RU" dirty="0" smtClean="0"/>
              <a:t>мониторинг</a:t>
            </a:r>
            <a:endParaRPr lang="bg-BG" b="0" dirty="0"/>
          </a:p>
        </p:txBody>
      </p:sp>
      <p:sp>
        <p:nvSpPr>
          <p:cNvPr id="5" name="Content Placeholder 2"/>
          <p:cNvSpPr>
            <a:spLocks noGrp="1"/>
          </p:cNvSpPr>
          <p:nvPr>
            <p:ph sz="quarter" idx="10"/>
          </p:nvPr>
        </p:nvSpPr>
        <p:spPr>
          <a:xfrm>
            <a:off x="876299" y="1330048"/>
            <a:ext cx="7391400" cy="578404"/>
          </a:xfrm>
        </p:spPr>
        <p:txBody>
          <a:bodyPr>
            <a:normAutofit fontScale="92500" lnSpcReduction="10000"/>
          </a:bodyPr>
          <a:lstStyle/>
          <a:p>
            <a:pPr marL="0" indent="0">
              <a:buNone/>
            </a:pPr>
            <a:r>
              <a:rPr lang="bg-BG" sz="1800" dirty="0" smtClean="0"/>
              <a:t>По време на пожара на общинското сметище </a:t>
            </a:r>
            <a:r>
              <a:rPr lang="bg-BG" sz="1800" smtClean="0"/>
              <a:t>през ноември</a:t>
            </a:r>
            <a:r>
              <a:rPr lang="en-US" sz="1800" dirty="0" smtClean="0"/>
              <a:t> 2018</a:t>
            </a:r>
            <a:r>
              <a:rPr lang="bg-BG" sz="1800" dirty="0" smtClean="0"/>
              <a:t> г. са измерени </a:t>
            </a:r>
            <a:r>
              <a:rPr lang="ru-RU" sz="1800" dirty="0" smtClean="0"/>
              <a:t>скокове в отчетените замърсители</a:t>
            </a:r>
            <a:endParaRPr lang="en-US" sz="1800" dirty="0" smtClean="0"/>
          </a:p>
          <a:p>
            <a:pPr lvl="1"/>
            <a:endParaRPr lang="en-US" sz="1600" dirty="0"/>
          </a:p>
          <a:p>
            <a:pPr lvl="1"/>
            <a:endParaRPr lang="en-US" sz="1600" dirty="0" smtClean="0"/>
          </a:p>
          <a:p>
            <a:pPr lvl="1"/>
            <a:endParaRPr lang="en-US" sz="1600" dirty="0" smtClean="0"/>
          </a:p>
          <a:p>
            <a:pPr lvl="1"/>
            <a:endParaRPr lang="en-US" sz="1600" dirty="0" smtClean="0"/>
          </a:p>
        </p:txBody>
      </p:sp>
      <p:pic>
        <p:nvPicPr>
          <p:cNvPr id="6" name="Picture 5"/>
          <p:cNvPicPr>
            <a:picLocks noChangeAspect="1"/>
          </p:cNvPicPr>
          <p:nvPr/>
        </p:nvPicPr>
        <p:blipFill>
          <a:blip r:embed="rId2"/>
          <a:stretch>
            <a:fillRect/>
          </a:stretch>
        </p:blipFill>
        <p:spPr>
          <a:xfrm>
            <a:off x="43773" y="2190748"/>
            <a:ext cx="3135137" cy="2272191"/>
          </a:xfrm>
          <a:prstGeom prst="rect">
            <a:avLst/>
          </a:prstGeom>
        </p:spPr>
      </p:pic>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867400" y="2204559"/>
            <a:ext cx="3200401" cy="2272191"/>
          </a:xfrm>
          <a:prstGeom prst="rect">
            <a:avLst/>
          </a:prstGeom>
        </p:spPr>
      </p:pic>
      <p:pic>
        <p:nvPicPr>
          <p:cNvPr id="8" name="Picture 7"/>
          <p:cNvPicPr>
            <a:picLocks noChangeAspect="1"/>
          </p:cNvPicPr>
          <p:nvPr/>
        </p:nvPicPr>
        <p:blipFill>
          <a:blip r:embed="rId5"/>
          <a:stretch>
            <a:fillRect/>
          </a:stretch>
        </p:blipFill>
        <p:spPr>
          <a:xfrm>
            <a:off x="2971801" y="2190749"/>
            <a:ext cx="3200400" cy="2272191"/>
          </a:xfrm>
          <a:prstGeom prst="rect">
            <a:avLst/>
          </a:prstGeom>
        </p:spPr>
      </p:pic>
    </p:spTree>
    <p:extLst>
      <p:ext uri="{BB962C8B-B14F-4D97-AF65-F5344CB8AC3E}">
        <p14:creationId xmlns:p14="http://schemas.microsoft.com/office/powerpoint/2010/main" val="9232540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4344" y="187984"/>
            <a:ext cx="4343400" cy="743049"/>
          </a:xfrm>
        </p:spPr>
        <p:txBody>
          <a:bodyPr>
            <a:normAutofit/>
          </a:bodyPr>
          <a:lstStyle/>
          <a:p>
            <a:r>
              <a:rPr lang="bg-BG" dirty="0"/>
              <a:t>Глобален </a:t>
            </a:r>
            <a:r>
              <a:rPr lang="bg-BG" dirty="0" smtClean="0"/>
              <a:t>отпечатък</a:t>
            </a:r>
            <a:endParaRPr lang="en-CA" b="0" dirty="0"/>
          </a:p>
        </p:txBody>
      </p:sp>
      <p:sp>
        <p:nvSpPr>
          <p:cNvPr id="551" name="Rectangle 550"/>
          <p:cNvSpPr/>
          <p:nvPr/>
        </p:nvSpPr>
        <p:spPr>
          <a:xfrm>
            <a:off x="299453" y="4314311"/>
            <a:ext cx="1465043" cy="646331"/>
          </a:xfrm>
          <a:prstGeom prst="rect">
            <a:avLst/>
          </a:prstGeom>
        </p:spPr>
        <p:txBody>
          <a:bodyPr wrap="square">
            <a:spAutoFit/>
          </a:bodyPr>
          <a:lstStyle/>
          <a:p>
            <a:pPr defTabSz="457200"/>
            <a:r>
              <a:rPr lang="bg-BG" sz="900" dirty="0" smtClean="0">
                <a:solidFill>
                  <a:srgbClr val="404040"/>
                </a:solidFill>
                <a:latin typeface="Arial Narrow" pitchFamily="34" charset="0"/>
              </a:rPr>
              <a:t>Предприятия с </a:t>
            </a:r>
            <a:r>
              <a:rPr lang="en-US" sz="900" dirty="0" err="1" smtClean="0">
                <a:solidFill>
                  <a:srgbClr val="404040"/>
                </a:solidFill>
                <a:latin typeface="Arial Narrow" pitchFamily="34" charset="0"/>
              </a:rPr>
              <a:t>IATF</a:t>
            </a:r>
            <a:r>
              <a:rPr lang="en-US" sz="900" dirty="0" smtClean="0">
                <a:solidFill>
                  <a:srgbClr val="404040"/>
                </a:solidFill>
                <a:latin typeface="Arial Narrow" pitchFamily="34" charset="0"/>
              </a:rPr>
              <a:t> 16949</a:t>
            </a:r>
          </a:p>
          <a:p>
            <a:pPr defTabSz="457200"/>
            <a:r>
              <a:rPr lang="bg-BG" sz="900" dirty="0">
                <a:solidFill>
                  <a:srgbClr val="404040"/>
                </a:solidFill>
                <a:latin typeface="Arial Narrow" pitchFamily="34" charset="0"/>
              </a:rPr>
              <a:t>Предприятия с </a:t>
            </a:r>
            <a:r>
              <a:rPr lang="en-US" sz="900" dirty="0" smtClean="0">
                <a:solidFill>
                  <a:srgbClr val="404040"/>
                </a:solidFill>
                <a:latin typeface="Arial Narrow" pitchFamily="34" charset="0"/>
              </a:rPr>
              <a:t>ISO 9001</a:t>
            </a:r>
            <a:endParaRPr lang="en-US" sz="900" dirty="0">
              <a:solidFill>
                <a:srgbClr val="404040"/>
              </a:solidFill>
              <a:latin typeface="Arial Narrow" pitchFamily="34" charset="0"/>
            </a:endParaRPr>
          </a:p>
          <a:p>
            <a:pPr defTabSz="457200"/>
            <a:r>
              <a:rPr lang="bg-BG" sz="900" dirty="0">
                <a:solidFill>
                  <a:srgbClr val="404040"/>
                </a:solidFill>
                <a:latin typeface="Arial Narrow" pitchFamily="34" charset="0"/>
              </a:rPr>
              <a:t>Предприятия с </a:t>
            </a:r>
            <a:r>
              <a:rPr lang="en-US" sz="900" dirty="0" smtClean="0">
                <a:solidFill>
                  <a:srgbClr val="404040"/>
                </a:solidFill>
                <a:latin typeface="Arial Narrow" pitchFamily="34" charset="0"/>
              </a:rPr>
              <a:t>ISO 14001</a:t>
            </a:r>
            <a:endParaRPr lang="en-US" sz="900" dirty="0">
              <a:solidFill>
                <a:srgbClr val="404040"/>
              </a:solidFill>
              <a:latin typeface="Arial Narrow" pitchFamily="34" charset="0"/>
            </a:endParaRPr>
          </a:p>
          <a:p>
            <a:pPr defTabSz="457200"/>
            <a:r>
              <a:rPr lang="bg-BG" sz="900" dirty="0">
                <a:solidFill>
                  <a:srgbClr val="404040"/>
                </a:solidFill>
                <a:latin typeface="Arial Narrow" pitchFamily="34" charset="0"/>
              </a:rPr>
              <a:t>Предприятия с </a:t>
            </a:r>
            <a:r>
              <a:rPr lang="en-US" sz="900" dirty="0" smtClean="0">
                <a:solidFill>
                  <a:srgbClr val="404040"/>
                </a:solidFill>
                <a:latin typeface="Arial Narrow" pitchFamily="34" charset="0"/>
              </a:rPr>
              <a:t>ISO 45001</a:t>
            </a:r>
            <a:endParaRPr lang="en-US" sz="900" dirty="0">
              <a:solidFill>
                <a:srgbClr val="404040"/>
              </a:solidFill>
              <a:latin typeface="Arial Narrow" pitchFamily="34" charset="0"/>
            </a:endParaRPr>
          </a:p>
        </p:txBody>
      </p:sp>
      <p:grpSp>
        <p:nvGrpSpPr>
          <p:cNvPr id="552" name="Group 551"/>
          <p:cNvGrpSpPr/>
          <p:nvPr/>
        </p:nvGrpSpPr>
        <p:grpSpPr>
          <a:xfrm flipV="1">
            <a:off x="220510" y="4375189"/>
            <a:ext cx="117054" cy="117053"/>
            <a:chOff x="1245319" y="2595044"/>
            <a:chExt cx="241609" cy="241606"/>
          </a:xfrm>
        </p:grpSpPr>
        <p:sp>
          <p:nvSpPr>
            <p:cNvPr id="553" name="Oval 552">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554" name="TextBox 553">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49</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555" name="Group 554"/>
          <p:cNvGrpSpPr/>
          <p:nvPr/>
        </p:nvGrpSpPr>
        <p:grpSpPr>
          <a:xfrm flipV="1">
            <a:off x="225080" y="4517174"/>
            <a:ext cx="117054" cy="117053"/>
            <a:chOff x="1245319" y="2595044"/>
            <a:chExt cx="241609" cy="241606"/>
          </a:xfrm>
        </p:grpSpPr>
        <p:sp>
          <p:nvSpPr>
            <p:cNvPr id="556" name="Oval 555">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557" name="TextBox 556">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13</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558" name="Group 557"/>
          <p:cNvGrpSpPr/>
          <p:nvPr/>
        </p:nvGrpSpPr>
        <p:grpSpPr>
          <a:xfrm flipV="1">
            <a:off x="225081" y="4659159"/>
            <a:ext cx="117054" cy="117053"/>
            <a:chOff x="1245319" y="2595044"/>
            <a:chExt cx="241609" cy="241606"/>
          </a:xfrm>
        </p:grpSpPr>
        <p:sp>
          <p:nvSpPr>
            <p:cNvPr id="559" name="Oval 558">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560" name="TextBox 559">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55</a:t>
              </a:r>
              <a:endParaRPr lang="en-US" sz="600" b="1" dirty="0">
                <a:solidFill>
                  <a:schemeClr val="bg1"/>
                </a:solidFill>
                <a:latin typeface="Arial" panose="020B0604020202020204" pitchFamily="34" charset="0"/>
                <a:cs typeface="Arial" panose="020B0604020202020204" pitchFamily="34" charset="0"/>
              </a:endParaRPr>
            </a:p>
          </p:txBody>
        </p:sp>
      </p:grpSp>
      <p:sp>
        <p:nvSpPr>
          <p:cNvPr id="614" name="Oval 613">
            <a:extLst>
              <a:ext uri="{FF2B5EF4-FFF2-40B4-BE49-F238E27FC236}">
                <a16:creationId xmlns:a16="http://schemas.microsoft.com/office/drawing/2014/main" id="{BF546840-543D-0A48-971D-D8277A5908E6}"/>
              </a:ext>
            </a:extLst>
          </p:cNvPr>
          <p:cNvSpPr>
            <a:spLocks noChangeAspect="1"/>
          </p:cNvSpPr>
          <p:nvPr/>
        </p:nvSpPr>
        <p:spPr>
          <a:xfrm>
            <a:off x="7467600" y="4786783"/>
            <a:ext cx="59436" cy="5943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p>
        </p:txBody>
      </p:sp>
      <p:sp>
        <p:nvSpPr>
          <p:cNvPr id="615" name="Text Box 6">
            <a:extLst>
              <a:ext uri="{FF2B5EF4-FFF2-40B4-BE49-F238E27FC236}">
                <a16:creationId xmlns:a16="http://schemas.microsoft.com/office/drawing/2014/main" id="{6F5B6020-0031-C44B-926B-31CB1ED3FDF6}"/>
              </a:ext>
            </a:extLst>
          </p:cNvPr>
          <p:cNvSpPr txBox="1">
            <a:spLocks noChangeArrowheads="1"/>
          </p:cNvSpPr>
          <p:nvPr/>
        </p:nvSpPr>
        <p:spPr bwMode="auto">
          <a:xfrm>
            <a:off x="7620000" y="4762640"/>
            <a:ext cx="1278525"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defTabSz="457200" eaLnBrk="1" hangingPunct="1">
              <a:spcBef>
                <a:spcPct val="50000"/>
              </a:spcBef>
            </a:pPr>
            <a:r>
              <a:rPr lang="bg-BG" sz="700" dirty="0" smtClean="0">
                <a:solidFill>
                  <a:schemeClr val="tx1"/>
                </a:solidFill>
                <a:latin typeface="Arial Narrow" pitchFamily="34" charset="0"/>
              </a:rPr>
              <a:t>Брой производствени предприятия.</a:t>
            </a:r>
            <a:endParaRPr lang="en-US" sz="700" dirty="0">
              <a:solidFill>
                <a:schemeClr val="tx1"/>
              </a:solidFill>
              <a:latin typeface="Arial Narrow" pitchFamily="34" charset="0"/>
            </a:endParaRPr>
          </a:p>
        </p:txBody>
      </p:sp>
      <p:sp>
        <p:nvSpPr>
          <p:cNvPr id="4" name="Line 26" descr="Horizontal dunkel"/>
          <p:cNvSpPr>
            <a:spLocks noChangeShapeType="1"/>
          </p:cNvSpPr>
          <p:nvPr>
            <p:custDataLst>
              <p:tags r:id="rId1"/>
            </p:custDataLst>
          </p:nvPr>
        </p:nvSpPr>
        <p:spPr bwMode="auto">
          <a:xfrm>
            <a:off x="1646398" y="2355489"/>
            <a:ext cx="2953" cy="664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 name="Freeform 4"/>
          <p:cNvSpPr>
            <a:spLocks/>
          </p:cNvSpPr>
          <p:nvPr>
            <p:custDataLst>
              <p:tags r:id="rId2"/>
            </p:custDataLst>
          </p:nvPr>
        </p:nvSpPr>
        <p:spPr bwMode="auto">
          <a:xfrm>
            <a:off x="1649351" y="2353274"/>
            <a:ext cx="2953" cy="38754"/>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6" name="Group 5"/>
          <p:cNvGrpSpPr/>
          <p:nvPr/>
        </p:nvGrpSpPr>
        <p:grpSpPr>
          <a:xfrm>
            <a:off x="678739" y="1270456"/>
            <a:ext cx="7576223" cy="3438769"/>
            <a:chOff x="1676634" y="1247855"/>
            <a:chExt cx="7040562" cy="3195638"/>
          </a:xfrm>
        </p:grpSpPr>
        <p:sp>
          <p:nvSpPr>
            <p:cNvPr id="7" name="Freeform 6"/>
            <p:cNvSpPr>
              <a:spLocks/>
            </p:cNvSpPr>
            <p:nvPr>
              <p:custDataLst>
                <p:tags r:id="rId3"/>
              </p:custDataLst>
            </p:nvPr>
          </p:nvSpPr>
          <p:spPr bwMode="auto">
            <a:xfrm>
              <a:off x="3057758" y="4395868"/>
              <a:ext cx="33338" cy="42863"/>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 name="Freeform 7"/>
            <p:cNvSpPr>
              <a:spLocks/>
            </p:cNvSpPr>
            <p:nvPr>
              <p:custDataLst>
                <p:tags r:id="rId4"/>
              </p:custDataLst>
            </p:nvPr>
          </p:nvSpPr>
          <p:spPr bwMode="auto">
            <a:xfrm>
              <a:off x="3075221" y="4400630"/>
              <a:ext cx="23812" cy="42863"/>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 name="Freeform 8"/>
            <p:cNvSpPr>
              <a:spLocks/>
            </p:cNvSpPr>
            <p:nvPr>
              <p:custDataLst>
                <p:tags r:id="rId5"/>
              </p:custDataLst>
            </p:nvPr>
          </p:nvSpPr>
          <p:spPr bwMode="auto">
            <a:xfrm>
              <a:off x="3748322" y="4376818"/>
              <a:ext cx="53975" cy="44054"/>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 name="Freeform 9"/>
            <p:cNvSpPr>
              <a:spLocks/>
            </p:cNvSpPr>
            <p:nvPr>
              <p:custDataLst>
                <p:tags r:id="rId6"/>
              </p:custDataLst>
            </p:nvPr>
          </p:nvSpPr>
          <p:spPr bwMode="auto">
            <a:xfrm>
              <a:off x="3075221" y="4400630"/>
              <a:ext cx="23812" cy="42863"/>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 name="Freeform 10"/>
            <p:cNvSpPr>
              <a:spLocks/>
            </p:cNvSpPr>
            <p:nvPr>
              <p:custDataLst>
                <p:tags r:id="rId7"/>
              </p:custDataLst>
            </p:nvPr>
          </p:nvSpPr>
          <p:spPr bwMode="auto">
            <a:xfrm>
              <a:off x="3040297" y="4385153"/>
              <a:ext cx="34925" cy="44053"/>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 name="Freeform 11"/>
            <p:cNvSpPr>
              <a:spLocks/>
            </p:cNvSpPr>
            <p:nvPr>
              <p:custDataLst>
                <p:tags r:id="rId8"/>
              </p:custDataLst>
            </p:nvPr>
          </p:nvSpPr>
          <p:spPr bwMode="auto">
            <a:xfrm>
              <a:off x="3040297" y="4369674"/>
              <a:ext cx="22225" cy="45244"/>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 name="Freeform 12"/>
            <p:cNvSpPr>
              <a:spLocks/>
            </p:cNvSpPr>
            <p:nvPr>
              <p:custDataLst>
                <p:tags r:id="rId9"/>
              </p:custDataLst>
            </p:nvPr>
          </p:nvSpPr>
          <p:spPr bwMode="auto">
            <a:xfrm>
              <a:off x="3010133" y="4364912"/>
              <a:ext cx="25400" cy="45244"/>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 name="Freeform 13"/>
            <p:cNvSpPr>
              <a:spLocks/>
            </p:cNvSpPr>
            <p:nvPr>
              <p:custDataLst>
                <p:tags r:id="rId10"/>
              </p:custDataLst>
            </p:nvPr>
          </p:nvSpPr>
          <p:spPr bwMode="auto">
            <a:xfrm>
              <a:off x="2984734" y="4357768"/>
              <a:ext cx="28575" cy="44054"/>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 name="Freeform 14"/>
            <p:cNvSpPr>
              <a:spLocks/>
            </p:cNvSpPr>
            <p:nvPr>
              <p:custDataLst>
                <p:tags r:id="rId11"/>
              </p:custDataLst>
            </p:nvPr>
          </p:nvSpPr>
          <p:spPr bwMode="auto">
            <a:xfrm>
              <a:off x="3018072" y="4380390"/>
              <a:ext cx="34925" cy="42863"/>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 name="Freeform 15"/>
            <p:cNvSpPr>
              <a:spLocks/>
            </p:cNvSpPr>
            <p:nvPr>
              <p:custDataLst>
                <p:tags r:id="rId12"/>
              </p:custDataLst>
            </p:nvPr>
          </p:nvSpPr>
          <p:spPr bwMode="auto">
            <a:xfrm>
              <a:off x="3056171" y="4336337"/>
              <a:ext cx="123825" cy="75010"/>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17" name="Group 16"/>
            <p:cNvGrpSpPr>
              <a:grpSpLocks/>
            </p:cNvGrpSpPr>
            <p:nvPr>
              <p:custDataLst>
                <p:tags r:id="rId13"/>
              </p:custDataLst>
            </p:nvPr>
          </p:nvGrpSpPr>
          <p:grpSpPr bwMode="auto">
            <a:xfrm>
              <a:off x="2868847" y="3629106"/>
              <a:ext cx="384175" cy="773906"/>
              <a:chOff x="1589" y="3126"/>
              <a:chExt cx="290" cy="657"/>
            </a:xfrm>
          </p:grpSpPr>
          <p:sp>
            <p:nvSpPr>
              <p:cNvPr id="548" name="Freeform 547"/>
              <p:cNvSpPr>
                <a:spLocks/>
              </p:cNvSpPr>
              <p:nvPr/>
            </p:nvSpPr>
            <p:spPr bwMode="auto">
              <a:xfrm>
                <a:off x="1748" y="3531"/>
                <a:ext cx="15" cy="17"/>
              </a:xfrm>
              <a:custGeom>
                <a:avLst/>
                <a:gdLst>
                  <a:gd name="T0" fmla="*/ 0 w 46"/>
                  <a:gd name="T1" fmla="*/ 0 h 51"/>
                  <a:gd name="T2" fmla="*/ 0 w 46"/>
                  <a:gd name="T3" fmla="*/ 0 h 51"/>
                  <a:gd name="T4" fmla="*/ 0 w 46"/>
                  <a:gd name="T5" fmla="*/ 0 h 51"/>
                  <a:gd name="T6" fmla="*/ 0 w 46"/>
                  <a:gd name="T7" fmla="*/ 0 h 51"/>
                  <a:gd name="T8" fmla="*/ 0 w 46"/>
                  <a:gd name="T9" fmla="*/ 0 h 51"/>
                  <a:gd name="T10" fmla="*/ 0 w 46"/>
                  <a:gd name="T11" fmla="*/ 0 h 51"/>
                  <a:gd name="T12" fmla="*/ 0 w 46"/>
                  <a:gd name="T13" fmla="*/ 0 h 51"/>
                  <a:gd name="T14" fmla="*/ 0 w 46"/>
                  <a:gd name="T15" fmla="*/ 0 h 51"/>
                  <a:gd name="T16" fmla="*/ 0 w 46"/>
                  <a:gd name="T17" fmla="*/ 0 h 51"/>
                  <a:gd name="T18" fmla="*/ 0 w 46"/>
                  <a:gd name="T19" fmla="*/ 0 h 51"/>
                  <a:gd name="T20" fmla="*/ 0 w 46"/>
                  <a:gd name="T21" fmla="*/ 0 h 51"/>
                  <a:gd name="T22" fmla="*/ 0 w 46"/>
                  <a:gd name="T23" fmla="*/ 0 h 51"/>
                  <a:gd name="T24" fmla="*/ 0 w 46"/>
                  <a:gd name="T25" fmla="*/ 0 h 51"/>
                  <a:gd name="T26" fmla="*/ 0 w 46"/>
                  <a:gd name="T27" fmla="*/ 0 h 51"/>
                  <a:gd name="T28" fmla="*/ 0 w 46"/>
                  <a:gd name="T29" fmla="*/ 0 h 51"/>
                  <a:gd name="T30" fmla="*/ 0 w 46"/>
                  <a:gd name="T31" fmla="*/ 0 h 51"/>
                  <a:gd name="T32" fmla="*/ 0 w 46"/>
                  <a:gd name="T33" fmla="*/ 0 h 51"/>
                  <a:gd name="T34" fmla="*/ 0 w 46"/>
                  <a:gd name="T35" fmla="*/ 0 h 51"/>
                  <a:gd name="T36" fmla="*/ 0 w 46"/>
                  <a:gd name="T37" fmla="*/ 0 h 51"/>
                  <a:gd name="T38" fmla="*/ 0 w 46"/>
                  <a:gd name="T39" fmla="*/ 0 h 51"/>
                  <a:gd name="T40" fmla="*/ 0 w 46"/>
                  <a:gd name="T41" fmla="*/ 0 h 51"/>
                  <a:gd name="T42" fmla="*/ 0 w 46"/>
                  <a:gd name="T43" fmla="*/ 0 h 51"/>
                  <a:gd name="T44" fmla="*/ 0 w 46"/>
                  <a:gd name="T45" fmla="*/ 0 h 51"/>
                  <a:gd name="T46" fmla="*/ 0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9" name="Freeform 548"/>
              <p:cNvSpPr>
                <a:spLocks/>
              </p:cNvSpPr>
              <p:nvPr/>
            </p:nvSpPr>
            <p:spPr bwMode="auto">
              <a:xfrm>
                <a:off x="1759" y="3730"/>
                <a:ext cx="63" cy="53"/>
              </a:xfrm>
              <a:custGeom>
                <a:avLst/>
                <a:gdLst>
                  <a:gd name="T0" fmla="*/ 0 w 192"/>
                  <a:gd name="T1" fmla="*/ 0 h 158"/>
                  <a:gd name="T2" fmla="*/ 0 w 192"/>
                  <a:gd name="T3" fmla="*/ 0 h 158"/>
                  <a:gd name="T4" fmla="*/ 0 w 192"/>
                  <a:gd name="T5" fmla="*/ 0 h 158"/>
                  <a:gd name="T6" fmla="*/ 0 w 192"/>
                  <a:gd name="T7" fmla="*/ 0 h 158"/>
                  <a:gd name="T8" fmla="*/ 0 w 192"/>
                  <a:gd name="T9" fmla="*/ 0 h 158"/>
                  <a:gd name="T10" fmla="*/ 0 w 192"/>
                  <a:gd name="T11" fmla="*/ 0 h 158"/>
                  <a:gd name="T12" fmla="*/ 0 w 192"/>
                  <a:gd name="T13" fmla="*/ 0 h 158"/>
                  <a:gd name="T14" fmla="*/ 0 w 192"/>
                  <a:gd name="T15" fmla="*/ 0 h 158"/>
                  <a:gd name="T16" fmla="*/ 0 w 192"/>
                  <a:gd name="T17" fmla="*/ 0 h 158"/>
                  <a:gd name="T18" fmla="*/ 0 w 192"/>
                  <a:gd name="T19" fmla="*/ 1 h 158"/>
                  <a:gd name="T20" fmla="*/ 0 w 192"/>
                  <a:gd name="T21" fmla="*/ 1 h 158"/>
                  <a:gd name="T22" fmla="*/ 0 w 192"/>
                  <a:gd name="T23" fmla="*/ 1 h 158"/>
                  <a:gd name="T24" fmla="*/ 0 w 192"/>
                  <a:gd name="T25" fmla="*/ 1 h 158"/>
                  <a:gd name="T26" fmla="*/ 0 w 192"/>
                  <a:gd name="T27" fmla="*/ 1 h 158"/>
                  <a:gd name="T28" fmla="*/ 0 w 192"/>
                  <a:gd name="T29" fmla="*/ 1 h 158"/>
                  <a:gd name="T30" fmla="*/ 0 w 192"/>
                  <a:gd name="T31" fmla="*/ 1 h 158"/>
                  <a:gd name="T32" fmla="*/ 0 w 192"/>
                  <a:gd name="T33" fmla="*/ 1 h 158"/>
                  <a:gd name="T34" fmla="*/ 1 w 192"/>
                  <a:gd name="T35" fmla="*/ 1 h 158"/>
                  <a:gd name="T36" fmla="*/ 1 w 192"/>
                  <a:gd name="T37" fmla="*/ 1 h 158"/>
                  <a:gd name="T38" fmla="*/ 1 w 192"/>
                  <a:gd name="T39" fmla="*/ 1 h 158"/>
                  <a:gd name="T40" fmla="*/ 1 w 192"/>
                  <a:gd name="T41" fmla="*/ 1 h 158"/>
                  <a:gd name="T42" fmla="*/ 1 w 192"/>
                  <a:gd name="T43" fmla="*/ 1 h 158"/>
                  <a:gd name="T44" fmla="*/ 1 w 192"/>
                  <a:gd name="T45" fmla="*/ 1 h 158"/>
                  <a:gd name="T46" fmla="*/ 1 w 192"/>
                  <a:gd name="T47" fmla="*/ 1 h 158"/>
                  <a:gd name="T48" fmla="*/ 1 w 192"/>
                  <a:gd name="T49" fmla="*/ 1 h 158"/>
                  <a:gd name="T50" fmla="*/ 0 w 192"/>
                  <a:gd name="T51" fmla="*/ 1 h 158"/>
                  <a:gd name="T52" fmla="*/ 0 w 192"/>
                  <a:gd name="T53" fmla="*/ 0 h 158"/>
                  <a:gd name="T54" fmla="*/ 0 w 192"/>
                  <a:gd name="T55" fmla="*/ 0 h 158"/>
                  <a:gd name="T56" fmla="*/ 0 w 192"/>
                  <a:gd name="T57" fmla="*/ 0 h 158"/>
                  <a:gd name="T58" fmla="*/ 0 w 192"/>
                  <a:gd name="T59" fmla="*/ 0 h 158"/>
                  <a:gd name="T60" fmla="*/ 0 w 192"/>
                  <a:gd name="T61" fmla="*/ 0 h 158"/>
                  <a:gd name="T62" fmla="*/ 0 w 192"/>
                  <a:gd name="T63" fmla="*/ 0 h 158"/>
                  <a:gd name="T64" fmla="*/ 0 w 192"/>
                  <a:gd name="T65" fmla="*/ 0 h 158"/>
                  <a:gd name="T66" fmla="*/ 0 w 192"/>
                  <a:gd name="T67" fmla="*/ 0 h 158"/>
                  <a:gd name="T68" fmla="*/ 0 w 192"/>
                  <a:gd name="T69" fmla="*/ 0 h 158"/>
                  <a:gd name="T70" fmla="*/ 0 w 192"/>
                  <a:gd name="T71" fmla="*/ 0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50" name="Freeform 549"/>
              <p:cNvSpPr>
                <a:spLocks/>
              </p:cNvSpPr>
              <p:nvPr/>
            </p:nvSpPr>
            <p:spPr bwMode="auto">
              <a:xfrm>
                <a:off x="1589" y="3126"/>
                <a:ext cx="290" cy="606"/>
              </a:xfrm>
              <a:custGeom>
                <a:avLst/>
                <a:gdLst>
                  <a:gd name="T0" fmla="*/ 3 w 884"/>
                  <a:gd name="T1" fmla="*/ 2 h 1818"/>
                  <a:gd name="T2" fmla="*/ 3 w 884"/>
                  <a:gd name="T3" fmla="*/ 1 h 1818"/>
                  <a:gd name="T4" fmla="*/ 3 w 884"/>
                  <a:gd name="T5" fmla="*/ 1 h 1818"/>
                  <a:gd name="T6" fmla="*/ 3 w 884"/>
                  <a:gd name="T7" fmla="*/ 1 h 1818"/>
                  <a:gd name="T8" fmla="*/ 3 w 884"/>
                  <a:gd name="T9" fmla="*/ 1 h 1818"/>
                  <a:gd name="T10" fmla="*/ 3 w 884"/>
                  <a:gd name="T11" fmla="*/ 1 h 1818"/>
                  <a:gd name="T12" fmla="*/ 3 w 884"/>
                  <a:gd name="T13" fmla="*/ 1 h 1818"/>
                  <a:gd name="T14" fmla="*/ 2 w 884"/>
                  <a:gd name="T15" fmla="*/ 1 h 1818"/>
                  <a:gd name="T16" fmla="*/ 3 w 884"/>
                  <a:gd name="T17" fmla="*/ 1 h 1818"/>
                  <a:gd name="T18" fmla="*/ 2 w 884"/>
                  <a:gd name="T19" fmla="*/ 1 h 1818"/>
                  <a:gd name="T20" fmla="*/ 2 w 884"/>
                  <a:gd name="T21" fmla="*/ 0 h 1818"/>
                  <a:gd name="T22" fmla="*/ 1 w 884"/>
                  <a:gd name="T23" fmla="*/ 0 h 1818"/>
                  <a:gd name="T24" fmla="*/ 1 w 884"/>
                  <a:gd name="T25" fmla="*/ 0 h 1818"/>
                  <a:gd name="T26" fmla="*/ 1 w 884"/>
                  <a:gd name="T27" fmla="*/ 0 h 1818"/>
                  <a:gd name="T28" fmla="*/ 1 w 884"/>
                  <a:gd name="T29" fmla="*/ 0 h 1818"/>
                  <a:gd name="T30" fmla="*/ 0 w 884"/>
                  <a:gd name="T31" fmla="*/ 0 h 1818"/>
                  <a:gd name="T32" fmla="*/ 0 w 884"/>
                  <a:gd name="T33" fmla="*/ 0 h 1818"/>
                  <a:gd name="T34" fmla="*/ 0 w 884"/>
                  <a:gd name="T35" fmla="*/ 1 h 1818"/>
                  <a:gd name="T36" fmla="*/ 0 w 884"/>
                  <a:gd name="T37" fmla="*/ 1 h 1818"/>
                  <a:gd name="T38" fmla="*/ 0 w 884"/>
                  <a:gd name="T39" fmla="*/ 1 h 1818"/>
                  <a:gd name="T40" fmla="*/ 0 w 884"/>
                  <a:gd name="T41" fmla="*/ 2 h 1818"/>
                  <a:gd name="T42" fmla="*/ 0 w 884"/>
                  <a:gd name="T43" fmla="*/ 3 h 1818"/>
                  <a:gd name="T44" fmla="*/ 0 w 884"/>
                  <a:gd name="T45" fmla="*/ 3 h 1818"/>
                  <a:gd name="T46" fmla="*/ 0 w 884"/>
                  <a:gd name="T47" fmla="*/ 3 h 1818"/>
                  <a:gd name="T48" fmla="*/ 0 w 884"/>
                  <a:gd name="T49" fmla="*/ 3 h 1818"/>
                  <a:gd name="T50" fmla="*/ 0 w 884"/>
                  <a:gd name="T51" fmla="*/ 3 h 1818"/>
                  <a:gd name="T52" fmla="*/ 0 w 884"/>
                  <a:gd name="T53" fmla="*/ 4 h 1818"/>
                  <a:gd name="T54" fmla="*/ 0 w 884"/>
                  <a:gd name="T55" fmla="*/ 4 h 1818"/>
                  <a:gd name="T56" fmla="*/ 0 w 884"/>
                  <a:gd name="T57" fmla="*/ 4 h 1818"/>
                  <a:gd name="T58" fmla="*/ 0 w 884"/>
                  <a:gd name="T59" fmla="*/ 5 h 1818"/>
                  <a:gd name="T60" fmla="*/ 1 w 884"/>
                  <a:gd name="T61" fmla="*/ 5 h 1818"/>
                  <a:gd name="T62" fmla="*/ 1 w 884"/>
                  <a:gd name="T63" fmla="*/ 6 h 1818"/>
                  <a:gd name="T64" fmla="*/ 1 w 884"/>
                  <a:gd name="T65" fmla="*/ 6 h 1818"/>
                  <a:gd name="T66" fmla="*/ 1 w 884"/>
                  <a:gd name="T67" fmla="*/ 6 h 1818"/>
                  <a:gd name="T68" fmla="*/ 1 w 884"/>
                  <a:gd name="T69" fmla="*/ 7 h 1818"/>
                  <a:gd name="T70" fmla="*/ 1 w 884"/>
                  <a:gd name="T71" fmla="*/ 7 h 1818"/>
                  <a:gd name="T72" fmla="*/ 1 w 884"/>
                  <a:gd name="T73" fmla="*/ 7 h 1818"/>
                  <a:gd name="T74" fmla="*/ 1 w 884"/>
                  <a:gd name="T75" fmla="*/ 7 h 1818"/>
                  <a:gd name="T76" fmla="*/ 2 w 884"/>
                  <a:gd name="T77" fmla="*/ 7 h 1818"/>
                  <a:gd name="T78" fmla="*/ 2 w 884"/>
                  <a:gd name="T79" fmla="*/ 7 h 1818"/>
                  <a:gd name="T80" fmla="*/ 2 w 884"/>
                  <a:gd name="T81" fmla="*/ 7 h 1818"/>
                  <a:gd name="T82" fmla="*/ 2 w 884"/>
                  <a:gd name="T83" fmla="*/ 7 h 1818"/>
                  <a:gd name="T84" fmla="*/ 2 w 884"/>
                  <a:gd name="T85" fmla="*/ 6 h 1818"/>
                  <a:gd name="T86" fmla="*/ 2 w 884"/>
                  <a:gd name="T87" fmla="*/ 6 h 1818"/>
                  <a:gd name="T88" fmla="*/ 2 w 884"/>
                  <a:gd name="T89" fmla="*/ 6 h 1818"/>
                  <a:gd name="T90" fmla="*/ 2 w 884"/>
                  <a:gd name="T91" fmla="*/ 6 h 1818"/>
                  <a:gd name="T92" fmla="*/ 2 w 884"/>
                  <a:gd name="T93" fmla="*/ 5 h 1818"/>
                  <a:gd name="T94" fmla="*/ 2 w 884"/>
                  <a:gd name="T95" fmla="*/ 5 h 1818"/>
                  <a:gd name="T96" fmla="*/ 2 w 884"/>
                  <a:gd name="T97" fmla="*/ 5 h 1818"/>
                  <a:gd name="T98" fmla="*/ 2 w 884"/>
                  <a:gd name="T99" fmla="*/ 5 h 1818"/>
                  <a:gd name="T100" fmla="*/ 2 w 884"/>
                  <a:gd name="T101" fmla="*/ 5 h 1818"/>
                  <a:gd name="T102" fmla="*/ 2 w 884"/>
                  <a:gd name="T103" fmla="*/ 4 h 1818"/>
                  <a:gd name="T104" fmla="*/ 2 w 884"/>
                  <a:gd name="T105" fmla="*/ 4 h 1818"/>
                  <a:gd name="T106" fmla="*/ 3 w 884"/>
                  <a:gd name="T107" fmla="*/ 4 h 1818"/>
                  <a:gd name="T108" fmla="*/ 3 w 884"/>
                  <a:gd name="T109" fmla="*/ 4 h 1818"/>
                  <a:gd name="T110" fmla="*/ 3 w 884"/>
                  <a:gd name="T111" fmla="*/ 4 h 1818"/>
                  <a:gd name="T112" fmla="*/ 3 w 884"/>
                  <a:gd name="T113" fmla="*/ 4 h 1818"/>
                  <a:gd name="T114" fmla="*/ 3 w 884"/>
                  <a:gd name="T115" fmla="*/ 3 h 1818"/>
                  <a:gd name="T116" fmla="*/ 3 w 884"/>
                  <a:gd name="T117" fmla="*/ 3 h 1818"/>
                  <a:gd name="T118" fmla="*/ 3 w 884"/>
                  <a:gd name="T119" fmla="*/ 2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18" name="Freeform 17"/>
            <p:cNvSpPr>
              <a:spLocks/>
            </p:cNvSpPr>
            <p:nvPr>
              <p:custDataLst>
                <p:tags r:id="rId14"/>
              </p:custDataLst>
            </p:nvPr>
          </p:nvSpPr>
          <p:spPr bwMode="auto">
            <a:xfrm>
              <a:off x="1676634" y="1933655"/>
              <a:ext cx="1381125" cy="577454"/>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19" name="Freeform 18"/>
            <p:cNvSpPr>
              <a:spLocks/>
            </p:cNvSpPr>
            <p:nvPr>
              <p:custDataLst>
                <p:tags r:id="rId15"/>
              </p:custDataLst>
            </p:nvPr>
          </p:nvSpPr>
          <p:spPr bwMode="auto">
            <a:xfrm>
              <a:off x="2510072" y="3096896"/>
              <a:ext cx="339725" cy="442913"/>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 name="Freeform 19"/>
            <p:cNvSpPr>
              <a:spLocks/>
            </p:cNvSpPr>
            <p:nvPr>
              <p:custDataLst>
                <p:tags r:id="rId16"/>
              </p:custDataLst>
            </p:nvPr>
          </p:nvSpPr>
          <p:spPr bwMode="auto">
            <a:xfrm>
              <a:off x="2810108" y="3519568"/>
              <a:ext cx="261938" cy="847725"/>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 name="Freeform 20"/>
            <p:cNvSpPr>
              <a:spLocks/>
            </p:cNvSpPr>
            <p:nvPr>
              <p:custDataLst>
                <p:tags r:id="rId17"/>
              </p:custDataLst>
            </p:nvPr>
          </p:nvSpPr>
          <p:spPr bwMode="auto">
            <a:xfrm>
              <a:off x="2714858" y="2981406"/>
              <a:ext cx="966788" cy="902494"/>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 name="Freeform 21"/>
            <p:cNvSpPr>
              <a:spLocks/>
            </p:cNvSpPr>
            <p:nvPr>
              <p:custDataLst>
                <p:tags r:id="rId18"/>
              </p:custDataLst>
            </p:nvPr>
          </p:nvSpPr>
          <p:spPr bwMode="auto">
            <a:xfrm>
              <a:off x="4827821" y="2190831"/>
              <a:ext cx="69850" cy="36910"/>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 name="Freeform 22"/>
            <p:cNvSpPr>
              <a:spLocks/>
            </p:cNvSpPr>
            <p:nvPr>
              <p:custDataLst>
                <p:tags r:id="rId19"/>
              </p:custDataLst>
            </p:nvPr>
          </p:nvSpPr>
          <p:spPr bwMode="auto">
            <a:xfrm>
              <a:off x="4326171" y="2096772"/>
              <a:ext cx="82550" cy="120253"/>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 name="Freeform 23"/>
            <p:cNvSpPr>
              <a:spLocks/>
            </p:cNvSpPr>
            <p:nvPr>
              <p:custDataLst>
                <p:tags r:id="rId20"/>
              </p:custDataLst>
            </p:nvPr>
          </p:nvSpPr>
          <p:spPr bwMode="auto">
            <a:xfrm>
              <a:off x="4765909" y="1938418"/>
              <a:ext cx="169863" cy="5715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 name="Freeform 24"/>
            <p:cNvSpPr>
              <a:spLocks/>
            </p:cNvSpPr>
            <p:nvPr>
              <p:custDataLst>
                <p:tags r:id="rId21"/>
              </p:custDataLst>
            </p:nvPr>
          </p:nvSpPr>
          <p:spPr bwMode="auto">
            <a:xfrm>
              <a:off x="6262688" y="1825309"/>
              <a:ext cx="1281113" cy="778669"/>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26" name="Freeform 25"/>
            <p:cNvSpPr>
              <a:spLocks/>
            </p:cNvSpPr>
            <p:nvPr>
              <p:custDataLst>
                <p:tags r:id="rId22"/>
              </p:custDataLst>
            </p:nvPr>
          </p:nvSpPr>
          <p:spPr bwMode="auto">
            <a:xfrm>
              <a:off x="4950059" y="1481218"/>
              <a:ext cx="220663" cy="204788"/>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 name="Freeform 26"/>
            <p:cNvSpPr>
              <a:spLocks/>
            </p:cNvSpPr>
            <p:nvPr>
              <p:custDataLst>
                <p:tags r:id="rId23"/>
              </p:custDataLst>
            </p:nvPr>
          </p:nvSpPr>
          <p:spPr bwMode="auto">
            <a:xfrm>
              <a:off x="4686534" y="1794353"/>
              <a:ext cx="182563" cy="178594"/>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28" name="Freeform 27"/>
            <p:cNvSpPr>
              <a:spLocks/>
            </p:cNvSpPr>
            <p:nvPr>
              <p:custDataLst>
                <p:tags r:id="rId24"/>
              </p:custDataLst>
            </p:nvPr>
          </p:nvSpPr>
          <p:spPr bwMode="auto">
            <a:xfrm>
              <a:off x="4711934" y="1987234"/>
              <a:ext cx="250825" cy="205978"/>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 name="Freeform 28"/>
            <p:cNvSpPr>
              <a:spLocks/>
            </p:cNvSpPr>
            <p:nvPr>
              <p:custDataLst>
                <p:tags r:id="rId25"/>
              </p:custDataLst>
            </p:nvPr>
          </p:nvSpPr>
          <p:spPr bwMode="auto">
            <a:xfrm>
              <a:off x="4729397" y="2113440"/>
              <a:ext cx="33337" cy="61913"/>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30" name="Group 29"/>
            <p:cNvGrpSpPr>
              <a:grpSpLocks/>
            </p:cNvGrpSpPr>
            <p:nvPr>
              <p:custDataLst>
                <p:tags r:id="rId26"/>
              </p:custDataLst>
            </p:nvPr>
          </p:nvGrpSpPr>
          <p:grpSpPr bwMode="auto">
            <a:xfrm>
              <a:off x="7048734" y="2908778"/>
              <a:ext cx="473075" cy="159544"/>
              <a:chOff x="4488" y="2394"/>
              <a:chExt cx="358" cy="124"/>
            </a:xfrm>
          </p:grpSpPr>
          <p:sp>
            <p:nvSpPr>
              <p:cNvPr id="546" name="Freeform 545"/>
              <p:cNvSpPr>
                <a:spLocks/>
              </p:cNvSpPr>
              <p:nvPr/>
            </p:nvSpPr>
            <p:spPr bwMode="auto">
              <a:xfrm>
                <a:off x="4675" y="2394"/>
                <a:ext cx="171" cy="124"/>
              </a:xfrm>
              <a:custGeom>
                <a:avLst/>
                <a:gdLst>
                  <a:gd name="T0" fmla="*/ 2 w 512"/>
                  <a:gd name="T1" fmla="*/ 1 h 408"/>
                  <a:gd name="T2" fmla="*/ 2 w 512"/>
                  <a:gd name="T3" fmla="*/ 1 h 408"/>
                  <a:gd name="T4" fmla="*/ 2 w 512"/>
                  <a:gd name="T5" fmla="*/ 1 h 408"/>
                  <a:gd name="T6" fmla="*/ 1 w 512"/>
                  <a:gd name="T7" fmla="*/ 1 h 408"/>
                  <a:gd name="T8" fmla="*/ 1 w 512"/>
                  <a:gd name="T9" fmla="*/ 1 h 408"/>
                  <a:gd name="T10" fmla="*/ 1 w 512"/>
                  <a:gd name="T11" fmla="*/ 1 h 408"/>
                  <a:gd name="T12" fmla="*/ 1 w 512"/>
                  <a:gd name="T13" fmla="*/ 1 h 408"/>
                  <a:gd name="T14" fmla="*/ 1 w 512"/>
                  <a:gd name="T15" fmla="*/ 1 h 408"/>
                  <a:gd name="T16" fmla="*/ 1 w 512"/>
                  <a:gd name="T17" fmla="*/ 1 h 408"/>
                  <a:gd name="T18" fmla="*/ 1 w 512"/>
                  <a:gd name="T19" fmla="*/ 1 h 408"/>
                  <a:gd name="T20" fmla="*/ 1 w 512"/>
                  <a:gd name="T21" fmla="*/ 1 h 408"/>
                  <a:gd name="T22" fmla="*/ 1 w 512"/>
                  <a:gd name="T23" fmla="*/ 1 h 408"/>
                  <a:gd name="T24" fmla="*/ 1 w 512"/>
                  <a:gd name="T25" fmla="*/ 1 h 408"/>
                  <a:gd name="T26" fmla="*/ 1 w 512"/>
                  <a:gd name="T27" fmla="*/ 1 h 408"/>
                  <a:gd name="T28" fmla="*/ 1 w 512"/>
                  <a:gd name="T29" fmla="*/ 1 h 408"/>
                  <a:gd name="T30" fmla="*/ 0 w 512"/>
                  <a:gd name="T31" fmla="*/ 1 h 408"/>
                  <a:gd name="T32" fmla="*/ 0 w 512"/>
                  <a:gd name="T33" fmla="*/ 1 h 408"/>
                  <a:gd name="T34" fmla="*/ 0 w 512"/>
                  <a:gd name="T35" fmla="*/ 1 h 408"/>
                  <a:gd name="T36" fmla="*/ 0 w 512"/>
                  <a:gd name="T37" fmla="*/ 1 h 408"/>
                  <a:gd name="T38" fmla="*/ 0 w 512"/>
                  <a:gd name="T39" fmla="*/ 1 h 408"/>
                  <a:gd name="T40" fmla="*/ 0 w 512"/>
                  <a:gd name="T41" fmla="*/ 1 h 408"/>
                  <a:gd name="T42" fmla="*/ 0 w 512"/>
                  <a:gd name="T43" fmla="*/ 1 h 408"/>
                  <a:gd name="T44" fmla="*/ 0 w 512"/>
                  <a:gd name="T45" fmla="*/ 1 h 408"/>
                  <a:gd name="T46" fmla="*/ 0 w 512"/>
                  <a:gd name="T47" fmla="*/ 1 h 408"/>
                  <a:gd name="T48" fmla="*/ 0 w 512"/>
                  <a:gd name="T49" fmla="*/ 1 h 408"/>
                  <a:gd name="T50" fmla="*/ 0 w 512"/>
                  <a:gd name="T51" fmla="*/ 1 h 408"/>
                  <a:gd name="T52" fmla="*/ 0 w 512"/>
                  <a:gd name="T53" fmla="*/ 1 h 408"/>
                  <a:gd name="T54" fmla="*/ 0 w 512"/>
                  <a:gd name="T55" fmla="*/ 1 h 408"/>
                  <a:gd name="T56" fmla="*/ 1 w 512"/>
                  <a:gd name="T57" fmla="*/ 1 h 408"/>
                  <a:gd name="T58" fmla="*/ 1 w 512"/>
                  <a:gd name="T59" fmla="*/ 1 h 408"/>
                  <a:gd name="T60" fmla="*/ 1 w 512"/>
                  <a:gd name="T61" fmla="*/ 1 h 408"/>
                  <a:gd name="T62" fmla="*/ 1 w 512"/>
                  <a:gd name="T63" fmla="*/ 1 h 408"/>
                  <a:gd name="T64" fmla="*/ 1 w 512"/>
                  <a:gd name="T65" fmla="*/ 1 h 408"/>
                  <a:gd name="T66" fmla="*/ 1 w 512"/>
                  <a:gd name="T67" fmla="*/ 1 h 408"/>
                  <a:gd name="T68" fmla="*/ 1 w 512"/>
                  <a:gd name="T69" fmla="*/ 0 h 408"/>
                  <a:gd name="T70" fmla="*/ 1 w 512"/>
                  <a:gd name="T71" fmla="*/ 0 h 408"/>
                  <a:gd name="T72" fmla="*/ 1 w 512"/>
                  <a:gd name="T73" fmla="*/ 0 h 408"/>
                  <a:gd name="T74" fmla="*/ 1 w 512"/>
                  <a:gd name="T75" fmla="*/ 0 h 408"/>
                  <a:gd name="T76" fmla="*/ 1 w 512"/>
                  <a:gd name="T77" fmla="*/ 1 h 408"/>
                  <a:gd name="T78" fmla="*/ 1 w 512"/>
                  <a:gd name="T79" fmla="*/ 1 h 408"/>
                  <a:gd name="T80" fmla="*/ 1 w 512"/>
                  <a:gd name="T81" fmla="*/ 1 h 408"/>
                  <a:gd name="T82" fmla="*/ 1 w 512"/>
                  <a:gd name="T83" fmla="*/ 1 h 408"/>
                  <a:gd name="T84" fmla="*/ 1 w 512"/>
                  <a:gd name="T85" fmla="*/ 1 h 408"/>
                  <a:gd name="T86" fmla="*/ 1 w 512"/>
                  <a:gd name="T87" fmla="*/ 1 h 408"/>
                  <a:gd name="T88" fmla="*/ 1 w 512"/>
                  <a:gd name="T89" fmla="*/ 1 h 408"/>
                  <a:gd name="T90" fmla="*/ 1 w 512"/>
                  <a:gd name="T91" fmla="*/ 0 h 408"/>
                  <a:gd name="T92" fmla="*/ 1 w 512"/>
                  <a:gd name="T93" fmla="*/ 0 h 408"/>
                  <a:gd name="T94" fmla="*/ 1 w 512"/>
                  <a:gd name="T95" fmla="*/ 0 h 408"/>
                  <a:gd name="T96" fmla="*/ 2 w 512"/>
                  <a:gd name="T97" fmla="*/ 0 h 408"/>
                  <a:gd name="T98" fmla="*/ 2 w 512"/>
                  <a:gd name="T99" fmla="*/ 0 h 408"/>
                  <a:gd name="T100" fmla="*/ 2 w 512"/>
                  <a:gd name="T101" fmla="*/ 0 h 408"/>
                  <a:gd name="T102" fmla="*/ 2 w 512"/>
                  <a:gd name="T103" fmla="*/ 0 h 408"/>
                  <a:gd name="T104" fmla="*/ 2 w 512"/>
                  <a:gd name="T105" fmla="*/ 0 h 408"/>
                  <a:gd name="T106" fmla="*/ 2 w 512"/>
                  <a:gd name="T107" fmla="*/ 0 h 408"/>
                  <a:gd name="T108" fmla="*/ 2 w 512"/>
                  <a:gd name="T109" fmla="*/ 0 h 408"/>
                  <a:gd name="T110" fmla="*/ 2 w 512"/>
                  <a:gd name="T111" fmla="*/ 0 h 408"/>
                  <a:gd name="T112" fmla="*/ 2 w 512"/>
                  <a:gd name="T113" fmla="*/ 0 h 408"/>
                  <a:gd name="T114" fmla="*/ 2 w 512"/>
                  <a:gd name="T115" fmla="*/ 1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7" name="Freeform 546"/>
              <p:cNvSpPr>
                <a:spLocks/>
              </p:cNvSpPr>
              <p:nvPr/>
            </p:nvSpPr>
            <p:spPr bwMode="auto">
              <a:xfrm>
                <a:off x="4488" y="2420"/>
                <a:ext cx="77" cy="89"/>
              </a:xfrm>
              <a:custGeom>
                <a:avLst/>
                <a:gdLst>
                  <a:gd name="T0" fmla="*/ 1 w 232"/>
                  <a:gd name="T1" fmla="*/ 0 h 289"/>
                  <a:gd name="T2" fmla="*/ 1 w 232"/>
                  <a:gd name="T3" fmla="*/ 0 h 289"/>
                  <a:gd name="T4" fmla="*/ 1 w 232"/>
                  <a:gd name="T5" fmla="*/ 0 h 289"/>
                  <a:gd name="T6" fmla="*/ 1 w 232"/>
                  <a:gd name="T7" fmla="*/ 0 h 289"/>
                  <a:gd name="T8" fmla="*/ 1 w 232"/>
                  <a:gd name="T9" fmla="*/ 1 h 289"/>
                  <a:gd name="T10" fmla="*/ 1 w 232"/>
                  <a:gd name="T11" fmla="*/ 1 h 289"/>
                  <a:gd name="T12" fmla="*/ 1 w 232"/>
                  <a:gd name="T13" fmla="*/ 1 h 289"/>
                  <a:gd name="T14" fmla="*/ 1 w 232"/>
                  <a:gd name="T15" fmla="*/ 1 h 289"/>
                  <a:gd name="T16" fmla="*/ 1 w 232"/>
                  <a:gd name="T17" fmla="*/ 1 h 289"/>
                  <a:gd name="T18" fmla="*/ 1 w 232"/>
                  <a:gd name="T19" fmla="*/ 1 h 289"/>
                  <a:gd name="T20" fmla="*/ 1 w 232"/>
                  <a:gd name="T21" fmla="*/ 1 h 289"/>
                  <a:gd name="T22" fmla="*/ 1 w 232"/>
                  <a:gd name="T23" fmla="*/ 1 h 289"/>
                  <a:gd name="T24" fmla="*/ 0 w 232"/>
                  <a:gd name="T25" fmla="*/ 1 h 289"/>
                  <a:gd name="T26" fmla="*/ 0 w 232"/>
                  <a:gd name="T27" fmla="*/ 1 h 289"/>
                  <a:gd name="T28" fmla="*/ 0 w 232"/>
                  <a:gd name="T29" fmla="*/ 1 h 289"/>
                  <a:gd name="T30" fmla="*/ 0 w 232"/>
                  <a:gd name="T31" fmla="*/ 0 h 289"/>
                  <a:gd name="T32" fmla="*/ 0 w 232"/>
                  <a:gd name="T33" fmla="*/ 0 h 289"/>
                  <a:gd name="T34" fmla="*/ 0 w 232"/>
                  <a:gd name="T35" fmla="*/ 0 h 289"/>
                  <a:gd name="T36" fmla="*/ 0 w 232"/>
                  <a:gd name="T37" fmla="*/ 0 h 289"/>
                  <a:gd name="T38" fmla="*/ 0 w 232"/>
                  <a:gd name="T39" fmla="*/ 0 h 289"/>
                  <a:gd name="T40" fmla="*/ 0 w 232"/>
                  <a:gd name="T41" fmla="*/ 0 h 289"/>
                  <a:gd name="T42" fmla="*/ 0 w 232"/>
                  <a:gd name="T43" fmla="*/ 0 h 289"/>
                  <a:gd name="T44" fmla="*/ 0 w 232"/>
                  <a:gd name="T45" fmla="*/ 0 h 289"/>
                  <a:gd name="T46" fmla="*/ 0 w 232"/>
                  <a:gd name="T47" fmla="*/ 0 h 289"/>
                  <a:gd name="T48" fmla="*/ 0 w 232"/>
                  <a:gd name="T49" fmla="*/ 0 h 289"/>
                  <a:gd name="T50" fmla="*/ 0 w 232"/>
                  <a:gd name="T51" fmla="*/ 0 h 289"/>
                  <a:gd name="T52" fmla="*/ 0 w 232"/>
                  <a:gd name="T53" fmla="*/ 0 h 289"/>
                  <a:gd name="T54" fmla="*/ 0 w 232"/>
                  <a:gd name="T55" fmla="*/ 0 h 289"/>
                  <a:gd name="T56" fmla="*/ 0 w 232"/>
                  <a:gd name="T57" fmla="*/ 0 h 289"/>
                  <a:gd name="T58" fmla="*/ 0 w 232"/>
                  <a:gd name="T59" fmla="*/ 0 h 289"/>
                  <a:gd name="T60" fmla="*/ 0 w 232"/>
                  <a:gd name="T61" fmla="*/ 0 h 289"/>
                  <a:gd name="T62" fmla="*/ 0 w 232"/>
                  <a:gd name="T63" fmla="*/ 0 h 289"/>
                  <a:gd name="T64" fmla="*/ 0 w 232"/>
                  <a:gd name="T65" fmla="*/ 0 h 289"/>
                  <a:gd name="T66" fmla="*/ 1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31" name="Freeform 30"/>
            <p:cNvSpPr>
              <a:spLocks/>
            </p:cNvSpPr>
            <p:nvPr>
              <p:custDataLst>
                <p:tags r:id="rId27"/>
              </p:custDataLst>
            </p:nvPr>
          </p:nvSpPr>
          <p:spPr bwMode="auto">
            <a:xfrm>
              <a:off x="5070709" y="1315722"/>
              <a:ext cx="3065463" cy="806053"/>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 name="Freeform 31"/>
            <p:cNvSpPr>
              <a:spLocks/>
            </p:cNvSpPr>
            <p:nvPr>
              <p:custDataLst>
                <p:tags r:id="rId28"/>
              </p:custDataLst>
            </p:nvPr>
          </p:nvSpPr>
          <p:spPr bwMode="auto">
            <a:xfrm>
              <a:off x="4334108" y="2056290"/>
              <a:ext cx="280988" cy="18573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BC4E21"/>
            </a:solidFill>
            <a:ln w="9525">
              <a:solidFill>
                <a:srgbClr val="FFFFFF"/>
              </a:solidFill>
              <a:round/>
              <a:headEnd/>
              <a:tailEnd/>
            </a:ln>
          </p:spPr>
          <p:txBody>
            <a:bodyPr/>
            <a:lstStyle/>
            <a:p>
              <a:pPr defTabSz="457200"/>
              <a:endParaRPr lang="en-US" baseline="-25000">
                <a:solidFill>
                  <a:prstClr val="black"/>
                </a:solidFill>
              </a:endParaRPr>
            </a:p>
          </p:txBody>
        </p:sp>
        <p:sp>
          <p:nvSpPr>
            <p:cNvPr id="33" name="Freeform 32"/>
            <p:cNvSpPr>
              <a:spLocks/>
            </p:cNvSpPr>
            <p:nvPr>
              <p:custDataLst>
                <p:tags r:id="rId29"/>
              </p:custDataLst>
            </p:nvPr>
          </p:nvSpPr>
          <p:spPr bwMode="auto">
            <a:xfrm>
              <a:off x="6966184" y="2609931"/>
              <a:ext cx="207963" cy="341710"/>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 name="Freeform 33"/>
            <p:cNvSpPr>
              <a:spLocks/>
            </p:cNvSpPr>
            <p:nvPr>
              <p:custDataLst>
                <p:tags r:id="rId30"/>
              </p:custDataLst>
            </p:nvPr>
          </p:nvSpPr>
          <p:spPr bwMode="auto">
            <a:xfrm>
              <a:off x="2841859" y="2126536"/>
              <a:ext cx="49213" cy="42863"/>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 name="Freeform 34"/>
            <p:cNvSpPr>
              <a:spLocks/>
            </p:cNvSpPr>
            <p:nvPr>
              <p:custDataLst>
                <p:tags r:id="rId31"/>
              </p:custDataLst>
            </p:nvPr>
          </p:nvSpPr>
          <p:spPr bwMode="auto">
            <a:xfrm>
              <a:off x="5580296" y="1794353"/>
              <a:ext cx="874712" cy="33932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 name="Freeform 35"/>
            <p:cNvSpPr>
              <a:spLocks/>
            </p:cNvSpPr>
            <p:nvPr>
              <p:custDataLst>
                <p:tags r:id="rId32"/>
              </p:custDataLst>
            </p:nvPr>
          </p:nvSpPr>
          <p:spPr bwMode="auto">
            <a:xfrm>
              <a:off x="5810484" y="2021761"/>
              <a:ext cx="409575" cy="186929"/>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 name="Freeform 36"/>
            <p:cNvSpPr>
              <a:spLocks/>
            </p:cNvSpPr>
            <p:nvPr>
              <p:custDataLst>
                <p:tags r:id="rId33"/>
              </p:custDataLst>
            </p:nvPr>
          </p:nvSpPr>
          <p:spPr bwMode="auto">
            <a:xfrm>
              <a:off x="4618271" y="2774237"/>
              <a:ext cx="296862" cy="216694"/>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 name="Freeform 37"/>
            <p:cNvSpPr>
              <a:spLocks/>
            </p:cNvSpPr>
            <p:nvPr>
              <p:custDataLst>
                <p:tags r:id="rId34"/>
              </p:custDataLst>
            </p:nvPr>
          </p:nvSpPr>
          <p:spPr bwMode="auto">
            <a:xfrm>
              <a:off x="5461233" y="2673034"/>
              <a:ext cx="152400" cy="127397"/>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9" name="Freeform 38"/>
            <p:cNvSpPr>
              <a:spLocks/>
            </p:cNvSpPr>
            <p:nvPr>
              <p:custDataLst>
                <p:tags r:id="rId35"/>
              </p:custDataLst>
            </p:nvPr>
          </p:nvSpPr>
          <p:spPr bwMode="auto">
            <a:xfrm>
              <a:off x="4923071" y="1926511"/>
              <a:ext cx="125412" cy="42863"/>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0" name="Freeform 39"/>
            <p:cNvSpPr>
              <a:spLocks/>
            </p:cNvSpPr>
            <p:nvPr>
              <p:custDataLst>
                <p:tags r:id="rId36"/>
              </p:custDataLst>
            </p:nvPr>
          </p:nvSpPr>
          <p:spPr bwMode="auto">
            <a:xfrm>
              <a:off x="5786671" y="2467055"/>
              <a:ext cx="19050" cy="42863"/>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1" name="Freeform 40"/>
            <p:cNvSpPr>
              <a:spLocks/>
            </p:cNvSpPr>
            <p:nvPr>
              <p:custDataLst>
                <p:tags r:id="rId37"/>
              </p:custDataLst>
            </p:nvPr>
          </p:nvSpPr>
          <p:spPr bwMode="auto">
            <a:xfrm>
              <a:off x="5905733" y="2470627"/>
              <a:ext cx="14288" cy="42863"/>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2" name="Freeform 41"/>
            <p:cNvSpPr>
              <a:spLocks/>
            </p:cNvSpPr>
            <p:nvPr>
              <p:custDataLst>
                <p:tags r:id="rId38"/>
              </p:custDataLst>
            </p:nvPr>
          </p:nvSpPr>
          <p:spPr bwMode="auto">
            <a:xfrm>
              <a:off x="7393221" y="2965927"/>
              <a:ext cx="44450" cy="42863"/>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43" name="Group 42"/>
            <p:cNvGrpSpPr>
              <a:grpSpLocks/>
            </p:cNvGrpSpPr>
            <p:nvPr>
              <p:custDataLst>
                <p:tags r:id="rId39"/>
              </p:custDataLst>
            </p:nvPr>
          </p:nvGrpSpPr>
          <p:grpSpPr bwMode="auto">
            <a:xfrm>
              <a:off x="3245083" y="4322050"/>
              <a:ext cx="65088" cy="41672"/>
              <a:chOff x="1654" y="3671"/>
              <a:chExt cx="49" cy="17"/>
            </a:xfrm>
          </p:grpSpPr>
          <p:sp>
            <p:nvSpPr>
              <p:cNvPr id="544" name="Freeform 543"/>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5" name="Freeform 544"/>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44" name="Freeform 43"/>
            <p:cNvSpPr>
              <a:spLocks/>
            </p:cNvSpPr>
            <p:nvPr>
              <p:custDataLst>
                <p:tags r:id="rId40"/>
              </p:custDataLst>
            </p:nvPr>
          </p:nvSpPr>
          <p:spPr bwMode="auto">
            <a:xfrm>
              <a:off x="2892658" y="2668272"/>
              <a:ext cx="31750" cy="44053"/>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 name="Freeform 44"/>
            <p:cNvSpPr>
              <a:spLocks/>
            </p:cNvSpPr>
            <p:nvPr>
              <p:custDataLst>
                <p:tags r:id="rId41"/>
              </p:custDataLst>
            </p:nvPr>
          </p:nvSpPr>
          <p:spPr bwMode="auto">
            <a:xfrm>
              <a:off x="2948222" y="2673034"/>
              <a:ext cx="1587" cy="44053"/>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 name="Freeform 45"/>
            <p:cNvSpPr>
              <a:spLocks/>
            </p:cNvSpPr>
            <p:nvPr>
              <p:custDataLst>
                <p:tags r:id="rId42"/>
              </p:custDataLst>
            </p:nvPr>
          </p:nvSpPr>
          <p:spPr bwMode="auto">
            <a:xfrm>
              <a:off x="2960921" y="2674224"/>
              <a:ext cx="6350" cy="44054"/>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 name="Freeform 46"/>
            <p:cNvSpPr>
              <a:spLocks/>
            </p:cNvSpPr>
            <p:nvPr>
              <p:custDataLst>
                <p:tags r:id="rId43"/>
              </p:custDataLst>
            </p:nvPr>
          </p:nvSpPr>
          <p:spPr bwMode="auto">
            <a:xfrm>
              <a:off x="2975208" y="2667080"/>
              <a:ext cx="7938" cy="42863"/>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 name="Freeform 47"/>
            <p:cNvSpPr>
              <a:spLocks/>
            </p:cNvSpPr>
            <p:nvPr>
              <p:custDataLst>
                <p:tags r:id="rId44"/>
              </p:custDataLst>
            </p:nvPr>
          </p:nvSpPr>
          <p:spPr bwMode="auto">
            <a:xfrm>
              <a:off x="2954571" y="2661128"/>
              <a:ext cx="11112" cy="44053"/>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 name="Freeform 48"/>
            <p:cNvSpPr>
              <a:spLocks/>
            </p:cNvSpPr>
            <p:nvPr>
              <p:custDataLst>
                <p:tags r:id="rId45"/>
              </p:custDataLst>
            </p:nvPr>
          </p:nvSpPr>
          <p:spPr bwMode="auto">
            <a:xfrm>
              <a:off x="3003783" y="2682559"/>
              <a:ext cx="14288" cy="45244"/>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 name="Line 47"/>
            <p:cNvSpPr>
              <a:spLocks noChangeShapeType="1"/>
            </p:cNvSpPr>
            <p:nvPr>
              <p:custDataLst>
                <p:tags r:id="rId46"/>
              </p:custDataLst>
            </p:nvPr>
          </p:nvSpPr>
          <p:spPr bwMode="auto">
            <a:xfrm flipH="1" flipV="1">
              <a:off x="3011721" y="2680178"/>
              <a:ext cx="6350" cy="714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1" name="Line 48"/>
            <p:cNvSpPr>
              <a:spLocks noChangeShapeType="1"/>
            </p:cNvSpPr>
            <p:nvPr>
              <p:custDataLst>
                <p:tags r:id="rId47"/>
              </p:custDataLst>
            </p:nvPr>
          </p:nvSpPr>
          <p:spPr bwMode="auto">
            <a:xfrm flipH="1">
              <a:off x="3011721" y="2699228"/>
              <a:ext cx="6350" cy="833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2" name="Freeform 51"/>
            <p:cNvSpPr>
              <a:spLocks/>
            </p:cNvSpPr>
            <p:nvPr>
              <p:custDataLst>
                <p:tags r:id="rId48"/>
              </p:custDataLst>
            </p:nvPr>
          </p:nvSpPr>
          <p:spPr bwMode="auto">
            <a:xfrm>
              <a:off x="3011721" y="2695655"/>
              <a:ext cx="11112" cy="44054"/>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 name="Freeform 52"/>
            <p:cNvSpPr>
              <a:spLocks/>
            </p:cNvSpPr>
            <p:nvPr>
              <p:custDataLst>
                <p:tags r:id="rId49"/>
              </p:custDataLst>
            </p:nvPr>
          </p:nvSpPr>
          <p:spPr bwMode="auto">
            <a:xfrm>
              <a:off x="3018071" y="2717087"/>
              <a:ext cx="17462" cy="41672"/>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 name="Freeform 53"/>
            <p:cNvSpPr>
              <a:spLocks/>
            </p:cNvSpPr>
            <p:nvPr>
              <p:custDataLst>
                <p:tags r:id="rId50"/>
              </p:custDataLst>
            </p:nvPr>
          </p:nvSpPr>
          <p:spPr bwMode="auto">
            <a:xfrm>
              <a:off x="3024422" y="2752805"/>
              <a:ext cx="15875" cy="42863"/>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5" name="Freeform 54"/>
            <p:cNvSpPr>
              <a:spLocks/>
            </p:cNvSpPr>
            <p:nvPr>
              <p:custDataLst>
                <p:tags r:id="rId51"/>
              </p:custDataLst>
            </p:nvPr>
          </p:nvSpPr>
          <p:spPr bwMode="auto">
            <a:xfrm>
              <a:off x="3033947" y="2771855"/>
              <a:ext cx="3175" cy="42863"/>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6" name="Freeform 55"/>
            <p:cNvSpPr>
              <a:spLocks/>
            </p:cNvSpPr>
            <p:nvPr>
              <p:custDataLst>
                <p:tags r:id="rId52"/>
              </p:custDataLst>
            </p:nvPr>
          </p:nvSpPr>
          <p:spPr bwMode="auto">
            <a:xfrm>
              <a:off x="3056172" y="2794477"/>
              <a:ext cx="1587" cy="4167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7" name="Freeform 56"/>
            <p:cNvSpPr>
              <a:spLocks/>
            </p:cNvSpPr>
            <p:nvPr>
              <p:custDataLst>
                <p:tags r:id="rId53"/>
              </p:custDataLst>
            </p:nvPr>
          </p:nvSpPr>
          <p:spPr bwMode="auto">
            <a:xfrm>
              <a:off x="3018072" y="2804003"/>
              <a:ext cx="15875" cy="44053"/>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8" name="Freeform 57"/>
            <p:cNvSpPr>
              <a:spLocks/>
            </p:cNvSpPr>
            <p:nvPr>
              <p:custDataLst>
                <p:tags r:id="rId54"/>
              </p:custDataLst>
            </p:nvPr>
          </p:nvSpPr>
          <p:spPr bwMode="auto">
            <a:xfrm>
              <a:off x="3003784" y="2852817"/>
              <a:ext cx="23813" cy="42863"/>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9" name="Freeform 58"/>
            <p:cNvSpPr>
              <a:spLocks/>
            </p:cNvSpPr>
            <p:nvPr>
              <p:custDataLst>
                <p:tags r:id="rId55"/>
              </p:custDataLst>
            </p:nvPr>
          </p:nvSpPr>
          <p:spPr bwMode="auto">
            <a:xfrm>
              <a:off x="3022833" y="2834959"/>
              <a:ext cx="12700" cy="42863"/>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0" name="Freeform 59"/>
            <p:cNvSpPr>
              <a:spLocks/>
            </p:cNvSpPr>
            <p:nvPr>
              <p:custDataLst>
                <p:tags r:id="rId56"/>
              </p:custDataLst>
            </p:nvPr>
          </p:nvSpPr>
          <p:spPr bwMode="auto">
            <a:xfrm>
              <a:off x="2505309" y="2588499"/>
              <a:ext cx="15875" cy="42863"/>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61" name="Group 60"/>
            <p:cNvGrpSpPr>
              <a:grpSpLocks/>
            </p:cNvGrpSpPr>
            <p:nvPr>
              <p:custDataLst>
                <p:tags r:id="rId57"/>
              </p:custDataLst>
            </p:nvPr>
          </p:nvGrpSpPr>
          <p:grpSpPr bwMode="auto">
            <a:xfrm>
              <a:off x="2630721" y="2463484"/>
              <a:ext cx="131762" cy="146447"/>
              <a:chOff x="1199" y="2121"/>
              <a:chExt cx="97" cy="123"/>
            </a:xfrm>
          </p:grpSpPr>
          <p:sp>
            <p:nvSpPr>
              <p:cNvPr id="534" name="Freeform 533"/>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5" name="Freeform 534"/>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6" name="Freeform 535"/>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7" name="Freeform 536"/>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8" name="Freeform 537"/>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9" name="Freeform 538"/>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0" name="Freeform 539"/>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1" name="Freeform 540"/>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2" name="Freeform 541"/>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43" name="Freeform 542"/>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62" name="Freeform 61"/>
            <p:cNvSpPr>
              <a:spLocks/>
            </p:cNvSpPr>
            <p:nvPr>
              <p:custDataLst>
                <p:tags r:id="rId58"/>
              </p:custDataLst>
            </p:nvPr>
          </p:nvSpPr>
          <p:spPr bwMode="auto">
            <a:xfrm>
              <a:off x="8444146" y="3533855"/>
              <a:ext cx="12700" cy="42863"/>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3" name="Freeform 62"/>
            <p:cNvSpPr>
              <a:spLocks/>
            </p:cNvSpPr>
            <p:nvPr>
              <p:custDataLst>
                <p:tags r:id="rId59"/>
              </p:custDataLst>
            </p:nvPr>
          </p:nvSpPr>
          <p:spPr bwMode="auto">
            <a:xfrm>
              <a:off x="8453672" y="3601721"/>
              <a:ext cx="9525" cy="44053"/>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4" name="Freeform 63"/>
            <p:cNvSpPr>
              <a:spLocks/>
            </p:cNvSpPr>
            <p:nvPr>
              <p:custDataLst>
                <p:tags r:id="rId60"/>
              </p:custDataLst>
            </p:nvPr>
          </p:nvSpPr>
          <p:spPr bwMode="auto">
            <a:xfrm>
              <a:off x="8567972" y="3533856"/>
              <a:ext cx="77787" cy="97631"/>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5" name="Freeform 64"/>
            <p:cNvSpPr>
              <a:spLocks/>
            </p:cNvSpPr>
            <p:nvPr>
              <p:custDataLst>
                <p:tags r:id="rId61"/>
              </p:custDataLst>
            </p:nvPr>
          </p:nvSpPr>
          <p:spPr bwMode="auto">
            <a:xfrm>
              <a:off x="8567972" y="3513615"/>
              <a:ext cx="14287" cy="42863"/>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66" name="Group 65"/>
            <p:cNvGrpSpPr>
              <a:grpSpLocks/>
            </p:cNvGrpSpPr>
            <p:nvPr>
              <p:custDataLst>
                <p:tags r:id="rId62"/>
              </p:custDataLst>
            </p:nvPr>
          </p:nvGrpSpPr>
          <p:grpSpPr bwMode="auto">
            <a:xfrm>
              <a:off x="8258408" y="3904140"/>
              <a:ext cx="458788" cy="303609"/>
              <a:chOff x="5372" y="3323"/>
              <a:chExt cx="341" cy="253"/>
            </a:xfrm>
          </p:grpSpPr>
          <p:sp>
            <p:nvSpPr>
              <p:cNvPr id="531" name="Freeform 530"/>
              <p:cNvSpPr>
                <a:spLocks/>
              </p:cNvSpPr>
              <p:nvPr/>
            </p:nvSpPr>
            <p:spPr bwMode="auto">
              <a:xfrm>
                <a:off x="5372" y="3565"/>
                <a:ext cx="16" cy="11"/>
              </a:xfrm>
              <a:custGeom>
                <a:avLst/>
                <a:gdLst>
                  <a:gd name="T0" fmla="*/ 0 w 53"/>
                  <a:gd name="T1" fmla="*/ 0 h 33"/>
                  <a:gd name="T2" fmla="*/ 0 w 53"/>
                  <a:gd name="T3" fmla="*/ 0 h 33"/>
                  <a:gd name="T4" fmla="*/ 0 w 53"/>
                  <a:gd name="T5" fmla="*/ 0 h 33"/>
                  <a:gd name="T6" fmla="*/ 0 w 53"/>
                  <a:gd name="T7" fmla="*/ 0 h 33"/>
                  <a:gd name="T8" fmla="*/ 0 w 53"/>
                  <a:gd name="T9" fmla="*/ 0 h 33"/>
                  <a:gd name="T10" fmla="*/ 0 w 53"/>
                  <a:gd name="T11" fmla="*/ 0 h 33"/>
                  <a:gd name="T12" fmla="*/ 0 w 53"/>
                  <a:gd name="T13" fmla="*/ 0 h 33"/>
                  <a:gd name="T14" fmla="*/ 0 w 53"/>
                  <a:gd name="T15" fmla="*/ 0 h 33"/>
                  <a:gd name="T16" fmla="*/ 0 w 53"/>
                  <a:gd name="T17" fmla="*/ 0 h 33"/>
                  <a:gd name="T18" fmla="*/ 0 w 53"/>
                  <a:gd name="T19" fmla="*/ 0 h 33"/>
                  <a:gd name="T20" fmla="*/ 0 w 53"/>
                  <a:gd name="T21" fmla="*/ 0 h 33"/>
                  <a:gd name="T22" fmla="*/ 0 w 53"/>
                  <a:gd name="T23" fmla="*/ 0 h 33"/>
                  <a:gd name="T24" fmla="*/ 0 w 53"/>
                  <a:gd name="T25" fmla="*/ 0 h 33"/>
                  <a:gd name="T26" fmla="*/ 0 w 53"/>
                  <a:gd name="T27" fmla="*/ 0 h 33"/>
                  <a:gd name="T28" fmla="*/ 0 w 53"/>
                  <a:gd name="T29" fmla="*/ 0 h 33"/>
                  <a:gd name="T30" fmla="*/ 0 w 53"/>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2" name="Freeform 531"/>
              <p:cNvSpPr>
                <a:spLocks/>
              </p:cNvSpPr>
              <p:nvPr/>
            </p:nvSpPr>
            <p:spPr bwMode="auto">
              <a:xfrm>
                <a:off x="5379" y="3446"/>
                <a:ext cx="202" cy="117"/>
              </a:xfrm>
              <a:custGeom>
                <a:avLst/>
                <a:gdLst>
                  <a:gd name="T0" fmla="*/ 0 w 631"/>
                  <a:gd name="T1" fmla="*/ 1 h 358"/>
                  <a:gd name="T2" fmla="*/ 0 w 631"/>
                  <a:gd name="T3" fmla="*/ 1 h 358"/>
                  <a:gd name="T4" fmla="*/ 0 w 631"/>
                  <a:gd name="T5" fmla="*/ 1 h 358"/>
                  <a:gd name="T6" fmla="*/ 0 w 631"/>
                  <a:gd name="T7" fmla="*/ 1 h 358"/>
                  <a:gd name="T8" fmla="*/ 0 w 631"/>
                  <a:gd name="T9" fmla="*/ 1 h 358"/>
                  <a:gd name="T10" fmla="*/ 0 w 631"/>
                  <a:gd name="T11" fmla="*/ 1 h 358"/>
                  <a:gd name="T12" fmla="*/ 0 w 631"/>
                  <a:gd name="T13" fmla="*/ 1 h 358"/>
                  <a:gd name="T14" fmla="*/ 1 w 631"/>
                  <a:gd name="T15" fmla="*/ 1 h 358"/>
                  <a:gd name="T16" fmla="*/ 1 w 631"/>
                  <a:gd name="T17" fmla="*/ 1 h 358"/>
                  <a:gd name="T18" fmla="*/ 1 w 631"/>
                  <a:gd name="T19" fmla="*/ 1 h 358"/>
                  <a:gd name="T20" fmla="*/ 1 w 631"/>
                  <a:gd name="T21" fmla="*/ 1 h 358"/>
                  <a:gd name="T22" fmla="*/ 1 w 631"/>
                  <a:gd name="T23" fmla="*/ 1 h 358"/>
                  <a:gd name="T24" fmla="*/ 1 w 631"/>
                  <a:gd name="T25" fmla="*/ 1 h 358"/>
                  <a:gd name="T26" fmla="*/ 1 w 631"/>
                  <a:gd name="T27" fmla="*/ 1 h 358"/>
                  <a:gd name="T28" fmla="*/ 1 w 631"/>
                  <a:gd name="T29" fmla="*/ 1 h 358"/>
                  <a:gd name="T30" fmla="*/ 1 w 631"/>
                  <a:gd name="T31" fmla="*/ 0 h 358"/>
                  <a:gd name="T32" fmla="*/ 2 w 631"/>
                  <a:gd name="T33" fmla="*/ 0 h 358"/>
                  <a:gd name="T34" fmla="*/ 2 w 631"/>
                  <a:gd name="T35" fmla="*/ 0 h 358"/>
                  <a:gd name="T36" fmla="*/ 2 w 631"/>
                  <a:gd name="T37" fmla="*/ 0 h 358"/>
                  <a:gd name="T38" fmla="*/ 2 w 631"/>
                  <a:gd name="T39" fmla="*/ 0 h 358"/>
                  <a:gd name="T40" fmla="*/ 2 w 631"/>
                  <a:gd name="T41" fmla="*/ 0 h 358"/>
                  <a:gd name="T42" fmla="*/ 2 w 631"/>
                  <a:gd name="T43" fmla="*/ 0 h 358"/>
                  <a:gd name="T44" fmla="*/ 2 w 631"/>
                  <a:gd name="T45" fmla="*/ 0 h 358"/>
                  <a:gd name="T46" fmla="*/ 2 w 631"/>
                  <a:gd name="T47" fmla="*/ 0 h 358"/>
                  <a:gd name="T48" fmla="*/ 2 w 631"/>
                  <a:gd name="T49" fmla="*/ 0 h 358"/>
                  <a:gd name="T50" fmla="*/ 2 w 631"/>
                  <a:gd name="T51" fmla="*/ 0 h 358"/>
                  <a:gd name="T52" fmla="*/ 2 w 631"/>
                  <a:gd name="T53" fmla="*/ 0 h 358"/>
                  <a:gd name="T54" fmla="*/ 2 w 631"/>
                  <a:gd name="T55" fmla="*/ 1 h 358"/>
                  <a:gd name="T56" fmla="*/ 2 w 631"/>
                  <a:gd name="T57" fmla="*/ 1 h 358"/>
                  <a:gd name="T58" fmla="*/ 1 w 631"/>
                  <a:gd name="T59" fmla="*/ 1 h 358"/>
                  <a:gd name="T60" fmla="*/ 1 w 631"/>
                  <a:gd name="T61" fmla="*/ 1 h 358"/>
                  <a:gd name="T62" fmla="*/ 1 w 631"/>
                  <a:gd name="T63" fmla="*/ 1 h 358"/>
                  <a:gd name="T64" fmla="*/ 1 w 631"/>
                  <a:gd name="T65" fmla="*/ 1 h 358"/>
                  <a:gd name="T66" fmla="*/ 1 w 631"/>
                  <a:gd name="T67" fmla="*/ 1 h 358"/>
                  <a:gd name="T68" fmla="*/ 1 w 631"/>
                  <a:gd name="T69" fmla="*/ 1 h 358"/>
                  <a:gd name="T70" fmla="*/ 1 w 631"/>
                  <a:gd name="T71" fmla="*/ 1 h 358"/>
                  <a:gd name="T72" fmla="*/ 1 w 631"/>
                  <a:gd name="T73" fmla="*/ 1 h 358"/>
                  <a:gd name="T74" fmla="*/ 1 w 631"/>
                  <a:gd name="T75" fmla="*/ 1 h 358"/>
                  <a:gd name="T76" fmla="*/ 1 w 631"/>
                  <a:gd name="T77" fmla="*/ 1 h 358"/>
                  <a:gd name="T78" fmla="*/ 1 w 631"/>
                  <a:gd name="T79" fmla="*/ 1 h 358"/>
                  <a:gd name="T80" fmla="*/ 0 w 631"/>
                  <a:gd name="T81" fmla="*/ 1 h 358"/>
                  <a:gd name="T82" fmla="*/ 0 w 631"/>
                  <a:gd name="T83" fmla="*/ 1 h 358"/>
                  <a:gd name="T84" fmla="*/ 0 w 631"/>
                  <a:gd name="T85" fmla="*/ 1 h 358"/>
                  <a:gd name="T86" fmla="*/ 0 w 631"/>
                  <a:gd name="T87" fmla="*/ 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33" name="Freeform 532"/>
              <p:cNvSpPr>
                <a:spLocks/>
              </p:cNvSpPr>
              <p:nvPr/>
            </p:nvSpPr>
            <p:spPr bwMode="auto">
              <a:xfrm>
                <a:off x="5597" y="3323"/>
                <a:ext cx="116" cy="141"/>
              </a:xfrm>
              <a:custGeom>
                <a:avLst/>
                <a:gdLst>
                  <a:gd name="T0" fmla="*/ 0 w 359"/>
                  <a:gd name="T1" fmla="*/ 1 h 431"/>
                  <a:gd name="T2" fmla="*/ 0 w 359"/>
                  <a:gd name="T3" fmla="*/ 1 h 431"/>
                  <a:gd name="T4" fmla="*/ 1 w 359"/>
                  <a:gd name="T5" fmla="*/ 1 h 431"/>
                  <a:gd name="T6" fmla="*/ 1 w 359"/>
                  <a:gd name="T7" fmla="*/ 1 h 431"/>
                  <a:gd name="T8" fmla="*/ 1 w 359"/>
                  <a:gd name="T9" fmla="*/ 1 h 431"/>
                  <a:gd name="T10" fmla="*/ 1 w 359"/>
                  <a:gd name="T11" fmla="*/ 1 h 431"/>
                  <a:gd name="T12" fmla="*/ 1 w 359"/>
                  <a:gd name="T13" fmla="*/ 0 h 431"/>
                  <a:gd name="T14" fmla="*/ 1 w 359"/>
                  <a:gd name="T15" fmla="*/ 0 h 431"/>
                  <a:gd name="T16" fmla="*/ 1 w 359"/>
                  <a:gd name="T17" fmla="*/ 0 h 431"/>
                  <a:gd name="T18" fmla="*/ 1 w 359"/>
                  <a:gd name="T19" fmla="*/ 0 h 431"/>
                  <a:gd name="T20" fmla="*/ 1 w 359"/>
                  <a:gd name="T21" fmla="*/ 0 h 431"/>
                  <a:gd name="T22" fmla="*/ 1 w 359"/>
                  <a:gd name="T23" fmla="*/ 0 h 431"/>
                  <a:gd name="T24" fmla="*/ 1 w 359"/>
                  <a:gd name="T25" fmla="*/ 0 h 431"/>
                  <a:gd name="T26" fmla="*/ 1 w 359"/>
                  <a:gd name="T27" fmla="*/ 0 h 431"/>
                  <a:gd name="T28" fmla="*/ 1 w 359"/>
                  <a:gd name="T29" fmla="*/ 0 h 431"/>
                  <a:gd name="T30" fmla="*/ 1 w 359"/>
                  <a:gd name="T31" fmla="*/ 0 h 431"/>
                  <a:gd name="T32" fmla="*/ 1 w 359"/>
                  <a:gd name="T33" fmla="*/ 0 h 431"/>
                  <a:gd name="T34" fmla="*/ 1 w 359"/>
                  <a:gd name="T35" fmla="*/ 1 h 431"/>
                  <a:gd name="T36" fmla="*/ 1 w 359"/>
                  <a:gd name="T37" fmla="*/ 1 h 431"/>
                  <a:gd name="T38" fmla="*/ 1 w 359"/>
                  <a:gd name="T39" fmla="*/ 1 h 431"/>
                  <a:gd name="T40" fmla="*/ 1 w 359"/>
                  <a:gd name="T41" fmla="*/ 1 h 431"/>
                  <a:gd name="T42" fmla="*/ 1 w 359"/>
                  <a:gd name="T43" fmla="*/ 1 h 431"/>
                  <a:gd name="T44" fmla="*/ 1 w 359"/>
                  <a:gd name="T45" fmla="*/ 1 h 431"/>
                  <a:gd name="T46" fmla="*/ 1 w 359"/>
                  <a:gd name="T47" fmla="*/ 1 h 431"/>
                  <a:gd name="T48" fmla="*/ 1 w 359"/>
                  <a:gd name="T49" fmla="*/ 1 h 431"/>
                  <a:gd name="T50" fmla="*/ 1 w 359"/>
                  <a:gd name="T51" fmla="*/ 1 h 431"/>
                  <a:gd name="T52" fmla="*/ 1 w 359"/>
                  <a:gd name="T53" fmla="*/ 1 h 431"/>
                  <a:gd name="T54" fmla="*/ 1 w 359"/>
                  <a:gd name="T55" fmla="*/ 1 h 431"/>
                  <a:gd name="T56" fmla="*/ 1 w 359"/>
                  <a:gd name="T57" fmla="*/ 1 h 431"/>
                  <a:gd name="T58" fmla="*/ 1 w 359"/>
                  <a:gd name="T59" fmla="*/ 1 h 431"/>
                  <a:gd name="T60" fmla="*/ 1 w 359"/>
                  <a:gd name="T61" fmla="*/ 1 h 431"/>
                  <a:gd name="T62" fmla="*/ 1 w 359"/>
                  <a:gd name="T63" fmla="*/ 1 h 431"/>
                  <a:gd name="T64" fmla="*/ 1 w 359"/>
                  <a:gd name="T65" fmla="*/ 1 h 431"/>
                  <a:gd name="T66" fmla="*/ 1 w 359"/>
                  <a:gd name="T67" fmla="*/ 1 h 431"/>
                  <a:gd name="T68" fmla="*/ 1 w 359"/>
                  <a:gd name="T69" fmla="*/ 1 h 431"/>
                  <a:gd name="T70" fmla="*/ 1 w 359"/>
                  <a:gd name="T71" fmla="*/ 1 h 431"/>
                  <a:gd name="T72" fmla="*/ 1 w 359"/>
                  <a:gd name="T73" fmla="*/ 1 h 431"/>
                  <a:gd name="T74" fmla="*/ 1 w 359"/>
                  <a:gd name="T75" fmla="*/ 1 h 431"/>
                  <a:gd name="T76" fmla="*/ 0 w 359"/>
                  <a:gd name="T77" fmla="*/ 2 h 431"/>
                  <a:gd name="T78" fmla="*/ 0 w 359"/>
                  <a:gd name="T79" fmla="*/ 2 h 431"/>
                  <a:gd name="T80" fmla="*/ 0 w 359"/>
                  <a:gd name="T81" fmla="*/ 2 h 431"/>
                  <a:gd name="T82" fmla="*/ 0 w 359"/>
                  <a:gd name="T83" fmla="*/ 2 h 431"/>
                  <a:gd name="T84" fmla="*/ 0 w 359"/>
                  <a:gd name="T85" fmla="*/ 2 h 431"/>
                  <a:gd name="T86" fmla="*/ 0 w 359"/>
                  <a:gd name="T87" fmla="*/ 2 h 431"/>
                  <a:gd name="T88" fmla="*/ 0 w 359"/>
                  <a:gd name="T89" fmla="*/ 2 h 431"/>
                  <a:gd name="T90" fmla="*/ 0 w 359"/>
                  <a:gd name="T91" fmla="*/ 1 h 431"/>
                  <a:gd name="T92" fmla="*/ 0 w 359"/>
                  <a:gd name="T93" fmla="*/ 1 h 431"/>
                  <a:gd name="T94" fmla="*/ 0 w 359"/>
                  <a:gd name="T95" fmla="*/ 1 h 431"/>
                  <a:gd name="T96" fmla="*/ 0 w 359"/>
                  <a:gd name="T97" fmla="*/ 1 h 431"/>
                  <a:gd name="T98" fmla="*/ 0 w 359"/>
                  <a:gd name="T99" fmla="*/ 1 h 431"/>
                  <a:gd name="T100" fmla="*/ 0 w 359"/>
                  <a:gd name="T101" fmla="*/ 1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67" name="Freeform 66"/>
            <p:cNvSpPr>
              <a:spLocks/>
            </p:cNvSpPr>
            <p:nvPr>
              <p:custDataLst>
                <p:tags r:id="rId63"/>
              </p:custDataLst>
            </p:nvPr>
          </p:nvSpPr>
          <p:spPr bwMode="auto">
            <a:xfrm>
              <a:off x="7901222" y="2896871"/>
              <a:ext cx="9525" cy="42863"/>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8" name="Freeform 67"/>
            <p:cNvSpPr>
              <a:spLocks/>
            </p:cNvSpPr>
            <p:nvPr>
              <p:custDataLst>
                <p:tags r:id="rId64"/>
              </p:custDataLst>
            </p:nvPr>
          </p:nvSpPr>
          <p:spPr bwMode="auto">
            <a:xfrm>
              <a:off x="8628297" y="3573146"/>
              <a:ext cx="14287" cy="42863"/>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69" name="Freeform 68"/>
            <p:cNvSpPr>
              <a:spLocks/>
            </p:cNvSpPr>
            <p:nvPr>
              <p:custDataLst>
                <p:tags r:id="rId65"/>
              </p:custDataLst>
            </p:nvPr>
          </p:nvSpPr>
          <p:spPr bwMode="auto">
            <a:xfrm>
              <a:off x="8650521" y="3580290"/>
              <a:ext cx="17462" cy="44053"/>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0" name="Freeform 69"/>
            <p:cNvSpPr>
              <a:spLocks/>
            </p:cNvSpPr>
            <p:nvPr>
              <p:custDataLst>
                <p:tags r:id="rId66"/>
              </p:custDataLst>
            </p:nvPr>
          </p:nvSpPr>
          <p:spPr bwMode="auto">
            <a:xfrm>
              <a:off x="7964722" y="2888537"/>
              <a:ext cx="1587" cy="41672"/>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1" name="Freeform 70"/>
            <p:cNvSpPr>
              <a:spLocks/>
            </p:cNvSpPr>
            <p:nvPr>
              <p:custDataLst>
                <p:tags r:id="rId67"/>
              </p:custDataLst>
            </p:nvPr>
          </p:nvSpPr>
          <p:spPr bwMode="auto">
            <a:xfrm>
              <a:off x="8023458" y="2846865"/>
              <a:ext cx="6350" cy="42863"/>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2" name="Freeform 71"/>
            <p:cNvSpPr>
              <a:spLocks/>
            </p:cNvSpPr>
            <p:nvPr>
              <p:custDataLst>
                <p:tags r:id="rId68"/>
              </p:custDataLst>
            </p:nvPr>
          </p:nvSpPr>
          <p:spPr bwMode="auto">
            <a:xfrm>
              <a:off x="8136171" y="2763521"/>
              <a:ext cx="4762" cy="42863"/>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3" name="Freeform 72"/>
            <p:cNvSpPr>
              <a:spLocks/>
            </p:cNvSpPr>
            <p:nvPr>
              <p:custDataLst>
                <p:tags r:id="rId69"/>
              </p:custDataLst>
            </p:nvPr>
          </p:nvSpPr>
          <p:spPr bwMode="auto">
            <a:xfrm>
              <a:off x="8288572" y="3287397"/>
              <a:ext cx="26987" cy="44053"/>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4" name="Freeform 73"/>
            <p:cNvSpPr>
              <a:spLocks/>
            </p:cNvSpPr>
            <p:nvPr>
              <p:custDataLst>
                <p:tags r:id="rId70"/>
              </p:custDataLst>
            </p:nvPr>
          </p:nvSpPr>
          <p:spPr bwMode="auto">
            <a:xfrm>
              <a:off x="8352071" y="3298111"/>
              <a:ext cx="12700" cy="42863"/>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5" name="Freeform 74"/>
            <p:cNvSpPr>
              <a:spLocks/>
            </p:cNvSpPr>
            <p:nvPr>
              <p:custDataLst>
                <p:tags r:id="rId71"/>
              </p:custDataLst>
            </p:nvPr>
          </p:nvSpPr>
          <p:spPr bwMode="auto">
            <a:xfrm>
              <a:off x="8209196" y="3130234"/>
              <a:ext cx="25400" cy="4167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6" name="Freeform 75"/>
            <p:cNvSpPr>
              <a:spLocks/>
            </p:cNvSpPr>
            <p:nvPr>
              <p:custDataLst>
                <p:tags r:id="rId72"/>
              </p:custDataLst>
            </p:nvPr>
          </p:nvSpPr>
          <p:spPr bwMode="auto">
            <a:xfrm>
              <a:off x="8152046" y="3111183"/>
              <a:ext cx="11112" cy="42863"/>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7" name="Freeform 76"/>
            <p:cNvSpPr>
              <a:spLocks/>
            </p:cNvSpPr>
            <p:nvPr>
              <p:custDataLst>
                <p:tags r:id="rId73"/>
              </p:custDataLst>
            </p:nvPr>
          </p:nvSpPr>
          <p:spPr bwMode="auto">
            <a:xfrm>
              <a:off x="8352071" y="3360024"/>
              <a:ext cx="31750" cy="42863"/>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8" name="Freeform 77"/>
            <p:cNvSpPr>
              <a:spLocks/>
            </p:cNvSpPr>
            <p:nvPr>
              <p:custDataLst>
                <p:tags r:id="rId74"/>
              </p:custDataLst>
            </p:nvPr>
          </p:nvSpPr>
          <p:spPr bwMode="auto">
            <a:xfrm>
              <a:off x="8307622" y="3351690"/>
              <a:ext cx="22225" cy="42863"/>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79" name="Line 89"/>
            <p:cNvSpPr>
              <a:spLocks noChangeShapeType="1"/>
            </p:cNvSpPr>
            <p:nvPr>
              <p:custDataLst>
                <p:tags r:id="rId75"/>
              </p:custDataLst>
            </p:nvPr>
          </p:nvSpPr>
          <p:spPr bwMode="auto">
            <a:xfrm>
              <a:off x="8340958" y="3340974"/>
              <a:ext cx="20638" cy="4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80" name="Freeform 79"/>
            <p:cNvSpPr>
              <a:spLocks/>
            </p:cNvSpPr>
            <p:nvPr>
              <p:custDataLst>
                <p:tags r:id="rId76"/>
              </p:custDataLst>
            </p:nvPr>
          </p:nvSpPr>
          <p:spPr bwMode="auto">
            <a:xfrm>
              <a:off x="8361597" y="3345736"/>
              <a:ext cx="1587" cy="42863"/>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1" name="Freeform 80"/>
            <p:cNvSpPr>
              <a:spLocks/>
            </p:cNvSpPr>
            <p:nvPr>
              <p:custDataLst>
                <p:tags r:id="rId77"/>
              </p:custDataLst>
            </p:nvPr>
          </p:nvSpPr>
          <p:spPr bwMode="auto">
            <a:xfrm>
              <a:off x="8315558" y="3340974"/>
              <a:ext cx="14288" cy="44054"/>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2" name="Freeform 81"/>
            <p:cNvSpPr>
              <a:spLocks/>
            </p:cNvSpPr>
            <p:nvPr>
              <p:custDataLst>
                <p:tags r:id="rId78"/>
              </p:custDataLst>
            </p:nvPr>
          </p:nvSpPr>
          <p:spPr bwMode="auto">
            <a:xfrm>
              <a:off x="8309208" y="3326687"/>
              <a:ext cx="6350" cy="45244"/>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3" name="Freeform 82"/>
            <p:cNvSpPr>
              <a:spLocks/>
            </p:cNvSpPr>
            <p:nvPr>
              <p:custDataLst>
                <p:tags r:id="rId79"/>
              </p:custDataLst>
            </p:nvPr>
          </p:nvSpPr>
          <p:spPr bwMode="auto">
            <a:xfrm>
              <a:off x="8390172" y="3121899"/>
              <a:ext cx="1587" cy="42863"/>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84" name="Group 83"/>
            <p:cNvGrpSpPr>
              <a:grpSpLocks/>
            </p:cNvGrpSpPr>
            <p:nvPr>
              <p:custDataLst>
                <p:tags r:id="rId80"/>
              </p:custDataLst>
            </p:nvPr>
          </p:nvGrpSpPr>
          <p:grpSpPr bwMode="auto">
            <a:xfrm>
              <a:off x="8264759" y="2875440"/>
              <a:ext cx="163513" cy="85725"/>
              <a:chOff x="5379" y="2466"/>
              <a:chExt cx="122" cy="71"/>
            </a:xfrm>
          </p:grpSpPr>
          <p:sp>
            <p:nvSpPr>
              <p:cNvPr id="522" name="Freeform 521"/>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3" name="Freeform 522"/>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4" name="Freeform 523"/>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5" name="Freeform 524"/>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6" name="Freeform 525"/>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28" name="Freeform 527"/>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30" name="Freeform 529"/>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85" name="Freeform 84"/>
            <p:cNvSpPr>
              <a:spLocks/>
            </p:cNvSpPr>
            <p:nvPr>
              <p:custDataLst>
                <p:tags r:id="rId81"/>
              </p:custDataLst>
            </p:nvPr>
          </p:nvSpPr>
          <p:spPr bwMode="auto">
            <a:xfrm>
              <a:off x="6848708" y="2771855"/>
              <a:ext cx="6350" cy="42863"/>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6" name="Freeform 85"/>
            <p:cNvSpPr>
              <a:spLocks/>
            </p:cNvSpPr>
            <p:nvPr>
              <p:custDataLst>
                <p:tags r:id="rId82"/>
              </p:custDataLst>
            </p:nvPr>
          </p:nvSpPr>
          <p:spPr bwMode="auto">
            <a:xfrm>
              <a:off x="6050196" y="4255375"/>
              <a:ext cx="30162" cy="41672"/>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7" name="Freeform 86"/>
            <p:cNvSpPr>
              <a:spLocks/>
            </p:cNvSpPr>
            <p:nvPr>
              <p:custDataLst>
                <p:tags r:id="rId83"/>
              </p:custDataLst>
            </p:nvPr>
          </p:nvSpPr>
          <p:spPr bwMode="auto">
            <a:xfrm>
              <a:off x="8237770" y="1833642"/>
              <a:ext cx="20638" cy="42863"/>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8" name="Freeform 87"/>
            <p:cNvSpPr>
              <a:spLocks/>
            </p:cNvSpPr>
            <p:nvPr>
              <p:custDataLst>
                <p:tags r:id="rId84"/>
              </p:custDataLst>
            </p:nvPr>
          </p:nvSpPr>
          <p:spPr bwMode="auto">
            <a:xfrm>
              <a:off x="8380647" y="1858646"/>
              <a:ext cx="15875" cy="42863"/>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89" name="Freeform 88"/>
            <p:cNvSpPr>
              <a:spLocks/>
            </p:cNvSpPr>
            <p:nvPr>
              <p:custDataLst>
                <p:tags r:id="rId85"/>
              </p:custDataLst>
            </p:nvPr>
          </p:nvSpPr>
          <p:spPr bwMode="auto">
            <a:xfrm>
              <a:off x="7829784" y="2031286"/>
              <a:ext cx="4763" cy="44054"/>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0" name="Freeform 89"/>
            <p:cNvSpPr>
              <a:spLocks/>
            </p:cNvSpPr>
            <p:nvPr>
              <p:custDataLst>
                <p:tags r:id="rId86"/>
              </p:custDataLst>
            </p:nvPr>
          </p:nvSpPr>
          <p:spPr bwMode="auto">
            <a:xfrm>
              <a:off x="7644047" y="2452768"/>
              <a:ext cx="14287" cy="44054"/>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1" name="Freeform 90"/>
            <p:cNvSpPr>
              <a:spLocks/>
            </p:cNvSpPr>
            <p:nvPr>
              <p:custDataLst>
                <p:tags r:id="rId87"/>
              </p:custDataLst>
            </p:nvPr>
          </p:nvSpPr>
          <p:spPr bwMode="auto">
            <a:xfrm>
              <a:off x="7661509" y="2403952"/>
              <a:ext cx="15875" cy="42863"/>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2" name="Freeform 91"/>
            <p:cNvSpPr>
              <a:spLocks/>
            </p:cNvSpPr>
            <p:nvPr>
              <p:custDataLst>
                <p:tags r:id="rId88"/>
              </p:custDataLst>
            </p:nvPr>
          </p:nvSpPr>
          <p:spPr bwMode="auto">
            <a:xfrm>
              <a:off x="7550383" y="2290843"/>
              <a:ext cx="1588" cy="45244"/>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3" name="Freeform 92"/>
            <p:cNvSpPr>
              <a:spLocks/>
            </p:cNvSpPr>
            <p:nvPr>
              <p:custDataLst>
                <p:tags r:id="rId89"/>
              </p:custDataLst>
            </p:nvPr>
          </p:nvSpPr>
          <p:spPr bwMode="auto">
            <a:xfrm>
              <a:off x="4402372" y="1635999"/>
              <a:ext cx="9525" cy="42863"/>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4" name="Freeform 93"/>
            <p:cNvSpPr>
              <a:spLocks/>
            </p:cNvSpPr>
            <p:nvPr>
              <p:custDataLst>
                <p:tags r:id="rId90"/>
              </p:custDataLst>
            </p:nvPr>
          </p:nvSpPr>
          <p:spPr bwMode="auto">
            <a:xfrm>
              <a:off x="4388084" y="1462168"/>
              <a:ext cx="3175" cy="42863"/>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5" name="Freeform 94"/>
            <p:cNvSpPr>
              <a:spLocks/>
            </p:cNvSpPr>
            <p:nvPr>
              <p:custDataLst>
                <p:tags r:id="rId91"/>
              </p:custDataLst>
            </p:nvPr>
          </p:nvSpPr>
          <p:spPr bwMode="auto">
            <a:xfrm>
              <a:off x="5869221" y="2795668"/>
              <a:ext cx="25400" cy="41672"/>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96" name="Freeform 95"/>
            <p:cNvSpPr>
              <a:spLocks/>
            </p:cNvSpPr>
            <p:nvPr>
              <p:custDataLst>
                <p:tags r:id="rId92"/>
              </p:custDataLst>
            </p:nvPr>
          </p:nvSpPr>
          <p:spPr bwMode="auto">
            <a:xfrm>
              <a:off x="5572358" y="2692084"/>
              <a:ext cx="19050" cy="44053"/>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97" name="Group 96"/>
            <p:cNvGrpSpPr>
              <a:grpSpLocks/>
            </p:cNvGrpSpPr>
            <p:nvPr>
              <p:custDataLst>
                <p:tags r:id="rId93"/>
              </p:custDataLst>
            </p:nvPr>
          </p:nvGrpSpPr>
          <p:grpSpPr bwMode="auto">
            <a:xfrm>
              <a:off x="6343883" y="2832577"/>
              <a:ext cx="46038" cy="280988"/>
              <a:chOff x="3950" y="2430"/>
              <a:chExt cx="36" cy="234"/>
            </a:xfrm>
          </p:grpSpPr>
          <p:sp>
            <p:nvSpPr>
              <p:cNvPr id="491" name="Freeform 490"/>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2" name="Freeform 491"/>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3" name="Freeform 492"/>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4" name="Rectangle 493"/>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457200"/>
                <a:endParaRPr lang="en-US" baseline="-25000">
                  <a:solidFill>
                    <a:prstClr val="black"/>
                  </a:solidFill>
                </a:endParaRPr>
              </a:p>
            </p:txBody>
          </p:sp>
          <p:sp>
            <p:nvSpPr>
              <p:cNvPr id="49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96" name="Freeform 495"/>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7" name="Freeform 496"/>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99" name="Freeform 498"/>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0" name="Freeform 499"/>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02" name="Freeform 501"/>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3" name="Freeform 502"/>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4" name="Freeform 503"/>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5" name="Freeform 504"/>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6" name="Freeform 505"/>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7" name="Freeform 506"/>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8" name="Freeform 507"/>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09" name="Rectangle 508"/>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defTabSz="457200"/>
                <a:endParaRPr lang="en-US" baseline="-25000">
                  <a:solidFill>
                    <a:prstClr val="black"/>
                  </a:solidFill>
                </a:endParaRPr>
              </a:p>
            </p:txBody>
          </p:sp>
          <p:sp>
            <p:nvSpPr>
              <p:cNvPr id="51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11" name="Freeform 510"/>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2" name="Freeform 511"/>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14" name="Freeform 513"/>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5" name="Freeform 514"/>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517" name="Freeform 516"/>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8" name="Freeform 517"/>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19" name="Freeform 518"/>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0" name="Freeform 519"/>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521" name="Freeform 520"/>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grpSp>
          <p:nvGrpSpPr>
            <p:cNvPr id="98" name="Group 97"/>
            <p:cNvGrpSpPr>
              <a:grpSpLocks/>
            </p:cNvGrpSpPr>
            <p:nvPr>
              <p:custDataLst>
                <p:tags r:id="rId94"/>
              </p:custDataLst>
            </p:nvPr>
          </p:nvGrpSpPr>
          <p:grpSpPr bwMode="auto">
            <a:xfrm>
              <a:off x="8409222" y="3207624"/>
              <a:ext cx="185737" cy="160735"/>
              <a:chOff x="5486" y="2743"/>
              <a:chExt cx="137" cy="132"/>
            </a:xfrm>
          </p:grpSpPr>
          <p:sp>
            <p:nvSpPr>
              <p:cNvPr id="482" name="Freeform 481"/>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3" name="Freeform 482"/>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4" name="Freeform 483"/>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5" name="Freeform 484"/>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6" name="Freeform 485"/>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7" name="Freeform 486"/>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8" name="Freeform 487"/>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9" name="Freeform 488"/>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90" name="Freeform 489"/>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99" name="Freeform 98"/>
            <p:cNvSpPr>
              <a:spLocks/>
            </p:cNvSpPr>
            <p:nvPr>
              <p:custDataLst>
                <p:tags r:id="rId95"/>
              </p:custDataLst>
            </p:nvPr>
          </p:nvSpPr>
          <p:spPr bwMode="auto">
            <a:xfrm>
              <a:off x="4754796" y="3011171"/>
              <a:ext cx="11112" cy="4167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0" name="Freeform 99"/>
            <p:cNvSpPr>
              <a:spLocks/>
            </p:cNvSpPr>
            <p:nvPr>
              <p:custDataLst>
                <p:tags r:id="rId96"/>
              </p:custDataLst>
            </p:nvPr>
          </p:nvSpPr>
          <p:spPr bwMode="auto">
            <a:xfrm>
              <a:off x="4678597" y="3115946"/>
              <a:ext cx="14287" cy="42863"/>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1" name="Freeform 100"/>
            <p:cNvSpPr>
              <a:spLocks/>
            </p:cNvSpPr>
            <p:nvPr>
              <p:custDataLst>
                <p:tags r:id="rId97"/>
              </p:custDataLst>
            </p:nvPr>
          </p:nvSpPr>
          <p:spPr bwMode="auto">
            <a:xfrm>
              <a:off x="6477234" y="1861028"/>
              <a:ext cx="728663" cy="248840"/>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2" name="Freeform 101"/>
            <p:cNvSpPr>
              <a:spLocks/>
            </p:cNvSpPr>
            <p:nvPr>
              <p:custDataLst>
                <p:tags r:id="rId98"/>
              </p:custDataLst>
            </p:nvPr>
          </p:nvSpPr>
          <p:spPr bwMode="auto">
            <a:xfrm>
              <a:off x="2803759" y="3336212"/>
              <a:ext cx="328613" cy="311944"/>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3" name="Freeform 102"/>
            <p:cNvSpPr>
              <a:spLocks/>
            </p:cNvSpPr>
            <p:nvPr>
              <p:custDataLst>
                <p:tags r:id="rId99"/>
              </p:custDataLst>
            </p:nvPr>
          </p:nvSpPr>
          <p:spPr bwMode="auto">
            <a:xfrm>
              <a:off x="3018071" y="2908778"/>
              <a:ext cx="119062" cy="161925"/>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104" name="Group 103"/>
            <p:cNvGrpSpPr>
              <a:grpSpLocks/>
            </p:cNvGrpSpPr>
            <p:nvPr>
              <p:custDataLst>
                <p:tags r:id="rId100"/>
              </p:custDataLst>
            </p:nvPr>
          </p:nvGrpSpPr>
          <p:grpSpPr bwMode="auto">
            <a:xfrm>
              <a:off x="2732321" y="2784953"/>
              <a:ext cx="323850" cy="301228"/>
              <a:chOff x="1486" y="2412"/>
              <a:chExt cx="244" cy="256"/>
            </a:xfrm>
          </p:grpSpPr>
          <p:sp>
            <p:nvSpPr>
              <p:cNvPr id="478" name="Freeform 477"/>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9" name="Freeform 478"/>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0" name="Freeform 479"/>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81" name="Freeform 480"/>
              <p:cNvSpPr>
                <a:spLocks/>
              </p:cNvSpPr>
              <p:nvPr/>
            </p:nvSpPr>
            <p:spPr bwMode="auto">
              <a:xfrm>
                <a:off x="1486" y="2444"/>
                <a:ext cx="244" cy="224"/>
              </a:xfrm>
              <a:custGeom>
                <a:avLst/>
                <a:gdLst>
                  <a:gd name="T0" fmla="*/ 0 w 743"/>
                  <a:gd name="T1" fmla="*/ 1 h 672"/>
                  <a:gd name="T2" fmla="*/ 0 w 743"/>
                  <a:gd name="T3" fmla="*/ 1 h 672"/>
                  <a:gd name="T4" fmla="*/ 0 w 743"/>
                  <a:gd name="T5" fmla="*/ 1 h 672"/>
                  <a:gd name="T6" fmla="*/ 1 w 743"/>
                  <a:gd name="T7" fmla="*/ 1 h 672"/>
                  <a:gd name="T8" fmla="*/ 1 w 743"/>
                  <a:gd name="T9" fmla="*/ 1 h 672"/>
                  <a:gd name="T10" fmla="*/ 1 w 743"/>
                  <a:gd name="T11" fmla="*/ 2 h 672"/>
                  <a:gd name="T12" fmla="*/ 1 w 743"/>
                  <a:gd name="T13" fmla="*/ 2 h 672"/>
                  <a:gd name="T14" fmla="*/ 1 w 743"/>
                  <a:gd name="T15" fmla="*/ 2 h 672"/>
                  <a:gd name="T16" fmla="*/ 1 w 743"/>
                  <a:gd name="T17" fmla="*/ 2 h 672"/>
                  <a:gd name="T18" fmla="*/ 1 w 743"/>
                  <a:gd name="T19" fmla="*/ 2 h 672"/>
                  <a:gd name="T20" fmla="*/ 1 w 743"/>
                  <a:gd name="T21" fmla="*/ 3 h 672"/>
                  <a:gd name="T22" fmla="*/ 1 w 743"/>
                  <a:gd name="T23" fmla="*/ 3 h 672"/>
                  <a:gd name="T24" fmla="*/ 2 w 743"/>
                  <a:gd name="T25" fmla="*/ 3 h 672"/>
                  <a:gd name="T26" fmla="*/ 2 w 743"/>
                  <a:gd name="T27" fmla="*/ 3 h 672"/>
                  <a:gd name="T28" fmla="*/ 2 w 743"/>
                  <a:gd name="T29" fmla="*/ 3 h 672"/>
                  <a:gd name="T30" fmla="*/ 2 w 743"/>
                  <a:gd name="T31" fmla="*/ 2 h 672"/>
                  <a:gd name="T32" fmla="*/ 2 w 743"/>
                  <a:gd name="T33" fmla="*/ 2 h 672"/>
                  <a:gd name="T34" fmla="*/ 2 w 743"/>
                  <a:gd name="T35" fmla="*/ 2 h 672"/>
                  <a:gd name="T36" fmla="*/ 2 w 743"/>
                  <a:gd name="T37" fmla="*/ 2 h 672"/>
                  <a:gd name="T38" fmla="*/ 3 w 743"/>
                  <a:gd name="T39" fmla="*/ 2 h 672"/>
                  <a:gd name="T40" fmla="*/ 3 w 743"/>
                  <a:gd name="T41" fmla="*/ 2 h 672"/>
                  <a:gd name="T42" fmla="*/ 3 w 743"/>
                  <a:gd name="T43" fmla="*/ 2 h 672"/>
                  <a:gd name="T44" fmla="*/ 3 w 743"/>
                  <a:gd name="T45" fmla="*/ 1 h 672"/>
                  <a:gd name="T46" fmla="*/ 3 w 743"/>
                  <a:gd name="T47" fmla="*/ 1 h 672"/>
                  <a:gd name="T48" fmla="*/ 3 w 743"/>
                  <a:gd name="T49" fmla="*/ 1 h 672"/>
                  <a:gd name="T50" fmla="*/ 3 w 743"/>
                  <a:gd name="T51" fmla="*/ 1 h 672"/>
                  <a:gd name="T52" fmla="*/ 3 w 743"/>
                  <a:gd name="T53" fmla="*/ 1 h 672"/>
                  <a:gd name="T54" fmla="*/ 3 w 743"/>
                  <a:gd name="T55" fmla="*/ 1 h 672"/>
                  <a:gd name="T56" fmla="*/ 3 w 743"/>
                  <a:gd name="T57" fmla="*/ 1 h 672"/>
                  <a:gd name="T58" fmla="*/ 3 w 743"/>
                  <a:gd name="T59" fmla="*/ 1 h 672"/>
                  <a:gd name="T60" fmla="*/ 3 w 743"/>
                  <a:gd name="T61" fmla="*/ 1 h 672"/>
                  <a:gd name="T62" fmla="*/ 2 w 743"/>
                  <a:gd name="T63" fmla="*/ 1 h 672"/>
                  <a:gd name="T64" fmla="*/ 2 w 743"/>
                  <a:gd name="T65" fmla="*/ 0 h 672"/>
                  <a:gd name="T66" fmla="*/ 2 w 743"/>
                  <a:gd name="T67" fmla="*/ 0 h 672"/>
                  <a:gd name="T68" fmla="*/ 2 w 743"/>
                  <a:gd name="T69" fmla="*/ 0 h 672"/>
                  <a:gd name="T70" fmla="*/ 2 w 743"/>
                  <a:gd name="T71" fmla="*/ 0 h 672"/>
                  <a:gd name="T72" fmla="*/ 2 w 743"/>
                  <a:gd name="T73" fmla="*/ 0 h 672"/>
                  <a:gd name="T74" fmla="*/ 2 w 743"/>
                  <a:gd name="T75" fmla="*/ 0 h 672"/>
                  <a:gd name="T76" fmla="*/ 2 w 743"/>
                  <a:gd name="T77" fmla="*/ 0 h 672"/>
                  <a:gd name="T78" fmla="*/ 2 w 743"/>
                  <a:gd name="T79" fmla="*/ 0 h 672"/>
                  <a:gd name="T80" fmla="*/ 1 w 743"/>
                  <a:gd name="T81" fmla="*/ 0 h 672"/>
                  <a:gd name="T82" fmla="*/ 1 w 743"/>
                  <a:gd name="T83" fmla="*/ 0 h 672"/>
                  <a:gd name="T84" fmla="*/ 1 w 743"/>
                  <a:gd name="T85" fmla="*/ 0 h 672"/>
                  <a:gd name="T86" fmla="*/ 1 w 743"/>
                  <a:gd name="T87" fmla="*/ 0 h 672"/>
                  <a:gd name="T88" fmla="*/ 1 w 743"/>
                  <a:gd name="T89" fmla="*/ 0 h 672"/>
                  <a:gd name="T90" fmla="*/ 1 w 743"/>
                  <a:gd name="T91" fmla="*/ 0 h 672"/>
                  <a:gd name="T92" fmla="*/ 1 w 743"/>
                  <a:gd name="T93" fmla="*/ 0 h 672"/>
                  <a:gd name="T94" fmla="*/ 1 w 743"/>
                  <a:gd name="T95" fmla="*/ 0 h 672"/>
                  <a:gd name="T96" fmla="*/ 0 w 743"/>
                  <a:gd name="T97" fmla="*/ 0 h 672"/>
                  <a:gd name="T98" fmla="*/ 0 w 743"/>
                  <a:gd name="T99" fmla="*/ 1 h 672"/>
                  <a:gd name="T100" fmla="*/ 0 w 743"/>
                  <a:gd name="T101" fmla="*/ 1 h 672"/>
                  <a:gd name="T102" fmla="*/ 0 w 743"/>
                  <a:gd name="T103" fmla="*/ 1 h 672"/>
                  <a:gd name="T104" fmla="*/ 0 w 743"/>
                  <a:gd name="T105" fmla="*/ 1 h 672"/>
                  <a:gd name="T106" fmla="*/ 0 w 743"/>
                  <a:gd name="T107" fmla="*/ 1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105" name="Freeform 104"/>
            <p:cNvSpPr>
              <a:spLocks/>
            </p:cNvSpPr>
            <p:nvPr>
              <p:custDataLst>
                <p:tags r:id="rId101"/>
              </p:custDataLst>
            </p:nvPr>
          </p:nvSpPr>
          <p:spPr bwMode="auto">
            <a:xfrm>
              <a:off x="7753583" y="3939859"/>
              <a:ext cx="31750" cy="8334"/>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6" name="Freeform 105"/>
            <p:cNvSpPr>
              <a:spLocks/>
            </p:cNvSpPr>
            <p:nvPr>
              <p:custDataLst>
                <p:tags r:id="rId102"/>
              </p:custDataLst>
            </p:nvPr>
          </p:nvSpPr>
          <p:spPr bwMode="auto">
            <a:xfrm>
              <a:off x="7869472" y="4039871"/>
              <a:ext cx="1587" cy="357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7" name="Line 171"/>
            <p:cNvSpPr>
              <a:spLocks noChangeShapeType="1"/>
            </p:cNvSpPr>
            <p:nvPr>
              <p:custDataLst>
                <p:tags r:id="rId103"/>
              </p:custDataLst>
            </p:nvPr>
          </p:nvSpPr>
          <p:spPr bwMode="auto">
            <a:xfrm flipV="1">
              <a:off x="7959958" y="4038680"/>
              <a:ext cx="1588"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108" name="Freeform 107"/>
            <p:cNvSpPr>
              <a:spLocks/>
            </p:cNvSpPr>
            <p:nvPr>
              <p:custDataLst>
                <p:tags r:id="rId104"/>
              </p:custDataLst>
            </p:nvPr>
          </p:nvSpPr>
          <p:spPr bwMode="auto">
            <a:xfrm>
              <a:off x="7959959" y="4038681"/>
              <a:ext cx="3175" cy="11906"/>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09" name="Freeform 108"/>
            <p:cNvSpPr>
              <a:spLocks/>
            </p:cNvSpPr>
            <p:nvPr>
              <p:custDataLst>
                <p:tags r:id="rId105"/>
              </p:custDataLst>
            </p:nvPr>
          </p:nvSpPr>
          <p:spPr bwMode="auto">
            <a:xfrm>
              <a:off x="8258409" y="3641012"/>
              <a:ext cx="22225" cy="21431"/>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0" name="Freeform 109"/>
            <p:cNvSpPr>
              <a:spLocks/>
            </p:cNvSpPr>
            <p:nvPr>
              <p:custDataLst>
                <p:tags r:id="rId106"/>
              </p:custDataLst>
            </p:nvPr>
          </p:nvSpPr>
          <p:spPr bwMode="auto">
            <a:xfrm>
              <a:off x="8264758" y="3586243"/>
              <a:ext cx="26988" cy="29766"/>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1" name="Freeform 110"/>
            <p:cNvSpPr>
              <a:spLocks/>
            </p:cNvSpPr>
            <p:nvPr>
              <p:custDataLst>
                <p:tags r:id="rId107"/>
              </p:custDataLst>
            </p:nvPr>
          </p:nvSpPr>
          <p:spPr bwMode="auto">
            <a:xfrm>
              <a:off x="8240946" y="3568384"/>
              <a:ext cx="17462" cy="2262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2" name="Freeform 111"/>
            <p:cNvSpPr>
              <a:spLocks/>
            </p:cNvSpPr>
            <p:nvPr>
              <p:custDataLst>
                <p:tags r:id="rId108"/>
              </p:custDataLst>
            </p:nvPr>
          </p:nvSpPr>
          <p:spPr bwMode="auto">
            <a:xfrm>
              <a:off x="8159983" y="3476706"/>
              <a:ext cx="68263" cy="103585"/>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3" name="Line 177"/>
            <p:cNvSpPr>
              <a:spLocks noChangeShapeType="1"/>
            </p:cNvSpPr>
            <p:nvPr>
              <p:custDataLst>
                <p:tags r:id="rId109"/>
              </p:custDataLst>
            </p:nvPr>
          </p:nvSpPr>
          <p:spPr bwMode="auto">
            <a:xfrm flipH="1" flipV="1">
              <a:off x="8153633" y="3451703"/>
              <a:ext cx="6350" cy="2500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114" name="Freeform 113"/>
            <p:cNvSpPr>
              <a:spLocks/>
            </p:cNvSpPr>
            <p:nvPr>
              <p:custDataLst>
                <p:tags r:id="rId110"/>
              </p:custDataLst>
            </p:nvPr>
          </p:nvSpPr>
          <p:spPr bwMode="auto">
            <a:xfrm>
              <a:off x="8153633" y="3439797"/>
              <a:ext cx="6350" cy="11906"/>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5" name="Line 179"/>
            <p:cNvSpPr>
              <a:spLocks noChangeShapeType="1"/>
            </p:cNvSpPr>
            <p:nvPr>
              <p:custDataLst>
                <p:tags r:id="rId111"/>
              </p:custDataLst>
            </p:nvPr>
          </p:nvSpPr>
          <p:spPr bwMode="auto">
            <a:xfrm flipV="1">
              <a:off x="8159983" y="3430271"/>
              <a:ext cx="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116" name="Freeform 115"/>
            <p:cNvSpPr>
              <a:spLocks/>
            </p:cNvSpPr>
            <p:nvPr>
              <p:custDataLst>
                <p:tags r:id="rId112"/>
              </p:custDataLst>
            </p:nvPr>
          </p:nvSpPr>
          <p:spPr bwMode="auto">
            <a:xfrm>
              <a:off x="8113947" y="3380265"/>
              <a:ext cx="46037" cy="50006"/>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7" name="Freeform 116"/>
            <p:cNvSpPr>
              <a:spLocks/>
            </p:cNvSpPr>
            <p:nvPr>
              <p:custDataLst>
                <p:tags r:id="rId113"/>
              </p:custDataLst>
            </p:nvPr>
          </p:nvSpPr>
          <p:spPr bwMode="auto">
            <a:xfrm>
              <a:off x="8128233" y="3337402"/>
              <a:ext cx="1588" cy="381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8" name="Freeform 117"/>
            <p:cNvSpPr>
              <a:spLocks/>
            </p:cNvSpPr>
            <p:nvPr>
              <p:custDataLst>
                <p:tags r:id="rId114"/>
              </p:custDataLst>
            </p:nvPr>
          </p:nvSpPr>
          <p:spPr bwMode="auto">
            <a:xfrm>
              <a:off x="8134583" y="3332640"/>
              <a:ext cx="7938" cy="27384"/>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19" name="Freeform 118"/>
            <p:cNvSpPr>
              <a:spLocks/>
            </p:cNvSpPr>
            <p:nvPr>
              <p:custDataLst>
                <p:tags r:id="rId115"/>
              </p:custDataLst>
            </p:nvPr>
          </p:nvSpPr>
          <p:spPr bwMode="auto">
            <a:xfrm>
              <a:off x="8150458" y="3318353"/>
              <a:ext cx="1588" cy="16669"/>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0" name="Line 184"/>
            <p:cNvSpPr>
              <a:spLocks noChangeShapeType="1"/>
            </p:cNvSpPr>
            <p:nvPr>
              <p:custDataLst>
                <p:tags r:id="rId116"/>
              </p:custDataLst>
            </p:nvPr>
          </p:nvSpPr>
          <p:spPr bwMode="auto">
            <a:xfrm flipV="1">
              <a:off x="8150458" y="3332641"/>
              <a:ext cx="1588" cy="238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121" name="Freeform 120"/>
            <p:cNvSpPr>
              <a:spLocks/>
            </p:cNvSpPr>
            <p:nvPr>
              <p:custDataLst>
                <p:tags r:id="rId117"/>
              </p:custDataLst>
            </p:nvPr>
          </p:nvSpPr>
          <p:spPr bwMode="auto">
            <a:xfrm>
              <a:off x="8134583" y="3320734"/>
              <a:ext cx="1588" cy="11906"/>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2" name="Freeform 121"/>
            <p:cNvSpPr>
              <a:spLocks/>
            </p:cNvSpPr>
            <p:nvPr>
              <p:custDataLst>
                <p:tags r:id="rId118"/>
              </p:custDataLst>
            </p:nvPr>
          </p:nvSpPr>
          <p:spPr bwMode="auto">
            <a:xfrm>
              <a:off x="7855183" y="4062493"/>
              <a:ext cx="96838" cy="65485"/>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3" name="Freeform 122"/>
            <p:cNvSpPr>
              <a:spLocks/>
            </p:cNvSpPr>
            <p:nvPr>
              <p:custDataLst>
                <p:tags r:id="rId119"/>
              </p:custDataLst>
            </p:nvPr>
          </p:nvSpPr>
          <p:spPr bwMode="auto">
            <a:xfrm>
              <a:off x="7993297" y="3476706"/>
              <a:ext cx="3175" cy="13097"/>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4" name="Freeform 123"/>
            <p:cNvSpPr>
              <a:spLocks/>
            </p:cNvSpPr>
            <p:nvPr>
              <p:custDataLst>
                <p:tags r:id="rId120"/>
              </p:custDataLst>
            </p:nvPr>
          </p:nvSpPr>
          <p:spPr bwMode="auto">
            <a:xfrm>
              <a:off x="7926622" y="3418366"/>
              <a:ext cx="15875" cy="11906"/>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5" name="Freeform 124"/>
            <p:cNvSpPr>
              <a:spLocks/>
            </p:cNvSpPr>
            <p:nvPr>
              <p:custDataLst>
                <p:tags r:id="rId121"/>
              </p:custDataLst>
            </p:nvPr>
          </p:nvSpPr>
          <p:spPr bwMode="auto">
            <a:xfrm>
              <a:off x="7942497" y="3352880"/>
              <a:ext cx="3175" cy="7144"/>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6" name="Freeform 125"/>
            <p:cNvSpPr>
              <a:spLocks/>
            </p:cNvSpPr>
            <p:nvPr>
              <p:custDataLst>
                <p:tags r:id="rId122"/>
              </p:custDataLst>
            </p:nvPr>
          </p:nvSpPr>
          <p:spPr bwMode="auto">
            <a:xfrm>
              <a:off x="7782159" y="3355262"/>
              <a:ext cx="36513" cy="16669"/>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7" name="Freeform 126"/>
            <p:cNvSpPr>
              <a:spLocks/>
            </p:cNvSpPr>
            <p:nvPr>
              <p:custDataLst>
                <p:tags r:id="rId123"/>
              </p:custDataLst>
            </p:nvPr>
          </p:nvSpPr>
          <p:spPr bwMode="auto">
            <a:xfrm>
              <a:off x="8026633" y="3702924"/>
              <a:ext cx="1588" cy="10716"/>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8" name="Freeform 127"/>
            <p:cNvSpPr>
              <a:spLocks/>
            </p:cNvSpPr>
            <p:nvPr>
              <p:custDataLst>
                <p:tags r:id="rId124"/>
              </p:custDataLst>
            </p:nvPr>
          </p:nvSpPr>
          <p:spPr bwMode="auto">
            <a:xfrm>
              <a:off x="7263047" y="3332640"/>
              <a:ext cx="1019175" cy="68103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29" name="Freeform 128"/>
            <p:cNvSpPr>
              <a:spLocks/>
            </p:cNvSpPr>
            <p:nvPr>
              <p:custDataLst>
                <p:tags r:id="rId125"/>
              </p:custDataLst>
            </p:nvPr>
          </p:nvSpPr>
          <p:spPr bwMode="auto">
            <a:xfrm>
              <a:off x="1749658" y="2332515"/>
              <a:ext cx="668338" cy="435769"/>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130" name="Freeform 129"/>
            <p:cNvSpPr>
              <a:spLocks/>
            </p:cNvSpPr>
            <p:nvPr>
              <p:custDataLst>
                <p:tags r:id="rId126"/>
              </p:custDataLst>
            </p:nvPr>
          </p:nvSpPr>
          <p:spPr bwMode="auto">
            <a:xfrm>
              <a:off x="3024422" y="3562431"/>
              <a:ext cx="211137" cy="198835"/>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1" name="Freeform 130"/>
            <p:cNvSpPr>
              <a:spLocks/>
            </p:cNvSpPr>
            <p:nvPr>
              <p:custDataLst>
                <p:tags r:id="rId127"/>
              </p:custDataLst>
            </p:nvPr>
          </p:nvSpPr>
          <p:spPr bwMode="auto">
            <a:xfrm>
              <a:off x="3194284" y="2965928"/>
              <a:ext cx="73025" cy="82153"/>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2" name="Freeform 131"/>
            <p:cNvSpPr>
              <a:spLocks/>
            </p:cNvSpPr>
            <p:nvPr>
              <p:custDataLst>
                <p:tags r:id="rId128"/>
              </p:custDataLst>
            </p:nvPr>
          </p:nvSpPr>
          <p:spPr bwMode="auto">
            <a:xfrm>
              <a:off x="2708508" y="2634934"/>
              <a:ext cx="69850" cy="44053"/>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3" name="Freeform 132"/>
            <p:cNvSpPr>
              <a:spLocks/>
            </p:cNvSpPr>
            <p:nvPr>
              <p:custDataLst>
                <p:tags r:id="rId129"/>
              </p:custDataLst>
            </p:nvPr>
          </p:nvSpPr>
          <p:spPr bwMode="auto">
            <a:xfrm>
              <a:off x="2960921" y="4348243"/>
              <a:ext cx="33337" cy="42863"/>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4" name="Freeform 133"/>
            <p:cNvSpPr>
              <a:spLocks/>
            </p:cNvSpPr>
            <p:nvPr>
              <p:custDataLst>
                <p:tags r:id="rId130"/>
              </p:custDataLst>
            </p:nvPr>
          </p:nvSpPr>
          <p:spPr bwMode="auto">
            <a:xfrm>
              <a:off x="2954571" y="4333955"/>
              <a:ext cx="30162" cy="42863"/>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5" name="Freeform 134"/>
            <p:cNvSpPr>
              <a:spLocks/>
            </p:cNvSpPr>
            <p:nvPr>
              <p:custDataLst>
                <p:tags r:id="rId131"/>
              </p:custDataLst>
            </p:nvPr>
          </p:nvSpPr>
          <p:spPr bwMode="auto">
            <a:xfrm>
              <a:off x="2854558" y="4101784"/>
              <a:ext cx="25400" cy="45244"/>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6" name="Freeform 135"/>
            <p:cNvSpPr>
              <a:spLocks/>
            </p:cNvSpPr>
            <p:nvPr>
              <p:custDataLst>
                <p:tags r:id="rId132"/>
              </p:custDataLst>
            </p:nvPr>
          </p:nvSpPr>
          <p:spPr bwMode="auto">
            <a:xfrm>
              <a:off x="2884721" y="4173222"/>
              <a:ext cx="17462" cy="40481"/>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7" name="Freeform 136"/>
            <p:cNvSpPr>
              <a:spLocks/>
            </p:cNvSpPr>
            <p:nvPr>
              <p:custDataLst>
                <p:tags r:id="rId133"/>
              </p:custDataLst>
            </p:nvPr>
          </p:nvSpPr>
          <p:spPr bwMode="auto">
            <a:xfrm>
              <a:off x="2889483" y="4189890"/>
              <a:ext cx="7938" cy="44053"/>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8" name="Freeform 137"/>
            <p:cNvSpPr>
              <a:spLocks/>
            </p:cNvSpPr>
            <p:nvPr>
              <p:custDataLst>
                <p:tags r:id="rId134"/>
              </p:custDataLst>
            </p:nvPr>
          </p:nvSpPr>
          <p:spPr bwMode="auto">
            <a:xfrm>
              <a:off x="2903771" y="4236324"/>
              <a:ext cx="17462" cy="45244"/>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39" name="Freeform 138"/>
            <p:cNvSpPr>
              <a:spLocks/>
            </p:cNvSpPr>
            <p:nvPr>
              <p:custDataLst>
                <p:tags r:id="rId135"/>
              </p:custDataLst>
            </p:nvPr>
          </p:nvSpPr>
          <p:spPr bwMode="auto">
            <a:xfrm>
              <a:off x="2891072" y="4245849"/>
              <a:ext cx="26987" cy="44054"/>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0" name="Freeform 139"/>
            <p:cNvSpPr>
              <a:spLocks/>
            </p:cNvSpPr>
            <p:nvPr>
              <p:custDataLst>
                <p:tags r:id="rId136"/>
              </p:custDataLst>
            </p:nvPr>
          </p:nvSpPr>
          <p:spPr bwMode="auto">
            <a:xfrm>
              <a:off x="2921234" y="4270853"/>
              <a:ext cx="11113" cy="44053"/>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1" name="Freeform 140"/>
            <p:cNvSpPr>
              <a:spLocks/>
            </p:cNvSpPr>
            <p:nvPr>
              <p:custDataLst>
                <p:tags r:id="rId137"/>
              </p:custDataLst>
            </p:nvPr>
          </p:nvSpPr>
          <p:spPr bwMode="auto">
            <a:xfrm>
              <a:off x="2918058" y="4295856"/>
              <a:ext cx="20638" cy="4167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2" name="Freeform 141"/>
            <p:cNvSpPr>
              <a:spLocks/>
            </p:cNvSpPr>
            <p:nvPr>
              <p:custDataLst>
                <p:tags r:id="rId138"/>
              </p:custDataLst>
            </p:nvPr>
          </p:nvSpPr>
          <p:spPr bwMode="auto">
            <a:xfrm>
              <a:off x="2941871" y="4306571"/>
              <a:ext cx="17462" cy="42863"/>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3" name="Freeform 142"/>
            <p:cNvSpPr>
              <a:spLocks/>
            </p:cNvSpPr>
            <p:nvPr>
              <p:custDataLst>
                <p:tags r:id="rId139"/>
              </p:custDataLst>
            </p:nvPr>
          </p:nvSpPr>
          <p:spPr bwMode="auto">
            <a:xfrm>
              <a:off x="2943458" y="4328002"/>
              <a:ext cx="6350" cy="42863"/>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4" name="Freeform 143"/>
            <p:cNvSpPr>
              <a:spLocks/>
            </p:cNvSpPr>
            <p:nvPr>
              <p:custDataLst>
                <p:tags r:id="rId140"/>
              </p:custDataLst>
            </p:nvPr>
          </p:nvSpPr>
          <p:spPr bwMode="auto">
            <a:xfrm>
              <a:off x="2608497" y="2661128"/>
              <a:ext cx="52387" cy="44053"/>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5" name="Freeform 144"/>
            <p:cNvSpPr>
              <a:spLocks/>
            </p:cNvSpPr>
            <p:nvPr>
              <p:custDataLst>
                <p:tags r:id="rId141"/>
              </p:custDataLst>
            </p:nvPr>
          </p:nvSpPr>
          <p:spPr bwMode="auto">
            <a:xfrm>
              <a:off x="2465622" y="2557543"/>
              <a:ext cx="250825" cy="82154"/>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6" name="Freeform 145"/>
            <p:cNvSpPr>
              <a:spLocks/>
            </p:cNvSpPr>
            <p:nvPr>
              <p:custDataLst>
                <p:tags r:id="rId142"/>
              </p:custDataLst>
            </p:nvPr>
          </p:nvSpPr>
          <p:spPr bwMode="auto">
            <a:xfrm>
              <a:off x="2770421" y="2634933"/>
              <a:ext cx="88900" cy="52388"/>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7" name="Freeform 146"/>
            <p:cNvSpPr>
              <a:spLocks/>
            </p:cNvSpPr>
            <p:nvPr>
              <p:custDataLst>
                <p:tags r:id="rId143"/>
              </p:custDataLst>
            </p:nvPr>
          </p:nvSpPr>
          <p:spPr bwMode="auto">
            <a:xfrm>
              <a:off x="2338622" y="2680178"/>
              <a:ext cx="33337" cy="63103"/>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8" name="Freeform 147"/>
            <p:cNvSpPr>
              <a:spLocks/>
            </p:cNvSpPr>
            <p:nvPr>
              <p:custDataLst>
                <p:tags r:id="rId144"/>
              </p:custDataLst>
            </p:nvPr>
          </p:nvSpPr>
          <p:spPr bwMode="auto">
            <a:xfrm>
              <a:off x="2259246" y="2680177"/>
              <a:ext cx="93662" cy="109538"/>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49" name="Freeform 148"/>
            <p:cNvSpPr>
              <a:spLocks/>
            </p:cNvSpPr>
            <p:nvPr>
              <p:custDataLst>
                <p:tags r:id="rId145"/>
              </p:custDataLst>
            </p:nvPr>
          </p:nvSpPr>
          <p:spPr bwMode="auto">
            <a:xfrm>
              <a:off x="2306872" y="2763521"/>
              <a:ext cx="71437" cy="42863"/>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0" name="Freeform 149"/>
            <p:cNvSpPr>
              <a:spLocks/>
            </p:cNvSpPr>
            <p:nvPr>
              <p:custDataLst>
                <p:tags r:id="rId146"/>
              </p:custDataLst>
            </p:nvPr>
          </p:nvSpPr>
          <p:spPr bwMode="auto">
            <a:xfrm>
              <a:off x="2338622" y="2734946"/>
              <a:ext cx="142875" cy="65484"/>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1" name="Freeform 150"/>
            <p:cNvSpPr>
              <a:spLocks/>
            </p:cNvSpPr>
            <p:nvPr>
              <p:custDataLst>
                <p:tags r:id="rId147"/>
              </p:custDataLst>
            </p:nvPr>
          </p:nvSpPr>
          <p:spPr bwMode="auto">
            <a:xfrm>
              <a:off x="2356084" y="2757568"/>
              <a:ext cx="125413" cy="91679"/>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2" name="Freeform 151"/>
            <p:cNvSpPr>
              <a:spLocks/>
            </p:cNvSpPr>
            <p:nvPr>
              <p:custDataLst>
                <p:tags r:id="rId148"/>
              </p:custDataLst>
            </p:nvPr>
          </p:nvSpPr>
          <p:spPr bwMode="auto">
            <a:xfrm>
              <a:off x="2406883" y="2842102"/>
              <a:ext cx="84138" cy="75009"/>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3" name="Freeform 152"/>
            <p:cNvSpPr>
              <a:spLocks/>
            </p:cNvSpPr>
            <p:nvPr>
              <p:custDataLst>
                <p:tags r:id="rId149"/>
              </p:custDataLst>
            </p:nvPr>
          </p:nvSpPr>
          <p:spPr bwMode="auto">
            <a:xfrm>
              <a:off x="2487847" y="2882584"/>
              <a:ext cx="142875" cy="59531"/>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4" name="Freeform 153"/>
            <p:cNvSpPr>
              <a:spLocks/>
            </p:cNvSpPr>
            <p:nvPr>
              <p:custDataLst>
                <p:tags r:id="rId150"/>
              </p:custDataLst>
            </p:nvPr>
          </p:nvSpPr>
          <p:spPr bwMode="auto">
            <a:xfrm>
              <a:off x="3168883" y="3823178"/>
              <a:ext cx="133350" cy="116681"/>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5" name="Freeform 154"/>
            <p:cNvSpPr>
              <a:spLocks/>
            </p:cNvSpPr>
            <p:nvPr>
              <p:custDataLst>
                <p:tags r:id="rId151"/>
              </p:custDataLst>
            </p:nvPr>
          </p:nvSpPr>
          <p:spPr bwMode="auto">
            <a:xfrm>
              <a:off x="4715108" y="1285956"/>
              <a:ext cx="236538" cy="69056"/>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6" name="Freeform 155"/>
            <p:cNvSpPr>
              <a:spLocks/>
            </p:cNvSpPr>
            <p:nvPr>
              <p:custDataLst>
                <p:tags r:id="rId152"/>
              </p:custDataLst>
            </p:nvPr>
          </p:nvSpPr>
          <p:spPr bwMode="auto">
            <a:xfrm>
              <a:off x="4642084" y="1458596"/>
              <a:ext cx="449263" cy="271463"/>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7" name="Freeform 156"/>
            <p:cNvSpPr>
              <a:spLocks/>
            </p:cNvSpPr>
            <p:nvPr>
              <p:custDataLst>
                <p:tags r:id="rId153"/>
              </p:custDataLst>
            </p:nvPr>
          </p:nvSpPr>
          <p:spPr bwMode="auto">
            <a:xfrm>
              <a:off x="4981809" y="2089628"/>
              <a:ext cx="49213" cy="67865"/>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8" name="Freeform 157"/>
            <p:cNvSpPr>
              <a:spLocks/>
            </p:cNvSpPr>
            <p:nvPr>
              <p:custDataLst>
                <p:tags r:id="rId154"/>
              </p:custDataLst>
            </p:nvPr>
          </p:nvSpPr>
          <p:spPr bwMode="auto">
            <a:xfrm>
              <a:off x="4689708" y="1969374"/>
              <a:ext cx="84138" cy="44054"/>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59" name="Freeform 158"/>
            <p:cNvSpPr>
              <a:spLocks/>
            </p:cNvSpPr>
            <p:nvPr>
              <p:custDataLst>
                <p:tags r:id="rId155"/>
              </p:custDataLst>
            </p:nvPr>
          </p:nvSpPr>
          <p:spPr bwMode="auto">
            <a:xfrm>
              <a:off x="4627797" y="1833643"/>
              <a:ext cx="84137" cy="54769"/>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0" name="Freeform 159"/>
            <p:cNvSpPr>
              <a:spLocks/>
            </p:cNvSpPr>
            <p:nvPr>
              <p:custDataLst>
                <p:tags r:id="rId156"/>
              </p:custDataLst>
            </p:nvPr>
          </p:nvSpPr>
          <p:spPr bwMode="auto">
            <a:xfrm>
              <a:off x="4608747" y="1881268"/>
              <a:ext cx="84137" cy="42863"/>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1" name="Freeform 160"/>
            <p:cNvSpPr>
              <a:spLocks/>
            </p:cNvSpPr>
            <p:nvPr>
              <p:custDataLst>
                <p:tags r:id="rId157"/>
              </p:custDataLst>
            </p:nvPr>
          </p:nvSpPr>
          <p:spPr bwMode="auto">
            <a:xfrm>
              <a:off x="5369158" y="2296796"/>
              <a:ext cx="33338" cy="9882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2" name="Freeform 161"/>
            <p:cNvSpPr>
              <a:spLocks/>
            </p:cNvSpPr>
            <p:nvPr>
              <p:custDataLst>
                <p:tags r:id="rId158"/>
              </p:custDataLst>
            </p:nvPr>
          </p:nvSpPr>
          <p:spPr bwMode="auto">
            <a:xfrm>
              <a:off x="5318358" y="2336087"/>
              <a:ext cx="69850" cy="97631"/>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3" name="Freeform 162"/>
            <p:cNvSpPr>
              <a:spLocks/>
            </p:cNvSpPr>
            <p:nvPr>
              <p:custDataLst>
                <p:tags r:id="rId159"/>
              </p:custDataLst>
            </p:nvPr>
          </p:nvSpPr>
          <p:spPr bwMode="auto">
            <a:xfrm>
              <a:off x="4132497" y="2459912"/>
              <a:ext cx="306387" cy="292894"/>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4" name="Freeform 163"/>
            <p:cNvSpPr>
              <a:spLocks/>
            </p:cNvSpPr>
            <p:nvPr>
              <p:custDataLst>
                <p:tags r:id="rId160"/>
              </p:custDataLst>
            </p:nvPr>
          </p:nvSpPr>
          <p:spPr bwMode="auto">
            <a:xfrm>
              <a:off x="4248383" y="2505156"/>
              <a:ext cx="414338" cy="35123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5" name="Freeform 164"/>
            <p:cNvSpPr>
              <a:spLocks/>
            </p:cNvSpPr>
            <p:nvPr>
              <p:custDataLst>
                <p:tags r:id="rId161"/>
              </p:custDataLst>
            </p:nvPr>
          </p:nvSpPr>
          <p:spPr bwMode="auto">
            <a:xfrm>
              <a:off x="4346809" y="2209880"/>
              <a:ext cx="493713" cy="434579"/>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6" name="Freeform 165"/>
            <p:cNvSpPr>
              <a:spLocks/>
            </p:cNvSpPr>
            <p:nvPr>
              <p:custDataLst>
                <p:tags r:id="rId162"/>
              </p:custDataLst>
            </p:nvPr>
          </p:nvSpPr>
          <p:spPr bwMode="auto">
            <a:xfrm>
              <a:off x="4783372" y="2311084"/>
              <a:ext cx="384175" cy="32742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7" name="Freeform 166"/>
            <p:cNvSpPr>
              <a:spLocks/>
            </p:cNvSpPr>
            <p:nvPr>
              <p:custDataLst>
                <p:tags r:id="rId163"/>
              </p:custDataLst>
            </p:nvPr>
          </p:nvSpPr>
          <p:spPr bwMode="auto">
            <a:xfrm>
              <a:off x="4735746" y="2209880"/>
              <a:ext cx="93662" cy="177404"/>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8" name="Freeform 167"/>
            <p:cNvSpPr>
              <a:spLocks/>
            </p:cNvSpPr>
            <p:nvPr>
              <p:custDataLst>
                <p:tags r:id="rId164"/>
              </p:custDataLst>
            </p:nvPr>
          </p:nvSpPr>
          <p:spPr bwMode="auto">
            <a:xfrm>
              <a:off x="4118209" y="2443243"/>
              <a:ext cx="231775" cy="161925"/>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69" name="Freeform 168"/>
            <p:cNvSpPr>
              <a:spLocks/>
            </p:cNvSpPr>
            <p:nvPr>
              <p:custDataLst>
                <p:tags r:id="rId165"/>
              </p:custDataLst>
            </p:nvPr>
          </p:nvSpPr>
          <p:spPr bwMode="auto">
            <a:xfrm>
              <a:off x="4878622" y="1746727"/>
              <a:ext cx="14287" cy="42863"/>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0" name="Freeform 169"/>
            <p:cNvSpPr>
              <a:spLocks/>
            </p:cNvSpPr>
            <p:nvPr>
              <p:custDataLst>
                <p:tags r:id="rId166"/>
              </p:custDataLst>
            </p:nvPr>
          </p:nvSpPr>
          <p:spPr bwMode="auto">
            <a:xfrm>
              <a:off x="4765908" y="1494316"/>
              <a:ext cx="234950" cy="296465"/>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1" name="Freeform 170"/>
            <p:cNvSpPr>
              <a:spLocks/>
            </p:cNvSpPr>
            <p:nvPr>
              <p:custDataLst>
                <p:tags r:id="rId167"/>
              </p:custDataLst>
            </p:nvPr>
          </p:nvSpPr>
          <p:spPr bwMode="auto">
            <a:xfrm>
              <a:off x="4904022" y="1730059"/>
              <a:ext cx="26987" cy="42863"/>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2" name="Freeform 171"/>
            <p:cNvSpPr>
              <a:spLocks/>
            </p:cNvSpPr>
            <p:nvPr>
              <p:custDataLst>
                <p:tags r:id="rId168"/>
              </p:custDataLst>
            </p:nvPr>
          </p:nvSpPr>
          <p:spPr bwMode="auto">
            <a:xfrm>
              <a:off x="4348397" y="1851502"/>
              <a:ext cx="28575" cy="42863"/>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3" name="Freeform 172"/>
            <p:cNvSpPr>
              <a:spLocks/>
            </p:cNvSpPr>
            <p:nvPr>
              <p:custDataLst>
                <p:tags r:id="rId169"/>
              </p:custDataLst>
            </p:nvPr>
          </p:nvSpPr>
          <p:spPr bwMode="auto">
            <a:xfrm>
              <a:off x="5300896" y="2247980"/>
              <a:ext cx="50800" cy="42863"/>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4" name="Freeform 173"/>
            <p:cNvSpPr>
              <a:spLocks/>
            </p:cNvSpPr>
            <p:nvPr>
              <p:custDataLst>
                <p:tags r:id="rId170"/>
              </p:custDataLst>
            </p:nvPr>
          </p:nvSpPr>
          <p:spPr bwMode="auto">
            <a:xfrm>
              <a:off x="4908783" y="2842103"/>
              <a:ext cx="325438" cy="183356"/>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5" name="Freeform 174"/>
            <p:cNvSpPr>
              <a:spLocks/>
            </p:cNvSpPr>
            <p:nvPr>
              <p:custDataLst>
                <p:tags r:id="rId171"/>
              </p:custDataLst>
            </p:nvPr>
          </p:nvSpPr>
          <p:spPr bwMode="auto">
            <a:xfrm>
              <a:off x="4845284" y="2968309"/>
              <a:ext cx="500063" cy="414338"/>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6" name="Freeform 175"/>
            <p:cNvSpPr>
              <a:spLocks/>
            </p:cNvSpPr>
            <p:nvPr>
              <p:custDataLst>
                <p:tags r:id="rId172"/>
              </p:custDataLst>
            </p:nvPr>
          </p:nvSpPr>
          <p:spPr bwMode="auto">
            <a:xfrm>
              <a:off x="4781784" y="3043318"/>
              <a:ext cx="55563" cy="4167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7" name="Freeform 176"/>
            <p:cNvSpPr>
              <a:spLocks/>
            </p:cNvSpPr>
            <p:nvPr>
              <p:custDataLst>
                <p:tags r:id="rId173"/>
              </p:custDataLst>
            </p:nvPr>
          </p:nvSpPr>
          <p:spPr bwMode="auto">
            <a:xfrm>
              <a:off x="4764321" y="3043318"/>
              <a:ext cx="152400" cy="151210"/>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8" name="Freeform 177"/>
            <p:cNvSpPr>
              <a:spLocks/>
            </p:cNvSpPr>
            <p:nvPr>
              <p:custDataLst>
                <p:tags r:id="rId174"/>
              </p:custDataLst>
            </p:nvPr>
          </p:nvSpPr>
          <p:spPr bwMode="auto">
            <a:xfrm>
              <a:off x="5297721" y="3346928"/>
              <a:ext cx="260350" cy="390525"/>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79" name="Freeform 178"/>
            <p:cNvSpPr>
              <a:spLocks/>
            </p:cNvSpPr>
            <p:nvPr>
              <p:custDataLst>
                <p:tags r:id="rId175"/>
              </p:custDataLst>
            </p:nvPr>
          </p:nvSpPr>
          <p:spPr bwMode="auto">
            <a:xfrm>
              <a:off x="5032609" y="3526711"/>
              <a:ext cx="238125" cy="215504"/>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0" name="Freeform 179"/>
            <p:cNvSpPr>
              <a:spLocks/>
            </p:cNvSpPr>
            <p:nvPr>
              <p:custDataLst>
                <p:tags r:id="rId176"/>
              </p:custDataLst>
            </p:nvPr>
          </p:nvSpPr>
          <p:spPr bwMode="auto">
            <a:xfrm>
              <a:off x="5605696" y="3377884"/>
              <a:ext cx="196850" cy="326231"/>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1" name="Freeform 180"/>
            <p:cNvSpPr>
              <a:spLocks/>
            </p:cNvSpPr>
            <p:nvPr>
              <p:custDataLst>
                <p:tags r:id="rId177"/>
              </p:custDataLst>
            </p:nvPr>
          </p:nvSpPr>
          <p:spPr bwMode="auto">
            <a:xfrm>
              <a:off x="5281846" y="3151666"/>
              <a:ext cx="36512" cy="50006"/>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2" name="Freeform 181"/>
            <p:cNvSpPr>
              <a:spLocks/>
            </p:cNvSpPr>
            <p:nvPr>
              <p:custDataLst>
                <p:tags r:id="rId178"/>
              </p:custDataLst>
            </p:nvPr>
          </p:nvSpPr>
          <p:spPr bwMode="auto">
            <a:xfrm>
              <a:off x="5270734" y="3121899"/>
              <a:ext cx="55563" cy="45244"/>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3" name="Freeform 182"/>
            <p:cNvSpPr>
              <a:spLocks/>
            </p:cNvSpPr>
            <p:nvPr>
              <p:custDataLst>
                <p:tags r:id="rId179"/>
              </p:custDataLst>
            </p:nvPr>
          </p:nvSpPr>
          <p:spPr bwMode="auto">
            <a:xfrm>
              <a:off x="5580297" y="2146778"/>
              <a:ext cx="503237" cy="354806"/>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4" name="Freeform 183"/>
            <p:cNvSpPr>
              <a:spLocks/>
            </p:cNvSpPr>
            <p:nvPr>
              <p:custDataLst>
                <p:tags r:id="rId180"/>
              </p:custDataLst>
            </p:nvPr>
          </p:nvSpPr>
          <p:spPr bwMode="auto">
            <a:xfrm>
              <a:off x="5604108" y="2639696"/>
              <a:ext cx="247650" cy="17145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5" name="Freeform 184"/>
            <p:cNvSpPr>
              <a:spLocks/>
            </p:cNvSpPr>
            <p:nvPr>
              <p:custDataLst>
                <p:tags r:id="rId181"/>
              </p:custDataLst>
            </p:nvPr>
          </p:nvSpPr>
          <p:spPr bwMode="auto">
            <a:xfrm>
              <a:off x="5799371" y="2470627"/>
              <a:ext cx="120650" cy="90488"/>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6" name="Freeform 185"/>
            <p:cNvSpPr>
              <a:spLocks/>
            </p:cNvSpPr>
            <p:nvPr>
              <p:custDataLst>
                <p:tags r:id="rId182"/>
              </p:custDataLst>
            </p:nvPr>
          </p:nvSpPr>
          <p:spPr bwMode="auto">
            <a:xfrm>
              <a:off x="5486633" y="2209881"/>
              <a:ext cx="222250" cy="197644"/>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7" name="Freeform 186"/>
            <p:cNvSpPr>
              <a:spLocks/>
            </p:cNvSpPr>
            <p:nvPr>
              <p:custDataLst>
                <p:tags r:id="rId183"/>
              </p:custDataLst>
            </p:nvPr>
          </p:nvSpPr>
          <p:spPr bwMode="auto">
            <a:xfrm>
              <a:off x="5986697" y="2180115"/>
              <a:ext cx="331787" cy="217884"/>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88" name="Freeform 187"/>
            <p:cNvSpPr>
              <a:spLocks/>
            </p:cNvSpPr>
            <p:nvPr>
              <p:custDataLst>
                <p:tags r:id="rId184"/>
              </p:custDataLst>
            </p:nvPr>
          </p:nvSpPr>
          <p:spPr bwMode="auto">
            <a:xfrm>
              <a:off x="6018447" y="2217025"/>
              <a:ext cx="365125" cy="317897"/>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 name="connsiteX0" fmla="*/ 10000 w 10000"/>
                <a:gd name="connsiteY0" fmla="*/ 1207 h 10000"/>
                <a:gd name="connsiteX1" fmla="*/ 9832 w 10000"/>
                <a:gd name="connsiteY1" fmla="*/ 1170 h 10000"/>
                <a:gd name="connsiteX2" fmla="*/ 9663 w 10000"/>
                <a:gd name="connsiteY2" fmla="*/ 1121 h 10000"/>
                <a:gd name="connsiteX3" fmla="*/ 9519 w 10000"/>
                <a:gd name="connsiteY3" fmla="*/ 1071 h 10000"/>
                <a:gd name="connsiteX4" fmla="*/ 9374 w 10000"/>
                <a:gd name="connsiteY4" fmla="*/ 1010 h 10000"/>
                <a:gd name="connsiteX5" fmla="*/ 9254 w 10000"/>
                <a:gd name="connsiteY5" fmla="*/ 948 h 10000"/>
                <a:gd name="connsiteX6" fmla="*/ 9122 w 10000"/>
                <a:gd name="connsiteY6" fmla="*/ 874 h 10000"/>
                <a:gd name="connsiteX7" fmla="*/ 9013 w 10000"/>
                <a:gd name="connsiteY7" fmla="*/ 800 h 10000"/>
                <a:gd name="connsiteX8" fmla="*/ 8905 w 10000"/>
                <a:gd name="connsiteY8" fmla="*/ 714 h 10000"/>
                <a:gd name="connsiteX9" fmla="*/ 8508 w 10000"/>
                <a:gd name="connsiteY9" fmla="*/ 357 h 10000"/>
                <a:gd name="connsiteX10" fmla="*/ 8171 w 10000"/>
                <a:gd name="connsiteY10" fmla="*/ 0 h 10000"/>
                <a:gd name="connsiteX11" fmla="*/ 7882 w 10000"/>
                <a:gd name="connsiteY11" fmla="*/ 25 h 10000"/>
                <a:gd name="connsiteX12" fmla="*/ 7533 w 10000"/>
                <a:gd name="connsiteY12" fmla="*/ 49 h 10000"/>
                <a:gd name="connsiteX13" fmla="*/ 7148 w 10000"/>
                <a:gd name="connsiteY13" fmla="*/ 86 h 10000"/>
                <a:gd name="connsiteX14" fmla="*/ 6763 w 10000"/>
                <a:gd name="connsiteY14" fmla="*/ 123 h 10000"/>
                <a:gd name="connsiteX15" fmla="*/ 6582 w 10000"/>
                <a:gd name="connsiteY15" fmla="*/ 160 h 10000"/>
                <a:gd name="connsiteX16" fmla="*/ 6414 w 10000"/>
                <a:gd name="connsiteY16" fmla="*/ 197 h 10000"/>
                <a:gd name="connsiteX17" fmla="*/ 6258 w 10000"/>
                <a:gd name="connsiteY17" fmla="*/ 234 h 10000"/>
                <a:gd name="connsiteX18" fmla="*/ 6125 w 10000"/>
                <a:gd name="connsiteY18" fmla="*/ 296 h 10000"/>
                <a:gd name="connsiteX19" fmla="*/ 6005 w 10000"/>
                <a:gd name="connsiteY19" fmla="*/ 357 h 10000"/>
                <a:gd name="connsiteX20" fmla="*/ 5921 w 10000"/>
                <a:gd name="connsiteY20" fmla="*/ 419 h 10000"/>
                <a:gd name="connsiteX21" fmla="*/ 5884 w 10000"/>
                <a:gd name="connsiteY21" fmla="*/ 456 h 10000"/>
                <a:gd name="connsiteX22" fmla="*/ 5860 w 10000"/>
                <a:gd name="connsiteY22" fmla="*/ 505 h 10000"/>
                <a:gd name="connsiteX23" fmla="*/ 5848 w 10000"/>
                <a:gd name="connsiteY23" fmla="*/ 542 h 10000"/>
                <a:gd name="connsiteX24" fmla="*/ 5848 w 10000"/>
                <a:gd name="connsiteY24" fmla="*/ 603 h 10000"/>
                <a:gd name="connsiteX25" fmla="*/ 5848 w 10000"/>
                <a:gd name="connsiteY25" fmla="*/ 665 h 10000"/>
                <a:gd name="connsiteX26" fmla="*/ 5860 w 10000"/>
                <a:gd name="connsiteY26" fmla="*/ 727 h 10000"/>
                <a:gd name="connsiteX27" fmla="*/ 5884 w 10000"/>
                <a:gd name="connsiteY27" fmla="*/ 776 h 10000"/>
                <a:gd name="connsiteX28" fmla="*/ 5909 w 10000"/>
                <a:gd name="connsiteY28" fmla="*/ 813 h 10000"/>
                <a:gd name="connsiteX29" fmla="*/ 5981 w 10000"/>
                <a:gd name="connsiteY29" fmla="*/ 874 h 10000"/>
                <a:gd name="connsiteX30" fmla="*/ 6041 w 10000"/>
                <a:gd name="connsiteY30" fmla="*/ 936 h 10000"/>
                <a:gd name="connsiteX31" fmla="*/ 6125 w 10000"/>
                <a:gd name="connsiteY31" fmla="*/ 985 h 10000"/>
                <a:gd name="connsiteX32" fmla="*/ 6185 w 10000"/>
                <a:gd name="connsiteY32" fmla="*/ 1034 h 10000"/>
                <a:gd name="connsiteX33" fmla="*/ 6209 w 10000"/>
                <a:gd name="connsiteY33" fmla="*/ 1071 h 10000"/>
                <a:gd name="connsiteX34" fmla="*/ 6221 w 10000"/>
                <a:gd name="connsiteY34" fmla="*/ 1108 h 10000"/>
                <a:gd name="connsiteX35" fmla="*/ 6245 w 10000"/>
                <a:gd name="connsiteY35" fmla="*/ 1145 h 10000"/>
                <a:gd name="connsiteX36" fmla="*/ 6245 w 10000"/>
                <a:gd name="connsiteY36" fmla="*/ 1207 h 10000"/>
                <a:gd name="connsiteX37" fmla="*/ 6245 w 10000"/>
                <a:gd name="connsiteY37" fmla="*/ 1256 h 10000"/>
                <a:gd name="connsiteX38" fmla="*/ 6221 w 10000"/>
                <a:gd name="connsiteY38" fmla="*/ 1318 h 10000"/>
                <a:gd name="connsiteX39" fmla="*/ 6209 w 10000"/>
                <a:gd name="connsiteY39" fmla="*/ 1367 h 10000"/>
                <a:gd name="connsiteX40" fmla="*/ 6185 w 10000"/>
                <a:gd name="connsiteY40" fmla="*/ 1404 h 10000"/>
                <a:gd name="connsiteX41" fmla="*/ 6125 w 10000"/>
                <a:gd name="connsiteY41" fmla="*/ 1478 h 10000"/>
                <a:gd name="connsiteX42" fmla="*/ 6041 w 10000"/>
                <a:gd name="connsiteY42" fmla="*/ 1564 h 10000"/>
                <a:gd name="connsiteX43" fmla="*/ 5981 w 10000"/>
                <a:gd name="connsiteY43" fmla="*/ 1638 h 10000"/>
                <a:gd name="connsiteX44" fmla="*/ 5909 w 10000"/>
                <a:gd name="connsiteY44" fmla="*/ 1724 h 10000"/>
                <a:gd name="connsiteX45" fmla="*/ 5884 w 10000"/>
                <a:gd name="connsiteY45" fmla="*/ 1773 h 10000"/>
                <a:gd name="connsiteX46" fmla="*/ 5860 w 10000"/>
                <a:gd name="connsiteY46" fmla="*/ 1835 h 10000"/>
                <a:gd name="connsiteX47" fmla="*/ 5848 w 10000"/>
                <a:gd name="connsiteY47" fmla="*/ 1897 h 10000"/>
                <a:gd name="connsiteX48" fmla="*/ 5848 w 10000"/>
                <a:gd name="connsiteY48" fmla="*/ 1958 h 10000"/>
                <a:gd name="connsiteX49" fmla="*/ 5776 w 10000"/>
                <a:gd name="connsiteY49" fmla="*/ 1995 h 10000"/>
                <a:gd name="connsiteX50" fmla="*/ 5716 w 10000"/>
                <a:gd name="connsiteY50" fmla="*/ 2007 h 10000"/>
                <a:gd name="connsiteX51" fmla="*/ 5656 w 10000"/>
                <a:gd name="connsiteY51" fmla="*/ 2044 h 10000"/>
                <a:gd name="connsiteX52" fmla="*/ 5608 w 10000"/>
                <a:gd name="connsiteY52" fmla="*/ 2081 h 10000"/>
                <a:gd name="connsiteX53" fmla="*/ 5499 w 10000"/>
                <a:gd name="connsiteY53" fmla="*/ 2167 h 10000"/>
                <a:gd name="connsiteX54" fmla="*/ 5415 w 10000"/>
                <a:gd name="connsiteY54" fmla="*/ 2266 h 10000"/>
                <a:gd name="connsiteX55" fmla="*/ 5343 w 10000"/>
                <a:gd name="connsiteY55" fmla="*/ 2389 h 10000"/>
                <a:gd name="connsiteX56" fmla="*/ 5271 w 10000"/>
                <a:gd name="connsiteY56" fmla="*/ 2525 h 10000"/>
                <a:gd name="connsiteX57" fmla="*/ 5223 w 10000"/>
                <a:gd name="connsiteY57" fmla="*/ 2672 h 10000"/>
                <a:gd name="connsiteX58" fmla="*/ 5174 w 10000"/>
                <a:gd name="connsiteY58" fmla="*/ 2833 h 10000"/>
                <a:gd name="connsiteX59" fmla="*/ 5138 w 10000"/>
                <a:gd name="connsiteY59" fmla="*/ 2993 h 10000"/>
                <a:gd name="connsiteX60" fmla="*/ 5102 w 10000"/>
                <a:gd name="connsiteY60" fmla="*/ 3153 h 10000"/>
                <a:gd name="connsiteX61" fmla="*/ 5090 w 10000"/>
                <a:gd name="connsiteY61" fmla="*/ 3325 h 10000"/>
                <a:gd name="connsiteX62" fmla="*/ 5066 w 10000"/>
                <a:gd name="connsiteY62" fmla="*/ 3498 h 10000"/>
                <a:gd name="connsiteX63" fmla="*/ 5054 w 10000"/>
                <a:gd name="connsiteY63" fmla="*/ 3805 h 10000"/>
                <a:gd name="connsiteX64" fmla="*/ 5054 w 10000"/>
                <a:gd name="connsiteY64" fmla="*/ 4089 h 10000"/>
                <a:gd name="connsiteX65" fmla="*/ 4958 w 10000"/>
                <a:gd name="connsiteY65" fmla="*/ 4089 h 10000"/>
                <a:gd name="connsiteX66" fmla="*/ 4898 w 10000"/>
                <a:gd name="connsiteY66" fmla="*/ 4064 h 10000"/>
                <a:gd name="connsiteX67" fmla="*/ 4826 w 10000"/>
                <a:gd name="connsiteY67" fmla="*/ 4027 h 10000"/>
                <a:gd name="connsiteX68" fmla="*/ 4777 w 10000"/>
                <a:gd name="connsiteY68" fmla="*/ 3966 h 10000"/>
                <a:gd name="connsiteX69" fmla="*/ 4717 w 10000"/>
                <a:gd name="connsiteY69" fmla="*/ 3929 h 10000"/>
                <a:gd name="connsiteX70" fmla="*/ 4669 w 10000"/>
                <a:gd name="connsiteY70" fmla="*/ 3892 h 10000"/>
                <a:gd name="connsiteX71" fmla="*/ 4633 w 10000"/>
                <a:gd name="connsiteY71" fmla="*/ 3867 h 10000"/>
                <a:gd name="connsiteX72" fmla="*/ 4561 w 10000"/>
                <a:gd name="connsiteY72" fmla="*/ 3855 h 10000"/>
                <a:gd name="connsiteX73" fmla="*/ 4513 w 10000"/>
                <a:gd name="connsiteY73" fmla="*/ 3867 h 10000"/>
                <a:gd name="connsiteX74" fmla="*/ 4452 w 10000"/>
                <a:gd name="connsiteY74" fmla="*/ 3879 h 10000"/>
                <a:gd name="connsiteX75" fmla="*/ 4404 w 10000"/>
                <a:gd name="connsiteY75" fmla="*/ 3904 h 10000"/>
                <a:gd name="connsiteX76" fmla="*/ 4356 w 10000"/>
                <a:gd name="connsiteY76" fmla="*/ 3929 h 10000"/>
                <a:gd name="connsiteX77" fmla="*/ 4260 w 10000"/>
                <a:gd name="connsiteY77" fmla="*/ 4002 h 10000"/>
                <a:gd name="connsiteX78" fmla="*/ 4164 w 10000"/>
                <a:gd name="connsiteY78" fmla="*/ 4089 h 10000"/>
                <a:gd name="connsiteX79" fmla="*/ 4067 w 10000"/>
                <a:gd name="connsiteY79" fmla="*/ 4175 h 10000"/>
                <a:gd name="connsiteX80" fmla="*/ 3983 w 10000"/>
                <a:gd name="connsiteY80" fmla="*/ 4249 h 10000"/>
                <a:gd name="connsiteX81" fmla="*/ 3923 w 10000"/>
                <a:gd name="connsiteY81" fmla="*/ 4273 h 10000"/>
                <a:gd name="connsiteX82" fmla="*/ 3875 w 10000"/>
                <a:gd name="connsiteY82" fmla="*/ 4298 h 10000"/>
                <a:gd name="connsiteX83" fmla="*/ 3827 w 10000"/>
                <a:gd name="connsiteY83" fmla="*/ 4310 h 10000"/>
                <a:gd name="connsiteX84" fmla="*/ 3767 w 10000"/>
                <a:gd name="connsiteY84" fmla="*/ 4323 h 10000"/>
                <a:gd name="connsiteX85" fmla="*/ 3706 w 10000"/>
                <a:gd name="connsiteY85" fmla="*/ 4323 h 10000"/>
                <a:gd name="connsiteX86" fmla="*/ 3646 w 10000"/>
                <a:gd name="connsiteY86" fmla="*/ 4347 h 10000"/>
                <a:gd name="connsiteX87" fmla="*/ 3610 w 10000"/>
                <a:gd name="connsiteY87" fmla="*/ 4384 h 10000"/>
                <a:gd name="connsiteX88" fmla="*/ 3574 w 10000"/>
                <a:gd name="connsiteY88" fmla="*/ 4433 h 10000"/>
                <a:gd name="connsiteX89" fmla="*/ 3490 w 10000"/>
                <a:gd name="connsiteY89" fmla="*/ 4557 h 10000"/>
                <a:gd name="connsiteX90" fmla="*/ 3454 w 10000"/>
                <a:gd name="connsiteY90" fmla="*/ 4717 h 10000"/>
                <a:gd name="connsiteX91" fmla="*/ 3418 w 10000"/>
                <a:gd name="connsiteY91" fmla="*/ 4877 h 10000"/>
                <a:gd name="connsiteX92" fmla="*/ 3381 w 10000"/>
                <a:gd name="connsiteY92" fmla="*/ 5025 h 10000"/>
                <a:gd name="connsiteX93" fmla="*/ 3369 w 10000"/>
                <a:gd name="connsiteY93" fmla="*/ 5148 h 10000"/>
                <a:gd name="connsiteX94" fmla="*/ 3369 w 10000"/>
                <a:gd name="connsiteY94" fmla="*/ 5222 h 10000"/>
                <a:gd name="connsiteX95" fmla="*/ 3333 w 10000"/>
                <a:gd name="connsiteY95" fmla="*/ 5259 h 10000"/>
                <a:gd name="connsiteX96" fmla="*/ 3285 w 10000"/>
                <a:gd name="connsiteY96" fmla="*/ 5283 h 10000"/>
                <a:gd name="connsiteX97" fmla="*/ 3189 w 10000"/>
                <a:gd name="connsiteY97" fmla="*/ 5320 h 10000"/>
                <a:gd name="connsiteX98" fmla="*/ 3093 w 10000"/>
                <a:gd name="connsiteY98" fmla="*/ 5357 h 10000"/>
                <a:gd name="connsiteX99" fmla="*/ 2828 w 10000"/>
                <a:gd name="connsiteY99" fmla="*/ 5443 h 10000"/>
                <a:gd name="connsiteX100" fmla="*/ 2539 w 10000"/>
                <a:gd name="connsiteY100" fmla="*/ 5517 h 10000"/>
                <a:gd name="connsiteX101" fmla="*/ 2226 w 10000"/>
                <a:gd name="connsiteY101" fmla="*/ 5579 h 10000"/>
                <a:gd name="connsiteX102" fmla="*/ 1937 w 10000"/>
                <a:gd name="connsiteY102" fmla="*/ 5640 h 10000"/>
                <a:gd name="connsiteX103" fmla="*/ 1697 w 10000"/>
                <a:gd name="connsiteY103" fmla="*/ 5677 h 10000"/>
                <a:gd name="connsiteX104" fmla="*/ 1528 w 10000"/>
                <a:gd name="connsiteY104" fmla="*/ 5690 h 10000"/>
                <a:gd name="connsiteX105" fmla="*/ 1312 w 10000"/>
                <a:gd name="connsiteY105" fmla="*/ 5677 h 10000"/>
                <a:gd name="connsiteX106" fmla="*/ 1095 w 10000"/>
                <a:gd name="connsiteY106" fmla="*/ 5665 h 10000"/>
                <a:gd name="connsiteX107" fmla="*/ 890 w 10000"/>
                <a:gd name="connsiteY107" fmla="*/ 5628 h 10000"/>
                <a:gd name="connsiteX108" fmla="*/ 674 w 10000"/>
                <a:gd name="connsiteY108" fmla="*/ 5603 h 10000"/>
                <a:gd name="connsiteX109" fmla="*/ 313 w 10000"/>
                <a:gd name="connsiteY109" fmla="*/ 5530 h 10000"/>
                <a:gd name="connsiteX110" fmla="*/ 0 w 10000"/>
                <a:gd name="connsiteY110" fmla="*/ 5456 h 10000"/>
                <a:gd name="connsiteX111" fmla="*/ 96 w 10000"/>
                <a:gd name="connsiteY111" fmla="*/ 5603 h 10000"/>
                <a:gd name="connsiteX112" fmla="*/ 229 w 10000"/>
                <a:gd name="connsiteY112" fmla="*/ 5788 h 10000"/>
                <a:gd name="connsiteX113" fmla="*/ 409 w 10000"/>
                <a:gd name="connsiteY113" fmla="*/ 5998 h 10000"/>
                <a:gd name="connsiteX114" fmla="*/ 614 w 10000"/>
                <a:gd name="connsiteY114" fmla="*/ 6219 h 10000"/>
                <a:gd name="connsiteX115" fmla="*/ 722 w 10000"/>
                <a:gd name="connsiteY115" fmla="*/ 6318 h 10000"/>
                <a:gd name="connsiteX116" fmla="*/ 818 w 10000"/>
                <a:gd name="connsiteY116" fmla="*/ 6416 h 10000"/>
                <a:gd name="connsiteX117" fmla="*/ 927 w 10000"/>
                <a:gd name="connsiteY117" fmla="*/ 6502 h 10000"/>
                <a:gd name="connsiteX118" fmla="*/ 1047 w 10000"/>
                <a:gd name="connsiteY118" fmla="*/ 6589 h 10000"/>
                <a:gd name="connsiteX119" fmla="*/ 1155 w 10000"/>
                <a:gd name="connsiteY119" fmla="*/ 6650 h 10000"/>
                <a:gd name="connsiteX120" fmla="*/ 1264 w 10000"/>
                <a:gd name="connsiteY120" fmla="*/ 6700 h 10000"/>
                <a:gd name="connsiteX121" fmla="*/ 1348 w 10000"/>
                <a:gd name="connsiteY121" fmla="*/ 6724 h 10000"/>
                <a:gd name="connsiteX122" fmla="*/ 1444 w 10000"/>
                <a:gd name="connsiteY122" fmla="*/ 6736 h 10000"/>
                <a:gd name="connsiteX123" fmla="*/ 1456 w 10000"/>
                <a:gd name="connsiteY123" fmla="*/ 6909 h 10000"/>
                <a:gd name="connsiteX124" fmla="*/ 1480 w 10000"/>
                <a:gd name="connsiteY124" fmla="*/ 7106 h 10000"/>
                <a:gd name="connsiteX125" fmla="*/ 1528 w 10000"/>
                <a:gd name="connsiteY125" fmla="*/ 7204 h 10000"/>
                <a:gd name="connsiteX126" fmla="*/ 1576 w 10000"/>
                <a:gd name="connsiteY126" fmla="*/ 7278 h 10000"/>
                <a:gd name="connsiteX127" fmla="*/ 1613 w 10000"/>
                <a:gd name="connsiteY127" fmla="*/ 7303 h 10000"/>
                <a:gd name="connsiteX128" fmla="*/ 1661 w 10000"/>
                <a:gd name="connsiteY128" fmla="*/ 7328 h 10000"/>
                <a:gd name="connsiteX129" fmla="*/ 1709 w 10000"/>
                <a:gd name="connsiteY129" fmla="*/ 7340 h 10000"/>
                <a:gd name="connsiteX130" fmla="*/ 1769 w 10000"/>
                <a:gd name="connsiteY130" fmla="*/ 7352 h 10000"/>
                <a:gd name="connsiteX131" fmla="*/ 1769 w 10000"/>
                <a:gd name="connsiteY131" fmla="*/ 7586 h 10000"/>
                <a:gd name="connsiteX132" fmla="*/ 1528 w 10000"/>
                <a:gd name="connsiteY132" fmla="*/ 7746 h 10000"/>
                <a:gd name="connsiteX133" fmla="*/ 1288 w 10000"/>
                <a:gd name="connsiteY133" fmla="*/ 7894 h 10000"/>
                <a:gd name="connsiteX134" fmla="*/ 1191 w 10000"/>
                <a:gd name="connsiteY134" fmla="*/ 7968 h 10000"/>
                <a:gd name="connsiteX135" fmla="*/ 1119 w 10000"/>
                <a:gd name="connsiteY135" fmla="*/ 8054 h 10000"/>
                <a:gd name="connsiteX136" fmla="*/ 1083 w 10000"/>
                <a:gd name="connsiteY136" fmla="*/ 8103 h 10000"/>
                <a:gd name="connsiteX137" fmla="*/ 1059 w 10000"/>
                <a:gd name="connsiteY137" fmla="*/ 8165 h 10000"/>
                <a:gd name="connsiteX138" fmla="*/ 1047 w 10000"/>
                <a:gd name="connsiteY138" fmla="*/ 8214 h 10000"/>
                <a:gd name="connsiteX139" fmla="*/ 1047 w 10000"/>
                <a:gd name="connsiteY139" fmla="*/ 8264 h 10000"/>
                <a:gd name="connsiteX140" fmla="*/ 1047 w 10000"/>
                <a:gd name="connsiteY140" fmla="*/ 8374 h 10000"/>
                <a:gd name="connsiteX141" fmla="*/ 1047 w 10000"/>
                <a:gd name="connsiteY141" fmla="*/ 8485 h 10000"/>
                <a:gd name="connsiteX142" fmla="*/ 1047 w 10000"/>
                <a:gd name="connsiteY142" fmla="*/ 8633 h 10000"/>
                <a:gd name="connsiteX143" fmla="*/ 1047 w 10000"/>
                <a:gd name="connsiteY143" fmla="*/ 8879 h 10000"/>
                <a:gd name="connsiteX144" fmla="*/ 1312 w 10000"/>
                <a:gd name="connsiteY144" fmla="*/ 8867 h 10000"/>
                <a:gd name="connsiteX145" fmla="*/ 1588 w 10000"/>
                <a:gd name="connsiteY145" fmla="*/ 8855 h 10000"/>
                <a:gd name="connsiteX146" fmla="*/ 1853 w 10000"/>
                <a:gd name="connsiteY146" fmla="*/ 8830 h 10000"/>
                <a:gd name="connsiteX147" fmla="*/ 2130 w 10000"/>
                <a:gd name="connsiteY147" fmla="*/ 8793 h 10000"/>
                <a:gd name="connsiteX148" fmla="*/ 2395 w 10000"/>
                <a:gd name="connsiteY148" fmla="*/ 8756 h 10000"/>
                <a:gd name="connsiteX149" fmla="*/ 2671 w 10000"/>
                <a:gd name="connsiteY149" fmla="*/ 8744 h 10000"/>
                <a:gd name="connsiteX150" fmla="*/ 2936 w 10000"/>
                <a:gd name="connsiteY150" fmla="*/ 8719 h 10000"/>
                <a:gd name="connsiteX151" fmla="*/ 3201 w 10000"/>
                <a:gd name="connsiteY151" fmla="*/ 8719 h 10000"/>
                <a:gd name="connsiteX152" fmla="*/ 3418 w 10000"/>
                <a:gd name="connsiteY152" fmla="*/ 8707 h 10000"/>
                <a:gd name="connsiteX153" fmla="*/ 3574 w 10000"/>
                <a:gd name="connsiteY153" fmla="*/ 8682 h 10000"/>
                <a:gd name="connsiteX154" fmla="*/ 3634 w 10000"/>
                <a:gd name="connsiteY154" fmla="*/ 8682 h 10000"/>
                <a:gd name="connsiteX155" fmla="*/ 3730 w 10000"/>
                <a:gd name="connsiteY155" fmla="*/ 8682 h 10000"/>
                <a:gd name="connsiteX156" fmla="*/ 3827 w 10000"/>
                <a:gd name="connsiteY156" fmla="*/ 8695 h 10000"/>
                <a:gd name="connsiteX157" fmla="*/ 3923 w 10000"/>
                <a:gd name="connsiteY157" fmla="*/ 8719 h 10000"/>
                <a:gd name="connsiteX158" fmla="*/ 3947 w 10000"/>
                <a:gd name="connsiteY158" fmla="*/ 8793 h 10000"/>
                <a:gd name="connsiteX159" fmla="*/ 3971 w 10000"/>
                <a:gd name="connsiteY159" fmla="*/ 8879 h 10000"/>
                <a:gd name="connsiteX160" fmla="*/ 4007 w 10000"/>
                <a:gd name="connsiteY160" fmla="*/ 8966 h 10000"/>
                <a:gd name="connsiteX161" fmla="*/ 4067 w 10000"/>
                <a:gd name="connsiteY161" fmla="*/ 9052 h 10000"/>
                <a:gd name="connsiteX162" fmla="*/ 4152 w 10000"/>
                <a:gd name="connsiteY162" fmla="*/ 9138 h 10000"/>
                <a:gd name="connsiteX163" fmla="*/ 4236 w 10000"/>
                <a:gd name="connsiteY163" fmla="*/ 9224 h 10000"/>
                <a:gd name="connsiteX164" fmla="*/ 4320 w 10000"/>
                <a:gd name="connsiteY164" fmla="*/ 9310 h 10000"/>
                <a:gd name="connsiteX165" fmla="*/ 4428 w 10000"/>
                <a:gd name="connsiteY165" fmla="*/ 9384 h 10000"/>
                <a:gd name="connsiteX166" fmla="*/ 4549 w 10000"/>
                <a:gd name="connsiteY166" fmla="*/ 9470 h 10000"/>
                <a:gd name="connsiteX167" fmla="*/ 4669 w 10000"/>
                <a:gd name="connsiteY167" fmla="*/ 9557 h 10000"/>
                <a:gd name="connsiteX168" fmla="*/ 4789 w 10000"/>
                <a:gd name="connsiteY168" fmla="*/ 9618 h 10000"/>
                <a:gd name="connsiteX169" fmla="*/ 4910 w 10000"/>
                <a:gd name="connsiteY169" fmla="*/ 9667 h 10000"/>
                <a:gd name="connsiteX170" fmla="*/ 5030 w 10000"/>
                <a:gd name="connsiteY170" fmla="*/ 9717 h 10000"/>
                <a:gd name="connsiteX171" fmla="*/ 5138 w 10000"/>
                <a:gd name="connsiteY171" fmla="*/ 9754 h 10000"/>
                <a:gd name="connsiteX172" fmla="*/ 5259 w 10000"/>
                <a:gd name="connsiteY172" fmla="*/ 9778 h 10000"/>
                <a:gd name="connsiteX173" fmla="*/ 5367 w 10000"/>
                <a:gd name="connsiteY173" fmla="*/ 9778 h 10000"/>
                <a:gd name="connsiteX174" fmla="*/ 5403 w 10000"/>
                <a:gd name="connsiteY174" fmla="*/ 9889 h 10000"/>
                <a:gd name="connsiteX175" fmla="*/ 5451 w 10000"/>
                <a:gd name="connsiteY175" fmla="*/ 10000 h 10000"/>
                <a:gd name="connsiteX176" fmla="*/ 5463 w 10000"/>
                <a:gd name="connsiteY176" fmla="*/ 9926 h 10000"/>
                <a:gd name="connsiteX177" fmla="*/ 5475 w 10000"/>
                <a:gd name="connsiteY177" fmla="*/ 9852 h 10000"/>
                <a:gd name="connsiteX178" fmla="*/ 5499 w 10000"/>
                <a:gd name="connsiteY178" fmla="*/ 9791 h 10000"/>
                <a:gd name="connsiteX179" fmla="*/ 5535 w 10000"/>
                <a:gd name="connsiteY179" fmla="*/ 9741 h 10000"/>
                <a:gd name="connsiteX180" fmla="*/ 5584 w 10000"/>
                <a:gd name="connsiteY180" fmla="*/ 9692 h 10000"/>
                <a:gd name="connsiteX181" fmla="*/ 5620 w 10000"/>
                <a:gd name="connsiteY181" fmla="*/ 9643 h 10000"/>
                <a:gd name="connsiteX182" fmla="*/ 5668 w 10000"/>
                <a:gd name="connsiteY182" fmla="*/ 9606 h 10000"/>
                <a:gd name="connsiteX183" fmla="*/ 5740 w 10000"/>
                <a:gd name="connsiteY183" fmla="*/ 9581 h 10000"/>
                <a:gd name="connsiteX184" fmla="*/ 5860 w 10000"/>
                <a:gd name="connsiteY184" fmla="*/ 9532 h 10000"/>
                <a:gd name="connsiteX185" fmla="*/ 6005 w 10000"/>
                <a:gd name="connsiteY185" fmla="*/ 9483 h 10000"/>
                <a:gd name="connsiteX186" fmla="*/ 6161 w 10000"/>
                <a:gd name="connsiteY186" fmla="*/ 9458 h 10000"/>
                <a:gd name="connsiteX187" fmla="*/ 6318 w 10000"/>
                <a:gd name="connsiteY187" fmla="*/ 9446 h 10000"/>
                <a:gd name="connsiteX188" fmla="*/ 6486 w 10000"/>
                <a:gd name="connsiteY188" fmla="*/ 9421 h 10000"/>
                <a:gd name="connsiteX189" fmla="*/ 6667 w 10000"/>
                <a:gd name="connsiteY189" fmla="*/ 9409 h 10000"/>
                <a:gd name="connsiteX190" fmla="*/ 6823 w 10000"/>
                <a:gd name="connsiteY190" fmla="*/ 9372 h 10000"/>
                <a:gd name="connsiteX191" fmla="*/ 6980 w 10000"/>
                <a:gd name="connsiteY191" fmla="*/ 9335 h 10000"/>
                <a:gd name="connsiteX192" fmla="*/ 7052 w 10000"/>
                <a:gd name="connsiteY192" fmla="*/ 9310 h 10000"/>
                <a:gd name="connsiteX193" fmla="*/ 7112 w 10000"/>
                <a:gd name="connsiteY193" fmla="*/ 9273 h 10000"/>
                <a:gd name="connsiteX194" fmla="*/ 7184 w 10000"/>
                <a:gd name="connsiteY194" fmla="*/ 9236 h 10000"/>
                <a:gd name="connsiteX195" fmla="*/ 7244 w 10000"/>
                <a:gd name="connsiteY195" fmla="*/ 9200 h 10000"/>
                <a:gd name="connsiteX196" fmla="*/ 7292 w 10000"/>
                <a:gd name="connsiteY196" fmla="*/ 9150 h 10000"/>
                <a:gd name="connsiteX197" fmla="*/ 7353 w 10000"/>
                <a:gd name="connsiteY197" fmla="*/ 9089 h 10000"/>
                <a:gd name="connsiteX198" fmla="*/ 7401 w 10000"/>
                <a:gd name="connsiteY198" fmla="*/ 9027 h 10000"/>
                <a:gd name="connsiteX199" fmla="*/ 7437 w 10000"/>
                <a:gd name="connsiteY199" fmla="*/ 8953 h 10000"/>
                <a:gd name="connsiteX200" fmla="*/ 7389 w 10000"/>
                <a:gd name="connsiteY200" fmla="*/ 8929 h 10000"/>
                <a:gd name="connsiteX201" fmla="*/ 7341 w 10000"/>
                <a:gd name="connsiteY201" fmla="*/ 8892 h 10000"/>
                <a:gd name="connsiteX202" fmla="*/ 7268 w 10000"/>
                <a:gd name="connsiteY202" fmla="*/ 8842 h 10000"/>
                <a:gd name="connsiteX203" fmla="*/ 7196 w 10000"/>
                <a:gd name="connsiteY203" fmla="*/ 8768 h 10000"/>
                <a:gd name="connsiteX204" fmla="*/ 7028 w 10000"/>
                <a:gd name="connsiteY204" fmla="*/ 8621 h 10000"/>
                <a:gd name="connsiteX205" fmla="*/ 6871 w 10000"/>
                <a:gd name="connsiteY205" fmla="*/ 8448 h 10000"/>
                <a:gd name="connsiteX206" fmla="*/ 6727 w 10000"/>
                <a:gd name="connsiteY206" fmla="*/ 8264 h 10000"/>
                <a:gd name="connsiteX207" fmla="*/ 6594 w 10000"/>
                <a:gd name="connsiteY207" fmla="*/ 8067 h 10000"/>
                <a:gd name="connsiteX208" fmla="*/ 6558 w 10000"/>
                <a:gd name="connsiteY208" fmla="*/ 7980 h 10000"/>
                <a:gd name="connsiteX209" fmla="*/ 6522 w 10000"/>
                <a:gd name="connsiteY209" fmla="*/ 7894 h 10000"/>
                <a:gd name="connsiteX210" fmla="*/ 6486 w 10000"/>
                <a:gd name="connsiteY210" fmla="*/ 7808 h 10000"/>
                <a:gd name="connsiteX211" fmla="*/ 6474 w 10000"/>
                <a:gd name="connsiteY211" fmla="*/ 7734 h 10000"/>
                <a:gd name="connsiteX212" fmla="*/ 6426 w 10000"/>
                <a:gd name="connsiteY212" fmla="*/ 7722 h 10000"/>
                <a:gd name="connsiteX213" fmla="*/ 6378 w 10000"/>
                <a:gd name="connsiteY213" fmla="*/ 7709 h 10000"/>
                <a:gd name="connsiteX214" fmla="*/ 6330 w 10000"/>
                <a:gd name="connsiteY214" fmla="*/ 7685 h 10000"/>
                <a:gd name="connsiteX215" fmla="*/ 6294 w 10000"/>
                <a:gd name="connsiteY215" fmla="*/ 7635 h 10000"/>
                <a:gd name="connsiteX216" fmla="*/ 6221 w 10000"/>
                <a:gd name="connsiteY216" fmla="*/ 7549 h 10000"/>
                <a:gd name="connsiteX217" fmla="*/ 6161 w 10000"/>
                <a:gd name="connsiteY217" fmla="*/ 7426 h 10000"/>
                <a:gd name="connsiteX218" fmla="*/ 6161 w 10000"/>
                <a:gd name="connsiteY218" fmla="*/ 7131 h 10000"/>
                <a:gd name="connsiteX219" fmla="*/ 6330 w 10000"/>
                <a:gd name="connsiteY219" fmla="*/ 7118 h 10000"/>
                <a:gd name="connsiteX220" fmla="*/ 6486 w 10000"/>
                <a:gd name="connsiteY220" fmla="*/ 7106 h 10000"/>
                <a:gd name="connsiteX221" fmla="*/ 6631 w 10000"/>
                <a:gd name="connsiteY221" fmla="*/ 7081 h 10000"/>
                <a:gd name="connsiteX222" fmla="*/ 6763 w 10000"/>
                <a:gd name="connsiteY222" fmla="*/ 7032 h 10000"/>
                <a:gd name="connsiteX223" fmla="*/ 6883 w 10000"/>
                <a:gd name="connsiteY223" fmla="*/ 6995 h 10000"/>
                <a:gd name="connsiteX224" fmla="*/ 7004 w 10000"/>
                <a:gd name="connsiteY224" fmla="*/ 6933 h 10000"/>
                <a:gd name="connsiteX225" fmla="*/ 7112 w 10000"/>
                <a:gd name="connsiteY225" fmla="*/ 6872 h 10000"/>
                <a:gd name="connsiteX226" fmla="*/ 7220 w 10000"/>
                <a:gd name="connsiteY226" fmla="*/ 6798 h 10000"/>
                <a:gd name="connsiteX227" fmla="*/ 7304 w 10000"/>
                <a:gd name="connsiteY227" fmla="*/ 6712 h 10000"/>
                <a:gd name="connsiteX228" fmla="*/ 7401 w 10000"/>
                <a:gd name="connsiteY228" fmla="*/ 6626 h 10000"/>
                <a:gd name="connsiteX229" fmla="*/ 7485 w 10000"/>
                <a:gd name="connsiteY229" fmla="*/ 6539 h 10000"/>
                <a:gd name="connsiteX230" fmla="*/ 7557 w 10000"/>
                <a:gd name="connsiteY230" fmla="*/ 6441 h 10000"/>
                <a:gd name="connsiteX231" fmla="*/ 7690 w 10000"/>
                <a:gd name="connsiteY231" fmla="*/ 6244 h 10000"/>
                <a:gd name="connsiteX232" fmla="*/ 7822 w 10000"/>
                <a:gd name="connsiteY232" fmla="*/ 6022 h 10000"/>
                <a:gd name="connsiteX233" fmla="*/ 8051 w 10000"/>
                <a:gd name="connsiteY233" fmla="*/ 5579 h 10000"/>
                <a:gd name="connsiteX234" fmla="*/ 8279 w 10000"/>
                <a:gd name="connsiteY234" fmla="*/ 5135 h 10000"/>
                <a:gd name="connsiteX235" fmla="*/ 8412 w 10000"/>
                <a:gd name="connsiteY235" fmla="*/ 4938 h 10000"/>
                <a:gd name="connsiteX236" fmla="*/ 8544 w 10000"/>
                <a:gd name="connsiteY236" fmla="*/ 4766 h 10000"/>
                <a:gd name="connsiteX237" fmla="*/ 8616 w 10000"/>
                <a:gd name="connsiteY237" fmla="*/ 4667 h 10000"/>
                <a:gd name="connsiteX238" fmla="*/ 8700 w 10000"/>
                <a:gd name="connsiteY238" fmla="*/ 4594 h 10000"/>
                <a:gd name="connsiteX239" fmla="*/ 8785 w 10000"/>
                <a:gd name="connsiteY239" fmla="*/ 4532 h 10000"/>
                <a:gd name="connsiteX240" fmla="*/ 8881 w 10000"/>
                <a:gd name="connsiteY240" fmla="*/ 4470 h 10000"/>
                <a:gd name="connsiteX241" fmla="*/ 8809 w 10000"/>
                <a:gd name="connsiteY241" fmla="*/ 4323 h 10000"/>
                <a:gd name="connsiteX242" fmla="*/ 8748 w 10000"/>
                <a:gd name="connsiteY242" fmla="*/ 4187 h 10000"/>
                <a:gd name="connsiteX243" fmla="*/ 8736 w 10000"/>
                <a:gd name="connsiteY243" fmla="*/ 4126 h 10000"/>
                <a:gd name="connsiteX244" fmla="*/ 8724 w 10000"/>
                <a:gd name="connsiteY244" fmla="*/ 4064 h 10000"/>
                <a:gd name="connsiteX245" fmla="*/ 8724 w 10000"/>
                <a:gd name="connsiteY245" fmla="*/ 3990 h 10000"/>
                <a:gd name="connsiteX246" fmla="*/ 8724 w 10000"/>
                <a:gd name="connsiteY246" fmla="*/ 3929 h 10000"/>
                <a:gd name="connsiteX247" fmla="*/ 8736 w 10000"/>
                <a:gd name="connsiteY247" fmla="*/ 3867 h 10000"/>
                <a:gd name="connsiteX248" fmla="*/ 8748 w 10000"/>
                <a:gd name="connsiteY248" fmla="*/ 3805 h 10000"/>
                <a:gd name="connsiteX249" fmla="*/ 8773 w 10000"/>
                <a:gd name="connsiteY249" fmla="*/ 3756 h 10000"/>
                <a:gd name="connsiteX250" fmla="*/ 8821 w 10000"/>
                <a:gd name="connsiteY250" fmla="*/ 3707 h 10000"/>
                <a:gd name="connsiteX251" fmla="*/ 8857 w 10000"/>
                <a:gd name="connsiteY251" fmla="*/ 3670 h 10000"/>
                <a:gd name="connsiteX252" fmla="*/ 8905 w 10000"/>
                <a:gd name="connsiteY252" fmla="*/ 3633 h 10000"/>
                <a:gd name="connsiteX253" fmla="*/ 8977 w 10000"/>
                <a:gd name="connsiteY253" fmla="*/ 3596 h 10000"/>
                <a:gd name="connsiteX254" fmla="*/ 9037 w 10000"/>
                <a:gd name="connsiteY254" fmla="*/ 3559 h 10000"/>
                <a:gd name="connsiteX255" fmla="*/ 8688 w 10000"/>
                <a:gd name="connsiteY255" fmla="*/ 3227 h 10000"/>
                <a:gd name="connsiteX256" fmla="*/ 8424 w 10000"/>
                <a:gd name="connsiteY256" fmla="*/ 2980 h 10000"/>
                <a:gd name="connsiteX257" fmla="*/ 8303 w 10000"/>
                <a:gd name="connsiteY257" fmla="*/ 2857 h 10000"/>
                <a:gd name="connsiteX258" fmla="*/ 8183 w 10000"/>
                <a:gd name="connsiteY258" fmla="*/ 2722 h 10000"/>
                <a:gd name="connsiteX259" fmla="*/ 8063 w 10000"/>
                <a:gd name="connsiteY259" fmla="*/ 2549 h 10000"/>
                <a:gd name="connsiteX260" fmla="*/ 7918 w 10000"/>
                <a:gd name="connsiteY260" fmla="*/ 2340 h 10000"/>
                <a:gd name="connsiteX261" fmla="*/ 8505 w 10000"/>
                <a:gd name="connsiteY261" fmla="*/ 2316 h 10000"/>
                <a:gd name="connsiteX262" fmla="*/ 8436 w 10000"/>
                <a:gd name="connsiteY262" fmla="*/ 1786 h 10000"/>
                <a:gd name="connsiteX263" fmla="*/ 8821 w 10000"/>
                <a:gd name="connsiteY263" fmla="*/ 1761 h 10000"/>
                <a:gd name="connsiteX264" fmla="*/ 9122 w 10000"/>
                <a:gd name="connsiteY264" fmla="*/ 1724 h 10000"/>
                <a:gd name="connsiteX265" fmla="*/ 9362 w 10000"/>
                <a:gd name="connsiteY265" fmla="*/ 1675 h 10000"/>
                <a:gd name="connsiteX266" fmla="*/ 9446 w 10000"/>
                <a:gd name="connsiteY266" fmla="*/ 1650 h 10000"/>
                <a:gd name="connsiteX267" fmla="*/ 9531 w 10000"/>
                <a:gd name="connsiteY267" fmla="*/ 1613 h 10000"/>
                <a:gd name="connsiteX268" fmla="*/ 9615 w 10000"/>
                <a:gd name="connsiteY268" fmla="*/ 1564 h 10000"/>
                <a:gd name="connsiteX269" fmla="*/ 9687 w 10000"/>
                <a:gd name="connsiteY269" fmla="*/ 1515 h 10000"/>
                <a:gd name="connsiteX270" fmla="*/ 9832 w 10000"/>
                <a:gd name="connsiteY270" fmla="*/ 1392 h 10000"/>
                <a:gd name="connsiteX271" fmla="*/ 10000 w 10000"/>
                <a:gd name="connsiteY271" fmla="*/ 1207 h 10000"/>
                <a:gd name="connsiteX0" fmla="*/ 10000 w 10000"/>
                <a:gd name="connsiteY0" fmla="*/ 1207 h 10000"/>
                <a:gd name="connsiteX1" fmla="*/ 9832 w 10000"/>
                <a:gd name="connsiteY1" fmla="*/ 1170 h 10000"/>
                <a:gd name="connsiteX2" fmla="*/ 9663 w 10000"/>
                <a:gd name="connsiteY2" fmla="*/ 1121 h 10000"/>
                <a:gd name="connsiteX3" fmla="*/ 9519 w 10000"/>
                <a:gd name="connsiteY3" fmla="*/ 1071 h 10000"/>
                <a:gd name="connsiteX4" fmla="*/ 9374 w 10000"/>
                <a:gd name="connsiteY4" fmla="*/ 1010 h 10000"/>
                <a:gd name="connsiteX5" fmla="*/ 9254 w 10000"/>
                <a:gd name="connsiteY5" fmla="*/ 948 h 10000"/>
                <a:gd name="connsiteX6" fmla="*/ 9122 w 10000"/>
                <a:gd name="connsiteY6" fmla="*/ 874 h 10000"/>
                <a:gd name="connsiteX7" fmla="*/ 9013 w 10000"/>
                <a:gd name="connsiteY7" fmla="*/ 800 h 10000"/>
                <a:gd name="connsiteX8" fmla="*/ 8905 w 10000"/>
                <a:gd name="connsiteY8" fmla="*/ 714 h 10000"/>
                <a:gd name="connsiteX9" fmla="*/ 8508 w 10000"/>
                <a:gd name="connsiteY9" fmla="*/ 357 h 10000"/>
                <a:gd name="connsiteX10" fmla="*/ 8171 w 10000"/>
                <a:gd name="connsiteY10" fmla="*/ 0 h 10000"/>
                <a:gd name="connsiteX11" fmla="*/ 7882 w 10000"/>
                <a:gd name="connsiteY11" fmla="*/ 25 h 10000"/>
                <a:gd name="connsiteX12" fmla="*/ 7533 w 10000"/>
                <a:gd name="connsiteY12" fmla="*/ 49 h 10000"/>
                <a:gd name="connsiteX13" fmla="*/ 7148 w 10000"/>
                <a:gd name="connsiteY13" fmla="*/ 86 h 10000"/>
                <a:gd name="connsiteX14" fmla="*/ 6763 w 10000"/>
                <a:gd name="connsiteY14" fmla="*/ 123 h 10000"/>
                <a:gd name="connsiteX15" fmla="*/ 6582 w 10000"/>
                <a:gd name="connsiteY15" fmla="*/ 160 h 10000"/>
                <a:gd name="connsiteX16" fmla="*/ 6414 w 10000"/>
                <a:gd name="connsiteY16" fmla="*/ 197 h 10000"/>
                <a:gd name="connsiteX17" fmla="*/ 6258 w 10000"/>
                <a:gd name="connsiteY17" fmla="*/ 234 h 10000"/>
                <a:gd name="connsiteX18" fmla="*/ 6125 w 10000"/>
                <a:gd name="connsiteY18" fmla="*/ 296 h 10000"/>
                <a:gd name="connsiteX19" fmla="*/ 6005 w 10000"/>
                <a:gd name="connsiteY19" fmla="*/ 357 h 10000"/>
                <a:gd name="connsiteX20" fmla="*/ 5921 w 10000"/>
                <a:gd name="connsiteY20" fmla="*/ 419 h 10000"/>
                <a:gd name="connsiteX21" fmla="*/ 5884 w 10000"/>
                <a:gd name="connsiteY21" fmla="*/ 456 h 10000"/>
                <a:gd name="connsiteX22" fmla="*/ 5860 w 10000"/>
                <a:gd name="connsiteY22" fmla="*/ 505 h 10000"/>
                <a:gd name="connsiteX23" fmla="*/ 5848 w 10000"/>
                <a:gd name="connsiteY23" fmla="*/ 542 h 10000"/>
                <a:gd name="connsiteX24" fmla="*/ 5848 w 10000"/>
                <a:gd name="connsiteY24" fmla="*/ 603 h 10000"/>
                <a:gd name="connsiteX25" fmla="*/ 5848 w 10000"/>
                <a:gd name="connsiteY25" fmla="*/ 665 h 10000"/>
                <a:gd name="connsiteX26" fmla="*/ 5860 w 10000"/>
                <a:gd name="connsiteY26" fmla="*/ 727 h 10000"/>
                <a:gd name="connsiteX27" fmla="*/ 5884 w 10000"/>
                <a:gd name="connsiteY27" fmla="*/ 776 h 10000"/>
                <a:gd name="connsiteX28" fmla="*/ 5909 w 10000"/>
                <a:gd name="connsiteY28" fmla="*/ 813 h 10000"/>
                <a:gd name="connsiteX29" fmla="*/ 5981 w 10000"/>
                <a:gd name="connsiteY29" fmla="*/ 874 h 10000"/>
                <a:gd name="connsiteX30" fmla="*/ 6041 w 10000"/>
                <a:gd name="connsiteY30" fmla="*/ 936 h 10000"/>
                <a:gd name="connsiteX31" fmla="*/ 6125 w 10000"/>
                <a:gd name="connsiteY31" fmla="*/ 985 h 10000"/>
                <a:gd name="connsiteX32" fmla="*/ 6185 w 10000"/>
                <a:gd name="connsiteY32" fmla="*/ 1034 h 10000"/>
                <a:gd name="connsiteX33" fmla="*/ 6209 w 10000"/>
                <a:gd name="connsiteY33" fmla="*/ 1071 h 10000"/>
                <a:gd name="connsiteX34" fmla="*/ 6221 w 10000"/>
                <a:gd name="connsiteY34" fmla="*/ 1108 h 10000"/>
                <a:gd name="connsiteX35" fmla="*/ 6245 w 10000"/>
                <a:gd name="connsiteY35" fmla="*/ 1145 h 10000"/>
                <a:gd name="connsiteX36" fmla="*/ 6245 w 10000"/>
                <a:gd name="connsiteY36" fmla="*/ 1207 h 10000"/>
                <a:gd name="connsiteX37" fmla="*/ 6245 w 10000"/>
                <a:gd name="connsiteY37" fmla="*/ 1256 h 10000"/>
                <a:gd name="connsiteX38" fmla="*/ 6221 w 10000"/>
                <a:gd name="connsiteY38" fmla="*/ 1318 h 10000"/>
                <a:gd name="connsiteX39" fmla="*/ 6209 w 10000"/>
                <a:gd name="connsiteY39" fmla="*/ 1367 h 10000"/>
                <a:gd name="connsiteX40" fmla="*/ 6185 w 10000"/>
                <a:gd name="connsiteY40" fmla="*/ 1404 h 10000"/>
                <a:gd name="connsiteX41" fmla="*/ 6125 w 10000"/>
                <a:gd name="connsiteY41" fmla="*/ 1478 h 10000"/>
                <a:gd name="connsiteX42" fmla="*/ 6041 w 10000"/>
                <a:gd name="connsiteY42" fmla="*/ 1564 h 10000"/>
                <a:gd name="connsiteX43" fmla="*/ 5981 w 10000"/>
                <a:gd name="connsiteY43" fmla="*/ 1638 h 10000"/>
                <a:gd name="connsiteX44" fmla="*/ 5909 w 10000"/>
                <a:gd name="connsiteY44" fmla="*/ 1724 h 10000"/>
                <a:gd name="connsiteX45" fmla="*/ 5884 w 10000"/>
                <a:gd name="connsiteY45" fmla="*/ 1773 h 10000"/>
                <a:gd name="connsiteX46" fmla="*/ 5860 w 10000"/>
                <a:gd name="connsiteY46" fmla="*/ 1835 h 10000"/>
                <a:gd name="connsiteX47" fmla="*/ 5848 w 10000"/>
                <a:gd name="connsiteY47" fmla="*/ 1897 h 10000"/>
                <a:gd name="connsiteX48" fmla="*/ 5848 w 10000"/>
                <a:gd name="connsiteY48" fmla="*/ 1958 h 10000"/>
                <a:gd name="connsiteX49" fmla="*/ 5776 w 10000"/>
                <a:gd name="connsiteY49" fmla="*/ 1995 h 10000"/>
                <a:gd name="connsiteX50" fmla="*/ 5716 w 10000"/>
                <a:gd name="connsiteY50" fmla="*/ 2007 h 10000"/>
                <a:gd name="connsiteX51" fmla="*/ 5656 w 10000"/>
                <a:gd name="connsiteY51" fmla="*/ 2044 h 10000"/>
                <a:gd name="connsiteX52" fmla="*/ 5608 w 10000"/>
                <a:gd name="connsiteY52" fmla="*/ 2081 h 10000"/>
                <a:gd name="connsiteX53" fmla="*/ 5499 w 10000"/>
                <a:gd name="connsiteY53" fmla="*/ 2167 h 10000"/>
                <a:gd name="connsiteX54" fmla="*/ 5415 w 10000"/>
                <a:gd name="connsiteY54" fmla="*/ 2266 h 10000"/>
                <a:gd name="connsiteX55" fmla="*/ 5343 w 10000"/>
                <a:gd name="connsiteY55" fmla="*/ 2389 h 10000"/>
                <a:gd name="connsiteX56" fmla="*/ 5271 w 10000"/>
                <a:gd name="connsiteY56" fmla="*/ 2525 h 10000"/>
                <a:gd name="connsiteX57" fmla="*/ 5223 w 10000"/>
                <a:gd name="connsiteY57" fmla="*/ 2672 h 10000"/>
                <a:gd name="connsiteX58" fmla="*/ 5174 w 10000"/>
                <a:gd name="connsiteY58" fmla="*/ 2833 h 10000"/>
                <a:gd name="connsiteX59" fmla="*/ 5138 w 10000"/>
                <a:gd name="connsiteY59" fmla="*/ 2993 h 10000"/>
                <a:gd name="connsiteX60" fmla="*/ 5102 w 10000"/>
                <a:gd name="connsiteY60" fmla="*/ 3153 h 10000"/>
                <a:gd name="connsiteX61" fmla="*/ 5090 w 10000"/>
                <a:gd name="connsiteY61" fmla="*/ 3325 h 10000"/>
                <a:gd name="connsiteX62" fmla="*/ 5066 w 10000"/>
                <a:gd name="connsiteY62" fmla="*/ 3498 h 10000"/>
                <a:gd name="connsiteX63" fmla="*/ 5054 w 10000"/>
                <a:gd name="connsiteY63" fmla="*/ 3805 h 10000"/>
                <a:gd name="connsiteX64" fmla="*/ 5054 w 10000"/>
                <a:gd name="connsiteY64" fmla="*/ 4089 h 10000"/>
                <a:gd name="connsiteX65" fmla="*/ 4958 w 10000"/>
                <a:gd name="connsiteY65" fmla="*/ 4089 h 10000"/>
                <a:gd name="connsiteX66" fmla="*/ 4898 w 10000"/>
                <a:gd name="connsiteY66" fmla="*/ 4064 h 10000"/>
                <a:gd name="connsiteX67" fmla="*/ 4826 w 10000"/>
                <a:gd name="connsiteY67" fmla="*/ 4027 h 10000"/>
                <a:gd name="connsiteX68" fmla="*/ 4777 w 10000"/>
                <a:gd name="connsiteY68" fmla="*/ 3966 h 10000"/>
                <a:gd name="connsiteX69" fmla="*/ 4717 w 10000"/>
                <a:gd name="connsiteY69" fmla="*/ 3929 h 10000"/>
                <a:gd name="connsiteX70" fmla="*/ 4669 w 10000"/>
                <a:gd name="connsiteY70" fmla="*/ 3892 h 10000"/>
                <a:gd name="connsiteX71" fmla="*/ 4633 w 10000"/>
                <a:gd name="connsiteY71" fmla="*/ 3867 h 10000"/>
                <a:gd name="connsiteX72" fmla="*/ 4561 w 10000"/>
                <a:gd name="connsiteY72" fmla="*/ 3855 h 10000"/>
                <a:gd name="connsiteX73" fmla="*/ 4513 w 10000"/>
                <a:gd name="connsiteY73" fmla="*/ 3867 h 10000"/>
                <a:gd name="connsiteX74" fmla="*/ 4452 w 10000"/>
                <a:gd name="connsiteY74" fmla="*/ 3879 h 10000"/>
                <a:gd name="connsiteX75" fmla="*/ 4404 w 10000"/>
                <a:gd name="connsiteY75" fmla="*/ 3904 h 10000"/>
                <a:gd name="connsiteX76" fmla="*/ 4356 w 10000"/>
                <a:gd name="connsiteY76" fmla="*/ 3929 h 10000"/>
                <a:gd name="connsiteX77" fmla="*/ 4260 w 10000"/>
                <a:gd name="connsiteY77" fmla="*/ 4002 h 10000"/>
                <a:gd name="connsiteX78" fmla="*/ 4164 w 10000"/>
                <a:gd name="connsiteY78" fmla="*/ 4089 h 10000"/>
                <a:gd name="connsiteX79" fmla="*/ 4067 w 10000"/>
                <a:gd name="connsiteY79" fmla="*/ 4175 h 10000"/>
                <a:gd name="connsiteX80" fmla="*/ 3983 w 10000"/>
                <a:gd name="connsiteY80" fmla="*/ 4249 h 10000"/>
                <a:gd name="connsiteX81" fmla="*/ 3923 w 10000"/>
                <a:gd name="connsiteY81" fmla="*/ 4273 h 10000"/>
                <a:gd name="connsiteX82" fmla="*/ 3875 w 10000"/>
                <a:gd name="connsiteY82" fmla="*/ 4298 h 10000"/>
                <a:gd name="connsiteX83" fmla="*/ 3827 w 10000"/>
                <a:gd name="connsiteY83" fmla="*/ 4310 h 10000"/>
                <a:gd name="connsiteX84" fmla="*/ 3767 w 10000"/>
                <a:gd name="connsiteY84" fmla="*/ 4323 h 10000"/>
                <a:gd name="connsiteX85" fmla="*/ 3706 w 10000"/>
                <a:gd name="connsiteY85" fmla="*/ 4323 h 10000"/>
                <a:gd name="connsiteX86" fmla="*/ 3646 w 10000"/>
                <a:gd name="connsiteY86" fmla="*/ 4347 h 10000"/>
                <a:gd name="connsiteX87" fmla="*/ 3610 w 10000"/>
                <a:gd name="connsiteY87" fmla="*/ 4384 h 10000"/>
                <a:gd name="connsiteX88" fmla="*/ 3574 w 10000"/>
                <a:gd name="connsiteY88" fmla="*/ 4433 h 10000"/>
                <a:gd name="connsiteX89" fmla="*/ 3490 w 10000"/>
                <a:gd name="connsiteY89" fmla="*/ 4557 h 10000"/>
                <a:gd name="connsiteX90" fmla="*/ 3454 w 10000"/>
                <a:gd name="connsiteY90" fmla="*/ 4717 h 10000"/>
                <a:gd name="connsiteX91" fmla="*/ 3418 w 10000"/>
                <a:gd name="connsiteY91" fmla="*/ 4877 h 10000"/>
                <a:gd name="connsiteX92" fmla="*/ 3381 w 10000"/>
                <a:gd name="connsiteY92" fmla="*/ 5025 h 10000"/>
                <a:gd name="connsiteX93" fmla="*/ 3369 w 10000"/>
                <a:gd name="connsiteY93" fmla="*/ 5148 h 10000"/>
                <a:gd name="connsiteX94" fmla="*/ 3369 w 10000"/>
                <a:gd name="connsiteY94" fmla="*/ 5222 h 10000"/>
                <a:gd name="connsiteX95" fmla="*/ 3333 w 10000"/>
                <a:gd name="connsiteY95" fmla="*/ 5259 h 10000"/>
                <a:gd name="connsiteX96" fmla="*/ 3285 w 10000"/>
                <a:gd name="connsiteY96" fmla="*/ 5283 h 10000"/>
                <a:gd name="connsiteX97" fmla="*/ 3189 w 10000"/>
                <a:gd name="connsiteY97" fmla="*/ 5320 h 10000"/>
                <a:gd name="connsiteX98" fmla="*/ 3093 w 10000"/>
                <a:gd name="connsiteY98" fmla="*/ 5357 h 10000"/>
                <a:gd name="connsiteX99" fmla="*/ 2828 w 10000"/>
                <a:gd name="connsiteY99" fmla="*/ 5443 h 10000"/>
                <a:gd name="connsiteX100" fmla="*/ 2539 w 10000"/>
                <a:gd name="connsiteY100" fmla="*/ 5517 h 10000"/>
                <a:gd name="connsiteX101" fmla="*/ 2226 w 10000"/>
                <a:gd name="connsiteY101" fmla="*/ 5579 h 10000"/>
                <a:gd name="connsiteX102" fmla="*/ 1937 w 10000"/>
                <a:gd name="connsiteY102" fmla="*/ 5640 h 10000"/>
                <a:gd name="connsiteX103" fmla="*/ 1697 w 10000"/>
                <a:gd name="connsiteY103" fmla="*/ 5677 h 10000"/>
                <a:gd name="connsiteX104" fmla="*/ 1528 w 10000"/>
                <a:gd name="connsiteY104" fmla="*/ 5690 h 10000"/>
                <a:gd name="connsiteX105" fmla="*/ 1312 w 10000"/>
                <a:gd name="connsiteY105" fmla="*/ 5677 h 10000"/>
                <a:gd name="connsiteX106" fmla="*/ 1095 w 10000"/>
                <a:gd name="connsiteY106" fmla="*/ 5665 h 10000"/>
                <a:gd name="connsiteX107" fmla="*/ 890 w 10000"/>
                <a:gd name="connsiteY107" fmla="*/ 5628 h 10000"/>
                <a:gd name="connsiteX108" fmla="*/ 674 w 10000"/>
                <a:gd name="connsiteY108" fmla="*/ 5603 h 10000"/>
                <a:gd name="connsiteX109" fmla="*/ 313 w 10000"/>
                <a:gd name="connsiteY109" fmla="*/ 5530 h 10000"/>
                <a:gd name="connsiteX110" fmla="*/ 0 w 10000"/>
                <a:gd name="connsiteY110" fmla="*/ 5456 h 10000"/>
                <a:gd name="connsiteX111" fmla="*/ 96 w 10000"/>
                <a:gd name="connsiteY111" fmla="*/ 5603 h 10000"/>
                <a:gd name="connsiteX112" fmla="*/ 229 w 10000"/>
                <a:gd name="connsiteY112" fmla="*/ 5788 h 10000"/>
                <a:gd name="connsiteX113" fmla="*/ 409 w 10000"/>
                <a:gd name="connsiteY113" fmla="*/ 5998 h 10000"/>
                <a:gd name="connsiteX114" fmla="*/ 614 w 10000"/>
                <a:gd name="connsiteY114" fmla="*/ 6219 h 10000"/>
                <a:gd name="connsiteX115" fmla="*/ 722 w 10000"/>
                <a:gd name="connsiteY115" fmla="*/ 6318 h 10000"/>
                <a:gd name="connsiteX116" fmla="*/ 818 w 10000"/>
                <a:gd name="connsiteY116" fmla="*/ 6416 h 10000"/>
                <a:gd name="connsiteX117" fmla="*/ 927 w 10000"/>
                <a:gd name="connsiteY117" fmla="*/ 6502 h 10000"/>
                <a:gd name="connsiteX118" fmla="*/ 1047 w 10000"/>
                <a:gd name="connsiteY118" fmla="*/ 6589 h 10000"/>
                <a:gd name="connsiteX119" fmla="*/ 1155 w 10000"/>
                <a:gd name="connsiteY119" fmla="*/ 6650 h 10000"/>
                <a:gd name="connsiteX120" fmla="*/ 1264 w 10000"/>
                <a:gd name="connsiteY120" fmla="*/ 6700 h 10000"/>
                <a:gd name="connsiteX121" fmla="*/ 1348 w 10000"/>
                <a:gd name="connsiteY121" fmla="*/ 6724 h 10000"/>
                <a:gd name="connsiteX122" fmla="*/ 1444 w 10000"/>
                <a:gd name="connsiteY122" fmla="*/ 6736 h 10000"/>
                <a:gd name="connsiteX123" fmla="*/ 1456 w 10000"/>
                <a:gd name="connsiteY123" fmla="*/ 6909 h 10000"/>
                <a:gd name="connsiteX124" fmla="*/ 1480 w 10000"/>
                <a:gd name="connsiteY124" fmla="*/ 7106 h 10000"/>
                <a:gd name="connsiteX125" fmla="*/ 1528 w 10000"/>
                <a:gd name="connsiteY125" fmla="*/ 7204 h 10000"/>
                <a:gd name="connsiteX126" fmla="*/ 1576 w 10000"/>
                <a:gd name="connsiteY126" fmla="*/ 7278 h 10000"/>
                <a:gd name="connsiteX127" fmla="*/ 1613 w 10000"/>
                <a:gd name="connsiteY127" fmla="*/ 7303 h 10000"/>
                <a:gd name="connsiteX128" fmla="*/ 1661 w 10000"/>
                <a:gd name="connsiteY128" fmla="*/ 7328 h 10000"/>
                <a:gd name="connsiteX129" fmla="*/ 1709 w 10000"/>
                <a:gd name="connsiteY129" fmla="*/ 7340 h 10000"/>
                <a:gd name="connsiteX130" fmla="*/ 1769 w 10000"/>
                <a:gd name="connsiteY130" fmla="*/ 7352 h 10000"/>
                <a:gd name="connsiteX131" fmla="*/ 1769 w 10000"/>
                <a:gd name="connsiteY131" fmla="*/ 7586 h 10000"/>
                <a:gd name="connsiteX132" fmla="*/ 1528 w 10000"/>
                <a:gd name="connsiteY132" fmla="*/ 7746 h 10000"/>
                <a:gd name="connsiteX133" fmla="*/ 1288 w 10000"/>
                <a:gd name="connsiteY133" fmla="*/ 7894 h 10000"/>
                <a:gd name="connsiteX134" fmla="*/ 1191 w 10000"/>
                <a:gd name="connsiteY134" fmla="*/ 7968 h 10000"/>
                <a:gd name="connsiteX135" fmla="*/ 1119 w 10000"/>
                <a:gd name="connsiteY135" fmla="*/ 8054 h 10000"/>
                <a:gd name="connsiteX136" fmla="*/ 1083 w 10000"/>
                <a:gd name="connsiteY136" fmla="*/ 8103 h 10000"/>
                <a:gd name="connsiteX137" fmla="*/ 1059 w 10000"/>
                <a:gd name="connsiteY137" fmla="*/ 8165 h 10000"/>
                <a:gd name="connsiteX138" fmla="*/ 1047 w 10000"/>
                <a:gd name="connsiteY138" fmla="*/ 8214 h 10000"/>
                <a:gd name="connsiteX139" fmla="*/ 1047 w 10000"/>
                <a:gd name="connsiteY139" fmla="*/ 8264 h 10000"/>
                <a:gd name="connsiteX140" fmla="*/ 1047 w 10000"/>
                <a:gd name="connsiteY140" fmla="*/ 8374 h 10000"/>
                <a:gd name="connsiteX141" fmla="*/ 1047 w 10000"/>
                <a:gd name="connsiteY141" fmla="*/ 8485 h 10000"/>
                <a:gd name="connsiteX142" fmla="*/ 1047 w 10000"/>
                <a:gd name="connsiteY142" fmla="*/ 8633 h 10000"/>
                <a:gd name="connsiteX143" fmla="*/ 1047 w 10000"/>
                <a:gd name="connsiteY143" fmla="*/ 8879 h 10000"/>
                <a:gd name="connsiteX144" fmla="*/ 1312 w 10000"/>
                <a:gd name="connsiteY144" fmla="*/ 8867 h 10000"/>
                <a:gd name="connsiteX145" fmla="*/ 1588 w 10000"/>
                <a:gd name="connsiteY145" fmla="*/ 8855 h 10000"/>
                <a:gd name="connsiteX146" fmla="*/ 1853 w 10000"/>
                <a:gd name="connsiteY146" fmla="*/ 8830 h 10000"/>
                <a:gd name="connsiteX147" fmla="*/ 2130 w 10000"/>
                <a:gd name="connsiteY147" fmla="*/ 8793 h 10000"/>
                <a:gd name="connsiteX148" fmla="*/ 2395 w 10000"/>
                <a:gd name="connsiteY148" fmla="*/ 8756 h 10000"/>
                <a:gd name="connsiteX149" fmla="*/ 2671 w 10000"/>
                <a:gd name="connsiteY149" fmla="*/ 8744 h 10000"/>
                <a:gd name="connsiteX150" fmla="*/ 2936 w 10000"/>
                <a:gd name="connsiteY150" fmla="*/ 8719 h 10000"/>
                <a:gd name="connsiteX151" fmla="*/ 3201 w 10000"/>
                <a:gd name="connsiteY151" fmla="*/ 8719 h 10000"/>
                <a:gd name="connsiteX152" fmla="*/ 3418 w 10000"/>
                <a:gd name="connsiteY152" fmla="*/ 8707 h 10000"/>
                <a:gd name="connsiteX153" fmla="*/ 3574 w 10000"/>
                <a:gd name="connsiteY153" fmla="*/ 8682 h 10000"/>
                <a:gd name="connsiteX154" fmla="*/ 3634 w 10000"/>
                <a:gd name="connsiteY154" fmla="*/ 8682 h 10000"/>
                <a:gd name="connsiteX155" fmla="*/ 3730 w 10000"/>
                <a:gd name="connsiteY155" fmla="*/ 8682 h 10000"/>
                <a:gd name="connsiteX156" fmla="*/ 3827 w 10000"/>
                <a:gd name="connsiteY156" fmla="*/ 8695 h 10000"/>
                <a:gd name="connsiteX157" fmla="*/ 3923 w 10000"/>
                <a:gd name="connsiteY157" fmla="*/ 8719 h 10000"/>
                <a:gd name="connsiteX158" fmla="*/ 3947 w 10000"/>
                <a:gd name="connsiteY158" fmla="*/ 8793 h 10000"/>
                <a:gd name="connsiteX159" fmla="*/ 3971 w 10000"/>
                <a:gd name="connsiteY159" fmla="*/ 8879 h 10000"/>
                <a:gd name="connsiteX160" fmla="*/ 4007 w 10000"/>
                <a:gd name="connsiteY160" fmla="*/ 8966 h 10000"/>
                <a:gd name="connsiteX161" fmla="*/ 4067 w 10000"/>
                <a:gd name="connsiteY161" fmla="*/ 9052 h 10000"/>
                <a:gd name="connsiteX162" fmla="*/ 4152 w 10000"/>
                <a:gd name="connsiteY162" fmla="*/ 9138 h 10000"/>
                <a:gd name="connsiteX163" fmla="*/ 4236 w 10000"/>
                <a:gd name="connsiteY163" fmla="*/ 9224 h 10000"/>
                <a:gd name="connsiteX164" fmla="*/ 4320 w 10000"/>
                <a:gd name="connsiteY164" fmla="*/ 9310 h 10000"/>
                <a:gd name="connsiteX165" fmla="*/ 4428 w 10000"/>
                <a:gd name="connsiteY165" fmla="*/ 9384 h 10000"/>
                <a:gd name="connsiteX166" fmla="*/ 4549 w 10000"/>
                <a:gd name="connsiteY166" fmla="*/ 9470 h 10000"/>
                <a:gd name="connsiteX167" fmla="*/ 4669 w 10000"/>
                <a:gd name="connsiteY167" fmla="*/ 9557 h 10000"/>
                <a:gd name="connsiteX168" fmla="*/ 4789 w 10000"/>
                <a:gd name="connsiteY168" fmla="*/ 9618 h 10000"/>
                <a:gd name="connsiteX169" fmla="*/ 4910 w 10000"/>
                <a:gd name="connsiteY169" fmla="*/ 9667 h 10000"/>
                <a:gd name="connsiteX170" fmla="*/ 5030 w 10000"/>
                <a:gd name="connsiteY170" fmla="*/ 9717 h 10000"/>
                <a:gd name="connsiteX171" fmla="*/ 5138 w 10000"/>
                <a:gd name="connsiteY171" fmla="*/ 9754 h 10000"/>
                <a:gd name="connsiteX172" fmla="*/ 5259 w 10000"/>
                <a:gd name="connsiteY172" fmla="*/ 9778 h 10000"/>
                <a:gd name="connsiteX173" fmla="*/ 5367 w 10000"/>
                <a:gd name="connsiteY173" fmla="*/ 9778 h 10000"/>
                <a:gd name="connsiteX174" fmla="*/ 5403 w 10000"/>
                <a:gd name="connsiteY174" fmla="*/ 9889 h 10000"/>
                <a:gd name="connsiteX175" fmla="*/ 5451 w 10000"/>
                <a:gd name="connsiteY175" fmla="*/ 10000 h 10000"/>
                <a:gd name="connsiteX176" fmla="*/ 5463 w 10000"/>
                <a:gd name="connsiteY176" fmla="*/ 9926 h 10000"/>
                <a:gd name="connsiteX177" fmla="*/ 5475 w 10000"/>
                <a:gd name="connsiteY177" fmla="*/ 9852 h 10000"/>
                <a:gd name="connsiteX178" fmla="*/ 5499 w 10000"/>
                <a:gd name="connsiteY178" fmla="*/ 9791 h 10000"/>
                <a:gd name="connsiteX179" fmla="*/ 5535 w 10000"/>
                <a:gd name="connsiteY179" fmla="*/ 9741 h 10000"/>
                <a:gd name="connsiteX180" fmla="*/ 5584 w 10000"/>
                <a:gd name="connsiteY180" fmla="*/ 9692 h 10000"/>
                <a:gd name="connsiteX181" fmla="*/ 5620 w 10000"/>
                <a:gd name="connsiteY181" fmla="*/ 9643 h 10000"/>
                <a:gd name="connsiteX182" fmla="*/ 5668 w 10000"/>
                <a:gd name="connsiteY182" fmla="*/ 9606 h 10000"/>
                <a:gd name="connsiteX183" fmla="*/ 5740 w 10000"/>
                <a:gd name="connsiteY183" fmla="*/ 9581 h 10000"/>
                <a:gd name="connsiteX184" fmla="*/ 5860 w 10000"/>
                <a:gd name="connsiteY184" fmla="*/ 9532 h 10000"/>
                <a:gd name="connsiteX185" fmla="*/ 6005 w 10000"/>
                <a:gd name="connsiteY185" fmla="*/ 9483 h 10000"/>
                <a:gd name="connsiteX186" fmla="*/ 6161 w 10000"/>
                <a:gd name="connsiteY186" fmla="*/ 9458 h 10000"/>
                <a:gd name="connsiteX187" fmla="*/ 6318 w 10000"/>
                <a:gd name="connsiteY187" fmla="*/ 9446 h 10000"/>
                <a:gd name="connsiteX188" fmla="*/ 6486 w 10000"/>
                <a:gd name="connsiteY188" fmla="*/ 9421 h 10000"/>
                <a:gd name="connsiteX189" fmla="*/ 6667 w 10000"/>
                <a:gd name="connsiteY189" fmla="*/ 9409 h 10000"/>
                <a:gd name="connsiteX190" fmla="*/ 6823 w 10000"/>
                <a:gd name="connsiteY190" fmla="*/ 9372 h 10000"/>
                <a:gd name="connsiteX191" fmla="*/ 6980 w 10000"/>
                <a:gd name="connsiteY191" fmla="*/ 9335 h 10000"/>
                <a:gd name="connsiteX192" fmla="*/ 7052 w 10000"/>
                <a:gd name="connsiteY192" fmla="*/ 9310 h 10000"/>
                <a:gd name="connsiteX193" fmla="*/ 7112 w 10000"/>
                <a:gd name="connsiteY193" fmla="*/ 9273 h 10000"/>
                <a:gd name="connsiteX194" fmla="*/ 7184 w 10000"/>
                <a:gd name="connsiteY194" fmla="*/ 9236 h 10000"/>
                <a:gd name="connsiteX195" fmla="*/ 7244 w 10000"/>
                <a:gd name="connsiteY195" fmla="*/ 9200 h 10000"/>
                <a:gd name="connsiteX196" fmla="*/ 7292 w 10000"/>
                <a:gd name="connsiteY196" fmla="*/ 9150 h 10000"/>
                <a:gd name="connsiteX197" fmla="*/ 7353 w 10000"/>
                <a:gd name="connsiteY197" fmla="*/ 9089 h 10000"/>
                <a:gd name="connsiteX198" fmla="*/ 7401 w 10000"/>
                <a:gd name="connsiteY198" fmla="*/ 9027 h 10000"/>
                <a:gd name="connsiteX199" fmla="*/ 7437 w 10000"/>
                <a:gd name="connsiteY199" fmla="*/ 8953 h 10000"/>
                <a:gd name="connsiteX200" fmla="*/ 7389 w 10000"/>
                <a:gd name="connsiteY200" fmla="*/ 8929 h 10000"/>
                <a:gd name="connsiteX201" fmla="*/ 7341 w 10000"/>
                <a:gd name="connsiteY201" fmla="*/ 8892 h 10000"/>
                <a:gd name="connsiteX202" fmla="*/ 7268 w 10000"/>
                <a:gd name="connsiteY202" fmla="*/ 8842 h 10000"/>
                <a:gd name="connsiteX203" fmla="*/ 7196 w 10000"/>
                <a:gd name="connsiteY203" fmla="*/ 8768 h 10000"/>
                <a:gd name="connsiteX204" fmla="*/ 7028 w 10000"/>
                <a:gd name="connsiteY204" fmla="*/ 8621 h 10000"/>
                <a:gd name="connsiteX205" fmla="*/ 6871 w 10000"/>
                <a:gd name="connsiteY205" fmla="*/ 8448 h 10000"/>
                <a:gd name="connsiteX206" fmla="*/ 6727 w 10000"/>
                <a:gd name="connsiteY206" fmla="*/ 8264 h 10000"/>
                <a:gd name="connsiteX207" fmla="*/ 6594 w 10000"/>
                <a:gd name="connsiteY207" fmla="*/ 8067 h 10000"/>
                <a:gd name="connsiteX208" fmla="*/ 6558 w 10000"/>
                <a:gd name="connsiteY208" fmla="*/ 7980 h 10000"/>
                <a:gd name="connsiteX209" fmla="*/ 6522 w 10000"/>
                <a:gd name="connsiteY209" fmla="*/ 7894 h 10000"/>
                <a:gd name="connsiteX210" fmla="*/ 6486 w 10000"/>
                <a:gd name="connsiteY210" fmla="*/ 7808 h 10000"/>
                <a:gd name="connsiteX211" fmla="*/ 6474 w 10000"/>
                <a:gd name="connsiteY211" fmla="*/ 7734 h 10000"/>
                <a:gd name="connsiteX212" fmla="*/ 6426 w 10000"/>
                <a:gd name="connsiteY212" fmla="*/ 7722 h 10000"/>
                <a:gd name="connsiteX213" fmla="*/ 6378 w 10000"/>
                <a:gd name="connsiteY213" fmla="*/ 7709 h 10000"/>
                <a:gd name="connsiteX214" fmla="*/ 6330 w 10000"/>
                <a:gd name="connsiteY214" fmla="*/ 7685 h 10000"/>
                <a:gd name="connsiteX215" fmla="*/ 6294 w 10000"/>
                <a:gd name="connsiteY215" fmla="*/ 7635 h 10000"/>
                <a:gd name="connsiteX216" fmla="*/ 6221 w 10000"/>
                <a:gd name="connsiteY216" fmla="*/ 7549 h 10000"/>
                <a:gd name="connsiteX217" fmla="*/ 6161 w 10000"/>
                <a:gd name="connsiteY217" fmla="*/ 7426 h 10000"/>
                <a:gd name="connsiteX218" fmla="*/ 6161 w 10000"/>
                <a:gd name="connsiteY218" fmla="*/ 7131 h 10000"/>
                <a:gd name="connsiteX219" fmla="*/ 6330 w 10000"/>
                <a:gd name="connsiteY219" fmla="*/ 7118 h 10000"/>
                <a:gd name="connsiteX220" fmla="*/ 6486 w 10000"/>
                <a:gd name="connsiteY220" fmla="*/ 7106 h 10000"/>
                <a:gd name="connsiteX221" fmla="*/ 6631 w 10000"/>
                <a:gd name="connsiteY221" fmla="*/ 7081 h 10000"/>
                <a:gd name="connsiteX222" fmla="*/ 6763 w 10000"/>
                <a:gd name="connsiteY222" fmla="*/ 7032 h 10000"/>
                <a:gd name="connsiteX223" fmla="*/ 6883 w 10000"/>
                <a:gd name="connsiteY223" fmla="*/ 6995 h 10000"/>
                <a:gd name="connsiteX224" fmla="*/ 7004 w 10000"/>
                <a:gd name="connsiteY224" fmla="*/ 6933 h 10000"/>
                <a:gd name="connsiteX225" fmla="*/ 7112 w 10000"/>
                <a:gd name="connsiteY225" fmla="*/ 6872 h 10000"/>
                <a:gd name="connsiteX226" fmla="*/ 7220 w 10000"/>
                <a:gd name="connsiteY226" fmla="*/ 6798 h 10000"/>
                <a:gd name="connsiteX227" fmla="*/ 7304 w 10000"/>
                <a:gd name="connsiteY227" fmla="*/ 6712 h 10000"/>
                <a:gd name="connsiteX228" fmla="*/ 7401 w 10000"/>
                <a:gd name="connsiteY228" fmla="*/ 6626 h 10000"/>
                <a:gd name="connsiteX229" fmla="*/ 7485 w 10000"/>
                <a:gd name="connsiteY229" fmla="*/ 6539 h 10000"/>
                <a:gd name="connsiteX230" fmla="*/ 7557 w 10000"/>
                <a:gd name="connsiteY230" fmla="*/ 6441 h 10000"/>
                <a:gd name="connsiteX231" fmla="*/ 7690 w 10000"/>
                <a:gd name="connsiteY231" fmla="*/ 6244 h 10000"/>
                <a:gd name="connsiteX232" fmla="*/ 7822 w 10000"/>
                <a:gd name="connsiteY232" fmla="*/ 6022 h 10000"/>
                <a:gd name="connsiteX233" fmla="*/ 8051 w 10000"/>
                <a:gd name="connsiteY233" fmla="*/ 5579 h 10000"/>
                <a:gd name="connsiteX234" fmla="*/ 8279 w 10000"/>
                <a:gd name="connsiteY234" fmla="*/ 5135 h 10000"/>
                <a:gd name="connsiteX235" fmla="*/ 8412 w 10000"/>
                <a:gd name="connsiteY235" fmla="*/ 4938 h 10000"/>
                <a:gd name="connsiteX236" fmla="*/ 8544 w 10000"/>
                <a:gd name="connsiteY236" fmla="*/ 4766 h 10000"/>
                <a:gd name="connsiteX237" fmla="*/ 8616 w 10000"/>
                <a:gd name="connsiteY237" fmla="*/ 4667 h 10000"/>
                <a:gd name="connsiteX238" fmla="*/ 8700 w 10000"/>
                <a:gd name="connsiteY238" fmla="*/ 4594 h 10000"/>
                <a:gd name="connsiteX239" fmla="*/ 8785 w 10000"/>
                <a:gd name="connsiteY239" fmla="*/ 4532 h 10000"/>
                <a:gd name="connsiteX240" fmla="*/ 8881 w 10000"/>
                <a:gd name="connsiteY240" fmla="*/ 4470 h 10000"/>
                <a:gd name="connsiteX241" fmla="*/ 8809 w 10000"/>
                <a:gd name="connsiteY241" fmla="*/ 4323 h 10000"/>
                <a:gd name="connsiteX242" fmla="*/ 8748 w 10000"/>
                <a:gd name="connsiteY242" fmla="*/ 4187 h 10000"/>
                <a:gd name="connsiteX243" fmla="*/ 8736 w 10000"/>
                <a:gd name="connsiteY243" fmla="*/ 4126 h 10000"/>
                <a:gd name="connsiteX244" fmla="*/ 8724 w 10000"/>
                <a:gd name="connsiteY244" fmla="*/ 4064 h 10000"/>
                <a:gd name="connsiteX245" fmla="*/ 8724 w 10000"/>
                <a:gd name="connsiteY245" fmla="*/ 3990 h 10000"/>
                <a:gd name="connsiteX246" fmla="*/ 8724 w 10000"/>
                <a:gd name="connsiteY246" fmla="*/ 3929 h 10000"/>
                <a:gd name="connsiteX247" fmla="*/ 8736 w 10000"/>
                <a:gd name="connsiteY247" fmla="*/ 3867 h 10000"/>
                <a:gd name="connsiteX248" fmla="*/ 8748 w 10000"/>
                <a:gd name="connsiteY248" fmla="*/ 3805 h 10000"/>
                <a:gd name="connsiteX249" fmla="*/ 8773 w 10000"/>
                <a:gd name="connsiteY249" fmla="*/ 3756 h 10000"/>
                <a:gd name="connsiteX250" fmla="*/ 8821 w 10000"/>
                <a:gd name="connsiteY250" fmla="*/ 3707 h 10000"/>
                <a:gd name="connsiteX251" fmla="*/ 8857 w 10000"/>
                <a:gd name="connsiteY251" fmla="*/ 3670 h 10000"/>
                <a:gd name="connsiteX252" fmla="*/ 8905 w 10000"/>
                <a:gd name="connsiteY252" fmla="*/ 3633 h 10000"/>
                <a:gd name="connsiteX253" fmla="*/ 8977 w 10000"/>
                <a:gd name="connsiteY253" fmla="*/ 3596 h 10000"/>
                <a:gd name="connsiteX254" fmla="*/ 9037 w 10000"/>
                <a:gd name="connsiteY254" fmla="*/ 3559 h 10000"/>
                <a:gd name="connsiteX255" fmla="*/ 8688 w 10000"/>
                <a:gd name="connsiteY255" fmla="*/ 3227 h 10000"/>
                <a:gd name="connsiteX256" fmla="*/ 8424 w 10000"/>
                <a:gd name="connsiteY256" fmla="*/ 2980 h 10000"/>
                <a:gd name="connsiteX257" fmla="*/ 8303 w 10000"/>
                <a:gd name="connsiteY257" fmla="*/ 2857 h 10000"/>
                <a:gd name="connsiteX258" fmla="*/ 8183 w 10000"/>
                <a:gd name="connsiteY258" fmla="*/ 2722 h 10000"/>
                <a:gd name="connsiteX259" fmla="*/ 8063 w 10000"/>
                <a:gd name="connsiteY259" fmla="*/ 2549 h 10000"/>
                <a:gd name="connsiteX260" fmla="*/ 7918 w 10000"/>
                <a:gd name="connsiteY260" fmla="*/ 2340 h 10000"/>
                <a:gd name="connsiteX261" fmla="*/ 8505 w 10000"/>
                <a:gd name="connsiteY261" fmla="*/ 2316 h 10000"/>
                <a:gd name="connsiteX262" fmla="*/ 8893 w 10000"/>
                <a:gd name="connsiteY262" fmla="*/ 1898 h 10000"/>
                <a:gd name="connsiteX263" fmla="*/ 8821 w 10000"/>
                <a:gd name="connsiteY263" fmla="*/ 1761 h 10000"/>
                <a:gd name="connsiteX264" fmla="*/ 9122 w 10000"/>
                <a:gd name="connsiteY264" fmla="*/ 1724 h 10000"/>
                <a:gd name="connsiteX265" fmla="*/ 9362 w 10000"/>
                <a:gd name="connsiteY265" fmla="*/ 1675 h 10000"/>
                <a:gd name="connsiteX266" fmla="*/ 9446 w 10000"/>
                <a:gd name="connsiteY266" fmla="*/ 1650 h 10000"/>
                <a:gd name="connsiteX267" fmla="*/ 9531 w 10000"/>
                <a:gd name="connsiteY267" fmla="*/ 1613 h 10000"/>
                <a:gd name="connsiteX268" fmla="*/ 9615 w 10000"/>
                <a:gd name="connsiteY268" fmla="*/ 1564 h 10000"/>
                <a:gd name="connsiteX269" fmla="*/ 9687 w 10000"/>
                <a:gd name="connsiteY269" fmla="*/ 1515 h 10000"/>
                <a:gd name="connsiteX270" fmla="*/ 9832 w 10000"/>
                <a:gd name="connsiteY270" fmla="*/ 1392 h 10000"/>
                <a:gd name="connsiteX271" fmla="*/ 10000 w 10000"/>
                <a:gd name="connsiteY271" fmla="*/ 120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10000" h="10000">
                  <a:moveTo>
                    <a:pt x="10000" y="1207"/>
                  </a:moveTo>
                  <a:lnTo>
                    <a:pt x="9832" y="1170"/>
                  </a:lnTo>
                  <a:lnTo>
                    <a:pt x="9663" y="1121"/>
                  </a:lnTo>
                  <a:lnTo>
                    <a:pt x="9519" y="1071"/>
                  </a:lnTo>
                  <a:lnTo>
                    <a:pt x="9374" y="1010"/>
                  </a:lnTo>
                  <a:lnTo>
                    <a:pt x="9254" y="948"/>
                  </a:lnTo>
                  <a:lnTo>
                    <a:pt x="9122" y="874"/>
                  </a:lnTo>
                  <a:cubicBezTo>
                    <a:pt x="9086" y="849"/>
                    <a:pt x="9049" y="825"/>
                    <a:pt x="9013" y="800"/>
                  </a:cubicBezTo>
                  <a:lnTo>
                    <a:pt x="8905" y="714"/>
                  </a:lnTo>
                  <a:lnTo>
                    <a:pt x="8508" y="357"/>
                  </a:lnTo>
                  <a:lnTo>
                    <a:pt x="8171" y="0"/>
                  </a:lnTo>
                  <a:lnTo>
                    <a:pt x="7882" y="25"/>
                  </a:lnTo>
                  <a:lnTo>
                    <a:pt x="7533" y="49"/>
                  </a:lnTo>
                  <a:lnTo>
                    <a:pt x="7148" y="86"/>
                  </a:lnTo>
                  <a:lnTo>
                    <a:pt x="6763" y="123"/>
                  </a:lnTo>
                  <a:lnTo>
                    <a:pt x="6582" y="160"/>
                  </a:lnTo>
                  <a:lnTo>
                    <a:pt x="6414" y="197"/>
                  </a:lnTo>
                  <a:lnTo>
                    <a:pt x="6258" y="234"/>
                  </a:lnTo>
                  <a:cubicBezTo>
                    <a:pt x="6214" y="255"/>
                    <a:pt x="6169" y="275"/>
                    <a:pt x="6125" y="296"/>
                  </a:cubicBezTo>
                  <a:lnTo>
                    <a:pt x="6005" y="357"/>
                  </a:lnTo>
                  <a:cubicBezTo>
                    <a:pt x="5977" y="378"/>
                    <a:pt x="5949" y="398"/>
                    <a:pt x="5921" y="419"/>
                  </a:cubicBezTo>
                  <a:lnTo>
                    <a:pt x="5884" y="456"/>
                  </a:lnTo>
                  <a:cubicBezTo>
                    <a:pt x="5876" y="472"/>
                    <a:pt x="5868" y="489"/>
                    <a:pt x="5860" y="505"/>
                  </a:cubicBezTo>
                  <a:cubicBezTo>
                    <a:pt x="5856" y="517"/>
                    <a:pt x="5852" y="530"/>
                    <a:pt x="5848" y="542"/>
                  </a:cubicBezTo>
                  <a:lnTo>
                    <a:pt x="5848" y="603"/>
                  </a:lnTo>
                  <a:lnTo>
                    <a:pt x="5848" y="665"/>
                  </a:lnTo>
                  <a:cubicBezTo>
                    <a:pt x="5852" y="686"/>
                    <a:pt x="5856" y="706"/>
                    <a:pt x="5860" y="727"/>
                  </a:cubicBezTo>
                  <a:cubicBezTo>
                    <a:pt x="5868" y="743"/>
                    <a:pt x="5876" y="760"/>
                    <a:pt x="5884" y="776"/>
                  </a:cubicBezTo>
                  <a:cubicBezTo>
                    <a:pt x="5892" y="788"/>
                    <a:pt x="5901" y="801"/>
                    <a:pt x="5909" y="813"/>
                  </a:cubicBezTo>
                  <a:cubicBezTo>
                    <a:pt x="5933" y="833"/>
                    <a:pt x="5957" y="854"/>
                    <a:pt x="5981" y="874"/>
                  </a:cubicBezTo>
                  <a:cubicBezTo>
                    <a:pt x="6001" y="895"/>
                    <a:pt x="6021" y="915"/>
                    <a:pt x="6041" y="936"/>
                  </a:cubicBezTo>
                  <a:cubicBezTo>
                    <a:pt x="6069" y="952"/>
                    <a:pt x="6097" y="969"/>
                    <a:pt x="6125" y="985"/>
                  </a:cubicBezTo>
                  <a:cubicBezTo>
                    <a:pt x="6145" y="1001"/>
                    <a:pt x="6165" y="1018"/>
                    <a:pt x="6185" y="1034"/>
                  </a:cubicBezTo>
                  <a:cubicBezTo>
                    <a:pt x="6193" y="1046"/>
                    <a:pt x="6201" y="1059"/>
                    <a:pt x="6209" y="1071"/>
                  </a:cubicBezTo>
                  <a:cubicBezTo>
                    <a:pt x="6213" y="1083"/>
                    <a:pt x="6217" y="1096"/>
                    <a:pt x="6221" y="1108"/>
                  </a:cubicBezTo>
                  <a:cubicBezTo>
                    <a:pt x="6229" y="1120"/>
                    <a:pt x="6237" y="1133"/>
                    <a:pt x="6245" y="1145"/>
                  </a:cubicBezTo>
                  <a:lnTo>
                    <a:pt x="6245" y="1207"/>
                  </a:lnTo>
                  <a:lnTo>
                    <a:pt x="6245" y="1256"/>
                  </a:lnTo>
                  <a:cubicBezTo>
                    <a:pt x="6237" y="1277"/>
                    <a:pt x="6229" y="1297"/>
                    <a:pt x="6221" y="1318"/>
                  </a:cubicBezTo>
                  <a:cubicBezTo>
                    <a:pt x="6217" y="1334"/>
                    <a:pt x="6213" y="1351"/>
                    <a:pt x="6209" y="1367"/>
                  </a:cubicBezTo>
                  <a:cubicBezTo>
                    <a:pt x="6201" y="1379"/>
                    <a:pt x="6193" y="1392"/>
                    <a:pt x="6185" y="1404"/>
                  </a:cubicBezTo>
                  <a:cubicBezTo>
                    <a:pt x="6165" y="1429"/>
                    <a:pt x="6145" y="1453"/>
                    <a:pt x="6125" y="1478"/>
                  </a:cubicBezTo>
                  <a:cubicBezTo>
                    <a:pt x="6097" y="1507"/>
                    <a:pt x="6069" y="1535"/>
                    <a:pt x="6041" y="1564"/>
                  </a:cubicBezTo>
                  <a:cubicBezTo>
                    <a:pt x="6021" y="1589"/>
                    <a:pt x="6001" y="1613"/>
                    <a:pt x="5981" y="1638"/>
                  </a:cubicBezTo>
                  <a:cubicBezTo>
                    <a:pt x="5957" y="1667"/>
                    <a:pt x="5933" y="1695"/>
                    <a:pt x="5909" y="1724"/>
                  </a:cubicBezTo>
                  <a:cubicBezTo>
                    <a:pt x="5901" y="1740"/>
                    <a:pt x="5892" y="1757"/>
                    <a:pt x="5884" y="1773"/>
                  </a:cubicBezTo>
                  <a:cubicBezTo>
                    <a:pt x="5876" y="1794"/>
                    <a:pt x="5868" y="1814"/>
                    <a:pt x="5860" y="1835"/>
                  </a:cubicBezTo>
                  <a:cubicBezTo>
                    <a:pt x="5856" y="1856"/>
                    <a:pt x="5852" y="1876"/>
                    <a:pt x="5848" y="1897"/>
                  </a:cubicBezTo>
                  <a:lnTo>
                    <a:pt x="5848" y="1958"/>
                  </a:lnTo>
                  <a:cubicBezTo>
                    <a:pt x="5824" y="1970"/>
                    <a:pt x="5800" y="1983"/>
                    <a:pt x="5776" y="1995"/>
                  </a:cubicBezTo>
                  <a:lnTo>
                    <a:pt x="5716" y="2007"/>
                  </a:lnTo>
                  <a:cubicBezTo>
                    <a:pt x="5696" y="2019"/>
                    <a:pt x="5676" y="2032"/>
                    <a:pt x="5656" y="2044"/>
                  </a:cubicBezTo>
                  <a:cubicBezTo>
                    <a:pt x="5640" y="2056"/>
                    <a:pt x="5624" y="2069"/>
                    <a:pt x="5608" y="2081"/>
                  </a:cubicBezTo>
                  <a:cubicBezTo>
                    <a:pt x="5572" y="2110"/>
                    <a:pt x="5535" y="2138"/>
                    <a:pt x="5499" y="2167"/>
                  </a:cubicBezTo>
                  <a:lnTo>
                    <a:pt x="5415" y="2266"/>
                  </a:lnTo>
                  <a:lnTo>
                    <a:pt x="5343" y="2389"/>
                  </a:lnTo>
                  <a:cubicBezTo>
                    <a:pt x="5319" y="2434"/>
                    <a:pt x="5295" y="2480"/>
                    <a:pt x="5271" y="2525"/>
                  </a:cubicBezTo>
                  <a:lnTo>
                    <a:pt x="5223" y="2672"/>
                  </a:lnTo>
                  <a:cubicBezTo>
                    <a:pt x="5207" y="2726"/>
                    <a:pt x="5190" y="2779"/>
                    <a:pt x="5174" y="2833"/>
                  </a:cubicBezTo>
                  <a:cubicBezTo>
                    <a:pt x="5162" y="2886"/>
                    <a:pt x="5150" y="2940"/>
                    <a:pt x="5138" y="2993"/>
                  </a:cubicBezTo>
                  <a:cubicBezTo>
                    <a:pt x="5126" y="3046"/>
                    <a:pt x="5114" y="3100"/>
                    <a:pt x="5102" y="3153"/>
                  </a:cubicBezTo>
                  <a:cubicBezTo>
                    <a:pt x="5098" y="3210"/>
                    <a:pt x="5094" y="3268"/>
                    <a:pt x="5090" y="3325"/>
                  </a:cubicBezTo>
                  <a:cubicBezTo>
                    <a:pt x="5082" y="3383"/>
                    <a:pt x="5074" y="3440"/>
                    <a:pt x="5066" y="3498"/>
                  </a:cubicBezTo>
                  <a:cubicBezTo>
                    <a:pt x="5062" y="3600"/>
                    <a:pt x="5058" y="3703"/>
                    <a:pt x="5054" y="3805"/>
                  </a:cubicBezTo>
                  <a:lnTo>
                    <a:pt x="5054" y="4089"/>
                  </a:lnTo>
                  <a:lnTo>
                    <a:pt x="4958" y="4089"/>
                  </a:lnTo>
                  <a:cubicBezTo>
                    <a:pt x="4938" y="4081"/>
                    <a:pt x="4918" y="4072"/>
                    <a:pt x="4898" y="4064"/>
                  </a:cubicBezTo>
                  <a:cubicBezTo>
                    <a:pt x="4874" y="4052"/>
                    <a:pt x="4850" y="4039"/>
                    <a:pt x="4826" y="4027"/>
                  </a:cubicBezTo>
                  <a:lnTo>
                    <a:pt x="4777" y="3966"/>
                  </a:lnTo>
                  <a:cubicBezTo>
                    <a:pt x="4757" y="3954"/>
                    <a:pt x="4737" y="3941"/>
                    <a:pt x="4717" y="3929"/>
                  </a:cubicBezTo>
                  <a:cubicBezTo>
                    <a:pt x="4701" y="3917"/>
                    <a:pt x="4685" y="3904"/>
                    <a:pt x="4669" y="3892"/>
                  </a:cubicBezTo>
                  <a:cubicBezTo>
                    <a:pt x="4657" y="3884"/>
                    <a:pt x="4645" y="3875"/>
                    <a:pt x="4633" y="3867"/>
                  </a:cubicBezTo>
                  <a:lnTo>
                    <a:pt x="4561" y="3855"/>
                  </a:lnTo>
                  <a:lnTo>
                    <a:pt x="4513" y="3867"/>
                  </a:lnTo>
                  <a:lnTo>
                    <a:pt x="4452" y="3879"/>
                  </a:lnTo>
                  <a:cubicBezTo>
                    <a:pt x="4436" y="3887"/>
                    <a:pt x="4420" y="3896"/>
                    <a:pt x="4404" y="3904"/>
                  </a:cubicBezTo>
                  <a:cubicBezTo>
                    <a:pt x="4388" y="3912"/>
                    <a:pt x="4372" y="3921"/>
                    <a:pt x="4356" y="3929"/>
                  </a:cubicBezTo>
                  <a:cubicBezTo>
                    <a:pt x="4324" y="3953"/>
                    <a:pt x="4292" y="3978"/>
                    <a:pt x="4260" y="4002"/>
                  </a:cubicBezTo>
                  <a:lnTo>
                    <a:pt x="4164" y="4089"/>
                  </a:lnTo>
                  <a:cubicBezTo>
                    <a:pt x="4132" y="4118"/>
                    <a:pt x="4099" y="4146"/>
                    <a:pt x="4067" y="4175"/>
                  </a:cubicBezTo>
                  <a:cubicBezTo>
                    <a:pt x="4039" y="4200"/>
                    <a:pt x="4011" y="4224"/>
                    <a:pt x="3983" y="4249"/>
                  </a:cubicBezTo>
                  <a:lnTo>
                    <a:pt x="3923" y="4273"/>
                  </a:lnTo>
                  <a:cubicBezTo>
                    <a:pt x="3907" y="4281"/>
                    <a:pt x="3891" y="4290"/>
                    <a:pt x="3875" y="4298"/>
                  </a:cubicBezTo>
                  <a:lnTo>
                    <a:pt x="3827" y="4310"/>
                  </a:lnTo>
                  <a:cubicBezTo>
                    <a:pt x="3807" y="4314"/>
                    <a:pt x="3787" y="4319"/>
                    <a:pt x="3767" y="4323"/>
                  </a:cubicBezTo>
                  <a:lnTo>
                    <a:pt x="3706" y="4323"/>
                  </a:lnTo>
                  <a:lnTo>
                    <a:pt x="3646" y="4347"/>
                  </a:lnTo>
                  <a:cubicBezTo>
                    <a:pt x="3634" y="4359"/>
                    <a:pt x="3622" y="4372"/>
                    <a:pt x="3610" y="4384"/>
                  </a:cubicBezTo>
                  <a:cubicBezTo>
                    <a:pt x="3598" y="4400"/>
                    <a:pt x="3586" y="4417"/>
                    <a:pt x="3574" y="4433"/>
                  </a:cubicBezTo>
                  <a:cubicBezTo>
                    <a:pt x="3546" y="4474"/>
                    <a:pt x="3518" y="4516"/>
                    <a:pt x="3490" y="4557"/>
                  </a:cubicBezTo>
                  <a:cubicBezTo>
                    <a:pt x="3478" y="4610"/>
                    <a:pt x="3466" y="4664"/>
                    <a:pt x="3454" y="4717"/>
                  </a:cubicBezTo>
                  <a:cubicBezTo>
                    <a:pt x="3442" y="4770"/>
                    <a:pt x="3430" y="4824"/>
                    <a:pt x="3418" y="4877"/>
                  </a:cubicBezTo>
                  <a:cubicBezTo>
                    <a:pt x="3406" y="4926"/>
                    <a:pt x="3393" y="4976"/>
                    <a:pt x="3381" y="5025"/>
                  </a:cubicBezTo>
                  <a:lnTo>
                    <a:pt x="3369" y="5148"/>
                  </a:lnTo>
                  <a:lnTo>
                    <a:pt x="3369" y="5222"/>
                  </a:lnTo>
                  <a:cubicBezTo>
                    <a:pt x="3357" y="5234"/>
                    <a:pt x="3345" y="5247"/>
                    <a:pt x="3333" y="5259"/>
                  </a:cubicBezTo>
                  <a:lnTo>
                    <a:pt x="3285" y="5283"/>
                  </a:lnTo>
                  <a:cubicBezTo>
                    <a:pt x="3253" y="5295"/>
                    <a:pt x="3221" y="5308"/>
                    <a:pt x="3189" y="5320"/>
                  </a:cubicBezTo>
                  <a:cubicBezTo>
                    <a:pt x="3157" y="5332"/>
                    <a:pt x="3125" y="5345"/>
                    <a:pt x="3093" y="5357"/>
                  </a:cubicBezTo>
                  <a:lnTo>
                    <a:pt x="2828" y="5443"/>
                  </a:lnTo>
                  <a:lnTo>
                    <a:pt x="2539" y="5517"/>
                  </a:lnTo>
                  <a:lnTo>
                    <a:pt x="2226" y="5579"/>
                  </a:lnTo>
                  <a:lnTo>
                    <a:pt x="1937" y="5640"/>
                  </a:lnTo>
                  <a:lnTo>
                    <a:pt x="1697" y="5677"/>
                  </a:lnTo>
                  <a:lnTo>
                    <a:pt x="1528" y="5690"/>
                  </a:lnTo>
                  <a:lnTo>
                    <a:pt x="1312" y="5677"/>
                  </a:lnTo>
                  <a:lnTo>
                    <a:pt x="1095" y="5665"/>
                  </a:lnTo>
                  <a:lnTo>
                    <a:pt x="890" y="5628"/>
                  </a:lnTo>
                  <a:lnTo>
                    <a:pt x="674" y="5603"/>
                  </a:lnTo>
                  <a:lnTo>
                    <a:pt x="313" y="5530"/>
                  </a:lnTo>
                  <a:lnTo>
                    <a:pt x="0" y="5456"/>
                  </a:lnTo>
                  <a:lnTo>
                    <a:pt x="96" y="5603"/>
                  </a:lnTo>
                  <a:cubicBezTo>
                    <a:pt x="140" y="5665"/>
                    <a:pt x="185" y="5726"/>
                    <a:pt x="229" y="5788"/>
                  </a:cubicBezTo>
                  <a:lnTo>
                    <a:pt x="409" y="5998"/>
                  </a:lnTo>
                  <a:cubicBezTo>
                    <a:pt x="477" y="6072"/>
                    <a:pt x="546" y="6145"/>
                    <a:pt x="614" y="6219"/>
                  </a:cubicBezTo>
                  <a:lnTo>
                    <a:pt x="722" y="6318"/>
                  </a:lnTo>
                  <a:cubicBezTo>
                    <a:pt x="754" y="6351"/>
                    <a:pt x="786" y="6383"/>
                    <a:pt x="818" y="6416"/>
                  </a:cubicBezTo>
                  <a:cubicBezTo>
                    <a:pt x="854" y="6445"/>
                    <a:pt x="891" y="6473"/>
                    <a:pt x="927" y="6502"/>
                  </a:cubicBezTo>
                  <a:lnTo>
                    <a:pt x="1047" y="6589"/>
                  </a:lnTo>
                  <a:lnTo>
                    <a:pt x="1155" y="6650"/>
                  </a:lnTo>
                  <a:cubicBezTo>
                    <a:pt x="1191" y="6667"/>
                    <a:pt x="1228" y="6683"/>
                    <a:pt x="1264" y="6700"/>
                  </a:cubicBezTo>
                  <a:lnTo>
                    <a:pt x="1348" y="6724"/>
                  </a:lnTo>
                  <a:lnTo>
                    <a:pt x="1444" y="6736"/>
                  </a:lnTo>
                  <a:cubicBezTo>
                    <a:pt x="1448" y="6794"/>
                    <a:pt x="1452" y="6851"/>
                    <a:pt x="1456" y="6909"/>
                  </a:cubicBezTo>
                  <a:cubicBezTo>
                    <a:pt x="1464" y="6975"/>
                    <a:pt x="1472" y="7040"/>
                    <a:pt x="1480" y="7106"/>
                  </a:cubicBezTo>
                  <a:cubicBezTo>
                    <a:pt x="1496" y="7139"/>
                    <a:pt x="1512" y="7171"/>
                    <a:pt x="1528" y="7204"/>
                  </a:cubicBezTo>
                  <a:cubicBezTo>
                    <a:pt x="1544" y="7229"/>
                    <a:pt x="1560" y="7253"/>
                    <a:pt x="1576" y="7278"/>
                  </a:cubicBezTo>
                  <a:lnTo>
                    <a:pt x="1613" y="7303"/>
                  </a:lnTo>
                  <a:cubicBezTo>
                    <a:pt x="1629" y="7311"/>
                    <a:pt x="1645" y="7320"/>
                    <a:pt x="1661" y="7328"/>
                  </a:cubicBezTo>
                  <a:lnTo>
                    <a:pt x="1709" y="7340"/>
                  </a:lnTo>
                  <a:lnTo>
                    <a:pt x="1769" y="7352"/>
                  </a:lnTo>
                  <a:lnTo>
                    <a:pt x="1769" y="7586"/>
                  </a:lnTo>
                  <a:lnTo>
                    <a:pt x="1528" y="7746"/>
                  </a:lnTo>
                  <a:lnTo>
                    <a:pt x="1288" y="7894"/>
                  </a:lnTo>
                  <a:cubicBezTo>
                    <a:pt x="1256" y="7919"/>
                    <a:pt x="1223" y="7943"/>
                    <a:pt x="1191" y="7968"/>
                  </a:cubicBezTo>
                  <a:cubicBezTo>
                    <a:pt x="1167" y="7997"/>
                    <a:pt x="1143" y="8025"/>
                    <a:pt x="1119" y="8054"/>
                  </a:cubicBezTo>
                  <a:cubicBezTo>
                    <a:pt x="1107" y="8070"/>
                    <a:pt x="1095" y="8087"/>
                    <a:pt x="1083" y="8103"/>
                  </a:cubicBezTo>
                  <a:cubicBezTo>
                    <a:pt x="1075" y="8124"/>
                    <a:pt x="1067" y="8144"/>
                    <a:pt x="1059" y="8165"/>
                  </a:cubicBezTo>
                  <a:cubicBezTo>
                    <a:pt x="1055" y="8181"/>
                    <a:pt x="1051" y="8198"/>
                    <a:pt x="1047" y="8214"/>
                  </a:cubicBezTo>
                  <a:lnTo>
                    <a:pt x="1047" y="8264"/>
                  </a:lnTo>
                  <a:lnTo>
                    <a:pt x="1047" y="8374"/>
                  </a:lnTo>
                  <a:lnTo>
                    <a:pt x="1047" y="8485"/>
                  </a:lnTo>
                  <a:lnTo>
                    <a:pt x="1047" y="8633"/>
                  </a:lnTo>
                  <a:lnTo>
                    <a:pt x="1047" y="8879"/>
                  </a:lnTo>
                  <a:lnTo>
                    <a:pt x="1312" y="8867"/>
                  </a:lnTo>
                  <a:lnTo>
                    <a:pt x="1588" y="8855"/>
                  </a:lnTo>
                  <a:lnTo>
                    <a:pt x="1853" y="8830"/>
                  </a:lnTo>
                  <a:lnTo>
                    <a:pt x="2130" y="8793"/>
                  </a:lnTo>
                  <a:lnTo>
                    <a:pt x="2395" y="8756"/>
                  </a:lnTo>
                  <a:lnTo>
                    <a:pt x="2671" y="8744"/>
                  </a:lnTo>
                  <a:lnTo>
                    <a:pt x="2936" y="8719"/>
                  </a:lnTo>
                  <a:lnTo>
                    <a:pt x="3201" y="8719"/>
                  </a:lnTo>
                  <a:lnTo>
                    <a:pt x="3418" y="8707"/>
                  </a:lnTo>
                  <a:lnTo>
                    <a:pt x="3574" y="8682"/>
                  </a:lnTo>
                  <a:lnTo>
                    <a:pt x="3634" y="8682"/>
                  </a:lnTo>
                  <a:lnTo>
                    <a:pt x="3730" y="8682"/>
                  </a:lnTo>
                  <a:lnTo>
                    <a:pt x="3827" y="8695"/>
                  </a:lnTo>
                  <a:lnTo>
                    <a:pt x="3923" y="8719"/>
                  </a:lnTo>
                  <a:cubicBezTo>
                    <a:pt x="3931" y="8744"/>
                    <a:pt x="3939" y="8768"/>
                    <a:pt x="3947" y="8793"/>
                  </a:cubicBezTo>
                  <a:cubicBezTo>
                    <a:pt x="3955" y="8822"/>
                    <a:pt x="3963" y="8850"/>
                    <a:pt x="3971" y="8879"/>
                  </a:cubicBezTo>
                  <a:lnTo>
                    <a:pt x="4007" y="8966"/>
                  </a:lnTo>
                  <a:cubicBezTo>
                    <a:pt x="4027" y="8995"/>
                    <a:pt x="4047" y="9023"/>
                    <a:pt x="4067" y="9052"/>
                  </a:cubicBezTo>
                  <a:cubicBezTo>
                    <a:pt x="4095" y="9081"/>
                    <a:pt x="4124" y="9109"/>
                    <a:pt x="4152" y="9138"/>
                  </a:cubicBezTo>
                  <a:cubicBezTo>
                    <a:pt x="4180" y="9167"/>
                    <a:pt x="4208" y="9195"/>
                    <a:pt x="4236" y="9224"/>
                  </a:cubicBezTo>
                  <a:cubicBezTo>
                    <a:pt x="4264" y="9253"/>
                    <a:pt x="4292" y="9281"/>
                    <a:pt x="4320" y="9310"/>
                  </a:cubicBezTo>
                  <a:lnTo>
                    <a:pt x="4428" y="9384"/>
                  </a:lnTo>
                  <a:cubicBezTo>
                    <a:pt x="4468" y="9413"/>
                    <a:pt x="4509" y="9441"/>
                    <a:pt x="4549" y="9470"/>
                  </a:cubicBezTo>
                  <a:lnTo>
                    <a:pt x="4669" y="9557"/>
                  </a:lnTo>
                  <a:lnTo>
                    <a:pt x="4789" y="9618"/>
                  </a:lnTo>
                  <a:lnTo>
                    <a:pt x="4910" y="9667"/>
                  </a:lnTo>
                  <a:lnTo>
                    <a:pt x="5030" y="9717"/>
                  </a:lnTo>
                  <a:lnTo>
                    <a:pt x="5138" y="9754"/>
                  </a:lnTo>
                  <a:lnTo>
                    <a:pt x="5259" y="9778"/>
                  </a:lnTo>
                  <a:lnTo>
                    <a:pt x="5367" y="9778"/>
                  </a:lnTo>
                  <a:lnTo>
                    <a:pt x="5403" y="9889"/>
                  </a:lnTo>
                  <a:lnTo>
                    <a:pt x="5451" y="10000"/>
                  </a:lnTo>
                  <a:cubicBezTo>
                    <a:pt x="5455" y="9975"/>
                    <a:pt x="5459" y="9951"/>
                    <a:pt x="5463" y="9926"/>
                  </a:cubicBezTo>
                  <a:cubicBezTo>
                    <a:pt x="5467" y="9901"/>
                    <a:pt x="5471" y="9877"/>
                    <a:pt x="5475" y="9852"/>
                  </a:cubicBezTo>
                  <a:cubicBezTo>
                    <a:pt x="5483" y="9832"/>
                    <a:pt x="5491" y="9811"/>
                    <a:pt x="5499" y="9791"/>
                  </a:cubicBezTo>
                  <a:cubicBezTo>
                    <a:pt x="5511" y="9774"/>
                    <a:pt x="5523" y="9758"/>
                    <a:pt x="5535" y="9741"/>
                  </a:cubicBezTo>
                  <a:lnTo>
                    <a:pt x="5584" y="9692"/>
                  </a:lnTo>
                  <a:cubicBezTo>
                    <a:pt x="5596" y="9676"/>
                    <a:pt x="5608" y="9659"/>
                    <a:pt x="5620" y="9643"/>
                  </a:cubicBezTo>
                  <a:cubicBezTo>
                    <a:pt x="5636" y="9631"/>
                    <a:pt x="5652" y="9618"/>
                    <a:pt x="5668" y="9606"/>
                  </a:cubicBezTo>
                  <a:cubicBezTo>
                    <a:pt x="5692" y="9598"/>
                    <a:pt x="5716" y="9589"/>
                    <a:pt x="5740" y="9581"/>
                  </a:cubicBezTo>
                  <a:lnTo>
                    <a:pt x="5860" y="9532"/>
                  </a:lnTo>
                  <a:lnTo>
                    <a:pt x="6005" y="9483"/>
                  </a:lnTo>
                  <a:lnTo>
                    <a:pt x="6161" y="9458"/>
                  </a:lnTo>
                  <a:lnTo>
                    <a:pt x="6318" y="9446"/>
                  </a:lnTo>
                  <a:lnTo>
                    <a:pt x="6486" y="9421"/>
                  </a:lnTo>
                  <a:lnTo>
                    <a:pt x="6667" y="9409"/>
                  </a:lnTo>
                  <a:lnTo>
                    <a:pt x="6823" y="9372"/>
                  </a:lnTo>
                  <a:lnTo>
                    <a:pt x="6980" y="9335"/>
                  </a:lnTo>
                  <a:cubicBezTo>
                    <a:pt x="7004" y="9327"/>
                    <a:pt x="7028" y="9318"/>
                    <a:pt x="7052" y="9310"/>
                  </a:cubicBezTo>
                  <a:cubicBezTo>
                    <a:pt x="7072" y="9298"/>
                    <a:pt x="7092" y="9285"/>
                    <a:pt x="7112" y="9273"/>
                  </a:cubicBezTo>
                  <a:cubicBezTo>
                    <a:pt x="7136" y="9261"/>
                    <a:pt x="7160" y="9248"/>
                    <a:pt x="7184" y="9236"/>
                  </a:cubicBezTo>
                  <a:lnTo>
                    <a:pt x="7244" y="9200"/>
                  </a:lnTo>
                  <a:cubicBezTo>
                    <a:pt x="7260" y="9183"/>
                    <a:pt x="7276" y="9167"/>
                    <a:pt x="7292" y="9150"/>
                  </a:cubicBezTo>
                  <a:lnTo>
                    <a:pt x="7353" y="9089"/>
                  </a:lnTo>
                  <a:cubicBezTo>
                    <a:pt x="7369" y="9068"/>
                    <a:pt x="7385" y="9048"/>
                    <a:pt x="7401" y="9027"/>
                  </a:cubicBezTo>
                  <a:cubicBezTo>
                    <a:pt x="7413" y="9002"/>
                    <a:pt x="7425" y="8978"/>
                    <a:pt x="7437" y="8953"/>
                  </a:cubicBezTo>
                  <a:lnTo>
                    <a:pt x="7389" y="8929"/>
                  </a:lnTo>
                  <a:cubicBezTo>
                    <a:pt x="7373" y="8917"/>
                    <a:pt x="7357" y="8904"/>
                    <a:pt x="7341" y="8892"/>
                  </a:cubicBezTo>
                  <a:cubicBezTo>
                    <a:pt x="7317" y="8875"/>
                    <a:pt x="7292" y="8859"/>
                    <a:pt x="7268" y="8842"/>
                  </a:cubicBezTo>
                  <a:cubicBezTo>
                    <a:pt x="7244" y="8817"/>
                    <a:pt x="7220" y="8793"/>
                    <a:pt x="7196" y="8768"/>
                  </a:cubicBezTo>
                  <a:lnTo>
                    <a:pt x="7028" y="8621"/>
                  </a:lnTo>
                  <a:cubicBezTo>
                    <a:pt x="6976" y="8563"/>
                    <a:pt x="6923" y="8506"/>
                    <a:pt x="6871" y="8448"/>
                  </a:cubicBezTo>
                  <a:lnTo>
                    <a:pt x="6727" y="8264"/>
                  </a:lnTo>
                  <a:cubicBezTo>
                    <a:pt x="6683" y="8198"/>
                    <a:pt x="6638" y="8133"/>
                    <a:pt x="6594" y="8067"/>
                  </a:cubicBezTo>
                  <a:lnTo>
                    <a:pt x="6558" y="7980"/>
                  </a:lnTo>
                  <a:cubicBezTo>
                    <a:pt x="6546" y="7951"/>
                    <a:pt x="6534" y="7923"/>
                    <a:pt x="6522" y="7894"/>
                  </a:cubicBezTo>
                  <a:cubicBezTo>
                    <a:pt x="6510" y="7865"/>
                    <a:pt x="6498" y="7837"/>
                    <a:pt x="6486" y="7808"/>
                  </a:cubicBezTo>
                  <a:cubicBezTo>
                    <a:pt x="6482" y="7783"/>
                    <a:pt x="6478" y="7759"/>
                    <a:pt x="6474" y="7734"/>
                  </a:cubicBezTo>
                  <a:lnTo>
                    <a:pt x="6426" y="7722"/>
                  </a:lnTo>
                  <a:cubicBezTo>
                    <a:pt x="6410" y="7718"/>
                    <a:pt x="6394" y="7713"/>
                    <a:pt x="6378" y="7709"/>
                  </a:cubicBezTo>
                  <a:lnTo>
                    <a:pt x="6330" y="7685"/>
                  </a:lnTo>
                  <a:cubicBezTo>
                    <a:pt x="6318" y="7668"/>
                    <a:pt x="6306" y="7652"/>
                    <a:pt x="6294" y="7635"/>
                  </a:cubicBezTo>
                  <a:cubicBezTo>
                    <a:pt x="6270" y="7606"/>
                    <a:pt x="6245" y="7578"/>
                    <a:pt x="6221" y="7549"/>
                  </a:cubicBezTo>
                  <a:lnTo>
                    <a:pt x="6161" y="7426"/>
                  </a:lnTo>
                  <a:lnTo>
                    <a:pt x="6161" y="7131"/>
                  </a:lnTo>
                  <a:lnTo>
                    <a:pt x="6330" y="7118"/>
                  </a:lnTo>
                  <a:lnTo>
                    <a:pt x="6486" y="7106"/>
                  </a:lnTo>
                  <a:lnTo>
                    <a:pt x="6631" y="7081"/>
                  </a:lnTo>
                  <a:lnTo>
                    <a:pt x="6763" y="7032"/>
                  </a:lnTo>
                  <a:lnTo>
                    <a:pt x="6883" y="6995"/>
                  </a:lnTo>
                  <a:cubicBezTo>
                    <a:pt x="6923" y="6974"/>
                    <a:pt x="6964" y="6954"/>
                    <a:pt x="7004" y="6933"/>
                  </a:cubicBezTo>
                  <a:lnTo>
                    <a:pt x="7112" y="6872"/>
                  </a:lnTo>
                  <a:lnTo>
                    <a:pt x="7220" y="6798"/>
                  </a:lnTo>
                  <a:cubicBezTo>
                    <a:pt x="7248" y="6769"/>
                    <a:pt x="7276" y="6741"/>
                    <a:pt x="7304" y="6712"/>
                  </a:cubicBezTo>
                  <a:cubicBezTo>
                    <a:pt x="7336" y="6683"/>
                    <a:pt x="7369" y="6655"/>
                    <a:pt x="7401" y="6626"/>
                  </a:cubicBezTo>
                  <a:lnTo>
                    <a:pt x="7485" y="6539"/>
                  </a:lnTo>
                  <a:cubicBezTo>
                    <a:pt x="7509" y="6506"/>
                    <a:pt x="7533" y="6474"/>
                    <a:pt x="7557" y="6441"/>
                  </a:cubicBezTo>
                  <a:cubicBezTo>
                    <a:pt x="7601" y="6375"/>
                    <a:pt x="7646" y="6310"/>
                    <a:pt x="7690" y="6244"/>
                  </a:cubicBezTo>
                  <a:lnTo>
                    <a:pt x="7822" y="6022"/>
                  </a:lnTo>
                  <a:cubicBezTo>
                    <a:pt x="7898" y="5874"/>
                    <a:pt x="7975" y="5727"/>
                    <a:pt x="8051" y="5579"/>
                  </a:cubicBezTo>
                  <a:lnTo>
                    <a:pt x="8279" y="5135"/>
                  </a:lnTo>
                  <a:cubicBezTo>
                    <a:pt x="8323" y="5069"/>
                    <a:pt x="8368" y="5004"/>
                    <a:pt x="8412" y="4938"/>
                  </a:cubicBezTo>
                  <a:lnTo>
                    <a:pt x="8544" y="4766"/>
                  </a:lnTo>
                  <a:lnTo>
                    <a:pt x="8616" y="4667"/>
                  </a:lnTo>
                  <a:cubicBezTo>
                    <a:pt x="8644" y="4643"/>
                    <a:pt x="8672" y="4618"/>
                    <a:pt x="8700" y="4594"/>
                  </a:cubicBezTo>
                  <a:cubicBezTo>
                    <a:pt x="8728" y="4573"/>
                    <a:pt x="8757" y="4553"/>
                    <a:pt x="8785" y="4532"/>
                  </a:cubicBezTo>
                  <a:cubicBezTo>
                    <a:pt x="8817" y="4511"/>
                    <a:pt x="8849" y="4491"/>
                    <a:pt x="8881" y="4470"/>
                  </a:cubicBezTo>
                  <a:lnTo>
                    <a:pt x="8809" y="4323"/>
                  </a:lnTo>
                  <a:cubicBezTo>
                    <a:pt x="8789" y="4278"/>
                    <a:pt x="8768" y="4232"/>
                    <a:pt x="8748" y="4187"/>
                  </a:cubicBezTo>
                  <a:cubicBezTo>
                    <a:pt x="8744" y="4167"/>
                    <a:pt x="8740" y="4146"/>
                    <a:pt x="8736" y="4126"/>
                  </a:cubicBezTo>
                  <a:cubicBezTo>
                    <a:pt x="8732" y="4105"/>
                    <a:pt x="8728" y="4085"/>
                    <a:pt x="8724" y="4064"/>
                  </a:cubicBezTo>
                  <a:lnTo>
                    <a:pt x="8724" y="3990"/>
                  </a:lnTo>
                  <a:lnTo>
                    <a:pt x="8724" y="3929"/>
                  </a:lnTo>
                  <a:cubicBezTo>
                    <a:pt x="8728" y="3908"/>
                    <a:pt x="8732" y="3888"/>
                    <a:pt x="8736" y="3867"/>
                  </a:cubicBezTo>
                  <a:cubicBezTo>
                    <a:pt x="8740" y="3846"/>
                    <a:pt x="8744" y="3826"/>
                    <a:pt x="8748" y="3805"/>
                  </a:cubicBezTo>
                  <a:cubicBezTo>
                    <a:pt x="8756" y="3789"/>
                    <a:pt x="8765" y="3772"/>
                    <a:pt x="8773" y="3756"/>
                  </a:cubicBezTo>
                  <a:cubicBezTo>
                    <a:pt x="8789" y="3740"/>
                    <a:pt x="8805" y="3723"/>
                    <a:pt x="8821" y="3707"/>
                  </a:cubicBezTo>
                  <a:cubicBezTo>
                    <a:pt x="8833" y="3695"/>
                    <a:pt x="8845" y="3682"/>
                    <a:pt x="8857" y="3670"/>
                  </a:cubicBezTo>
                  <a:cubicBezTo>
                    <a:pt x="8873" y="3658"/>
                    <a:pt x="8889" y="3645"/>
                    <a:pt x="8905" y="3633"/>
                  </a:cubicBezTo>
                  <a:cubicBezTo>
                    <a:pt x="8929" y="3621"/>
                    <a:pt x="8953" y="3608"/>
                    <a:pt x="8977" y="3596"/>
                  </a:cubicBezTo>
                  <a:cubicBezTo>
                    <a:pt x="8997" y="3584"/>
                    <a:pt x="9017" y="3571"/>
                    <a:pt x="9037" y="3559"/>
                  </a:cubicBezTo>
                  <a:lnTo>
                    <a:pt x="8688" y="3227"/>
                  </a:lnTo>
                  <a:lnTo>
                    <a:pt x="8424" y="2980"/>
                  </a:lnTo>
                  <a:lnTo>
                    <a:pt x="8303" y="2857"/>
                  </a:lnTo>
                  <a:lnTo>
                    <a:pt x="8183" y="2722"/>
                  </a:lnTo>
                  <a:lnTo>
                    <a:pt x="8063" y="2549"/>
                  </a:lnTo>
                  <a:cubicBezTo>
                    <a:pt x="8015" y="2479"/>
                    <a:pt x="7966" y="2410"/>
                    <a:pt x="7918" y="2340"/>
                  </a:cubicBezTo>
                  <a:lnTo>
                    <a:pt x="8505" y="2316"/>
                  </a:lnTo>
                  <a:cubicBezTo>
                    <a:pt x="8482" y="2139"/>
                    <a:pt x="8916" y="2075"/>
                    <a:pt x="8893" y="1898"/>
                  </a:cubicBezTo>
                  <a:cubicBezTo>
                    <a:pt x="8869" y="1852"/>
                    <a:pt x="8845" y="1807"/>
                    <a:pt x="8821" y="1761"/>
                  </a:cubicBezTo>
                  <a:lnTo>
                    <a:pt x="9122" y="1724"/>
                  </a:lnTo>
                  <a:lnTo>
                    <a:pt x="9362" y="1675"/>
                  </a:lnTo>
                  <a:cubicBezTo>
                    <a:pt x="9390" y="1667"/>
                    <a:pt x="9418" y="1658"/>
                    <a:pt x="9446" y="1650"/>
                  </a:cubicBezTo>
                  <a:lnTo>
                    <a:pt x="9531" y="1613"/>
                  </a:lnTo>
                  <a:cubicBezTo>
                    <a:pt x="9559" y="1597"/>
                    <a:pt x="9587" y="1580"/>
                    <a:pt x="9615" y="1564"/>
                  </a:cubicBezTo>
                  <a:cubicBezTo>
                    <a:pt x="9639" y="1548"/>
                    <a:pt x="9663" y="1531"/>
                    <a:pt x="9687" y="1515"/>
                  </a:cubicBezTo>
                  <a:lnTo>
                    <a:pt x="9832" y="1392"/>
                  </a:lnTo>
                  <a:lnTo>
                    <a:pt x="10000" y="1207"/>
                  </a:lnTo>
                </a:path>
              </a:pathLst>
            </a:custGeom>
            <a:solidFill>
              <a:srgbClr val="C0C0C0"/>
            </a:solidFill>
            <a:ln w="9525">
              <a:solidFill>
                <a:srgbClr val="FFFFFF"/>
              </a:solidFill>
              <a:round/>
              <a:headEnd/>
              <a:tailEnd/>
            </a:ln>
          </p:spPr>
          <p:txBody>
            <a:bodyPr/>
            <a:lstStyle/>
            <a:p>
              <a:pPr defTabSz="457200"/>
              <a:endParaRPr lang="en-US" sz="6000" baseline="-25000">
                <a:solidFill>
                  <a:prstClr val="black"/>
                </a:solidFill>
              </a:endParaRPr>
            </a:p>
          </p:txBody>
        </p:sp>
        <p:sp>
          <p:nvSpPr>
            <p:cNvPr id="189" name="Freeform 188"/>
            <p:cNvSpPr>
              <a:spLocks/>
            </p:cNvSpPr>
            <p:nvPr>
              <p:custDataLst>
                <p:tags r:id="rId185"/>
              </p:custDataLst>
            </p:nvPr>
          </p:nvSpPr>
          <p:spPr bwMode="auto">
            <a:xfrm>
              <a:off x="6809021" y="2418241"/>
              <a:ext cx="220662" cy="439340"/>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0" name="Freeform 189"/>
            <p:cNvSpPr>
              <a:spLocks/>
            </p:cNvSpPr>
            <p:nvPr>
              <p:custDataLst>
                <p:tags r:id="rId186"/>
              </p:custDataLst>
            </p:nvPr>
          </p:nvSpPr>
          <p:spPr bwMode="auto">
            <a:xfrm>
              <a:off x="4132496" y="2800430"/>
              <a:ext cx="80962" cy="44054"/>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1" name="Freeform 190"/>
            <p:cNvSpPr>
              <a:spLocks/>
            </p:cNvSpPr>
            <p:nvPr>
              <p:custDataLst>
                <p:tags r:id="rId187"/>
              </p:custDataLst>
            </p:nvPr>
          </p:nvSpPr>
          <p:spPr bwMode="auto">
            <a:xfrm>
              <a:off x="4216634" y="2862343"/>
              <a:ext cx="74613" cy="75010"/>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2" name="Freeform 191"/>
            <p:cNvSpPr>
              <a:spLocks/>
            </p:cNvSpPr>
            <p:nvPr>
              <p:custDataLst>
                <p:tags r:id="rId188"/>
              </p:custDataLst>
            </p:nvPr>
          </p:nvSpPr>
          <p:spPr bwMode="auto">
            <a:xfrm>
              <a:off x="4259497" y="2900443"/>
              <a:ext cx="104775" cy="9882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3" name="Freeform 192"/>
            <p:cNvSpPr>
              <a:spLocks/>
            </p:cNvSpPr>
            <p:nvPr>
              <p:custDataLst>
                <p:tags r:id="rId189"/>
              </p:custDataLst>
            </p:nvPr>
          </p:nvSpPr>
          <p:spPr bwMode="auto">
            <a:xfrm>
              <a:off x="4473809" y="2839721"/>
              <a:ext cx="104775" cy="151209"/>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4" name="Freeform 193"/>
            <p:cNvSpPr>
              <a:spLocks/>
            </p:cNvSpPr>
            <p:nvPr>
              <p:custDataLst>
                <p:tags r:id="rId190"/>
              </p:custDataLst>
            </p:nvPr>
          </p:nvSpPr>
          <p:spPr bwMode="auto">
            <a:xfrm>
              <a:off x="4126146" y="2776618"/>
              <a:ext cx="87312" cy="44054"/>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5" name="Freeform 194"/>
            <p:cNvSpPr>
              <a:spLocks/>
            </p:cNvSpPr>
            <p:nvPr>
              <p:custDataLst>
                <p:tags r:id="rId191"/>
              </p:custDataLst>
            </p:nvPr>
          </p:nvSpPr>
          <p:spPr bwMode="auto">
            <a:xfrm>
              <a:off x="4551596" y="2834959"/>
              <a:ext cx="42862" cy="116681"/>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6" name="Freeform 195"/>
            <p:cNvSpPr>
              <a:spLocks/>
            </p:cNvSpPr>
            <p:nvPr>
              <p:custDataLst>
                <p:tags r:id="rId192"/>
              </p:custDataLst>
            </p:nvPr>
          </p:nvSpPr>
          <p:spPr bwMode="auto">
            <a:xfrm>
              <a:off x="4576996" y="2806384"/>
              <a:ext cx="76200" cy="141684"/>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7" name="Freeform 196"/>
            <p:cNvSpPr>
              <a:spLocks/>
            </p:cNvSpPr>
            <p:nvPr>
              <p:custDataLst>
                <p:tags r:id="rId193"/>
              </p:custDataLst>
            </p:nvPr>
          </p:nvSpPr>
          <p:spPr bwMode="auto">
            <a:xfrm>
              <a:off x="5305658" y="3710068"/>
              <a:ext cx="25400" cy="45244"/>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8" name="Freeform 197"/>
            <p:cNvSpPr>
              <a:spLocks/>
            </p:cNvSpPr>
            <p:nvPr>
              <p:custDataLst>
                <p:tags r:id="rId194"/>
              </p:custDataLst>
            </p:nvPr>
          </p:nvSpPr>
          <p:spPr bwMode="auto">
            <a:xfrm>
              <a:off x="5200884" y="3782696"/>
              <a:ext cx="61913" cy="42863"/>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199" name="Freeform 198"/>
            <p:cNvSpPr>
              <a:spLocks/>
            </p:cNvSpPr>
            <p:nvPr>
              <p:custDataLst>
                <p:tags r:id="rId195"/>
              </p:custDataLst>
            </p:nvPr>
          </p:nvSpPr>
          <p:spPr bwMode="auto">
            <a:xfrm>
              <a:off x="7418621" y="2068196"/>
              <a:ext cx="120650" cy="128588"/>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0" name="Freeform 199"/>
            <p:cNvSpPr>
              <a:spLocks/>
            </p:cNvSpPr>
            <p:nvPr>
              <p:custDataLst>
                <p:tags r:id="rId196"/>
              </p:custDataLst>
            </p:nvPr>
          </p:nvSpPr>
          <p:spPr bwMode="auto">
            <a:xfrm>
              <a:off x="6489934" y="2378949"/>
              <a:ext cx="206375" cy="92869"/>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1" name="Freeform 200"/>
            <p:cNvSpPr>
              <a:spLocks/>
            </p:cNvSpPr>
            <p:nvPr>
              <p:custDataLst>
                <p:tags r:id="rId197"/>
              </p:custDataLst>
            </p:nvPr>
          </p:nvSpPr>
          <p:spPr bwMode="auto">
            <a:xfrm>
              <a:off x="6705834" y="2420622"/>
              <a:ext cx="73025" cy="48815"/>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2" name="Freeform 201"/>
            <p:cNvSpPr>
              <a:spLocks/>
            </p:cNvSpPr>
            <p:nvPr>
              <p:custDataLst>
                <p:tags r:id="rId198"/>
              </p:custDataLst>
            </p:nvPr>
          </p:nvSpPr>
          <p:spPr bwMode="auto">
            <a:xfrm>
              <a:off x="6696308" y="2474199"/>
              <a:ext cx="133350" cy="125016"/>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3" name="Freeform 202"/>
            <p:cNvSpPr>
              <a:spLocks/>
            </p:cNvSpPr>
            <p:nvPr>
              <p:custDataLst>
                <p:tags r:id="rId199"/>
              </p:custDataLst>
            </p:nvPr>
          </p:nvSpPr>
          <p:spPr bwMode="auto">
            <a:xfrm>
              <a:off x="7013809" y="2561116"/>
              <a:ext cx="201613" cy="202406"/>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4" name="Freeform 203"/>
            <p:cNvSpPr>
              <a:spLocks/>
            </p:cNvSpPr>
            <p:nvPr>
              <p:custDataLst>
                <p:tags r:id="rId200"/>
              </p:custDataLst>
            </p:nvPr>
          </p:nvSpPr>
          <p:spPr bwMode="auto">
            <a:xfrm>
              <a:off x="7096358" y="2749234"/>
              <a:ext cx="133350" cy="97631"/>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5" name="Freeform 204"/>
            <p:cNvSpPr>
              <a:spLocks/>
            </p:cNvSpPr>
            <p:nvPr>
              <p:custDataLst>
                <p:tags r:id="rId201"/>
              </p:custDataLst>
            </p:nvPr>
          </p:nvSpPr>
          <p:spPr bwMode="auto">
            <a:xfrm>
              <a:off x="7497997" y="2176543"/>
              <a:ext cx="85725" cy="97631"/>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75000"/>
              </a:schemeClr>
            </a:solidFill>
            <a:ln w="9525">
              <a:solidFill>
                <a:srgbClr val="FFFFFF"/>
              </a:solidFill>
              <a:round/>
              <a:headEnd/>
              <a:tailEnd/>
            </a:ln>
          </p:spPr>
          <p:txBody>
            <a:bodyPr/>
            <a:lstStyle/>
            <a:p>
              <a:pPr defTabSz="457200"/>
              <a:endParaRPr lang="en-US" baseline="-25000">
                <a:solidFill>
                  <a:prstClr val="black"/>
                </a:solidFill>
              </a:endParaRPr>
            </a:p>
          </p:txBody>
        </p:sp>
        <p:sp>
          <p:nvSpPr>
            <p:cNvPr id="206" name="Freeform 205"/>
            <p:cNvSpPr>
              <a:spLocks/>
            </p:cNvSpPr>
            <p:nvPr>
              <p:custDataLst>
                <p:tags r:id="rId202"/>
              </p:custDataLst>
            </p:nvPr>
          </p:nvSpPr>
          <p:spPr bwMode="auto">
            <a:xfrm>
              <a:off x="8066322" y="3149284"/>
              <a:ext cx="231775" cy="1905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7" name="Freeform 206"/>
            <p:cNvSpPr>
              <a:spLocks/>
            </p:cNvSpPr>
            <p:nvPr>
              <p:custDataLst>
                <p:tags r:id="rId203"/>
              </p:custDataLst>
            </p:nvPr>
          </p:nvSpPr>
          <p:spPr bwMode="auto">
            <a:xfrm>
              <a:off x="8258409" y="3137378"/>
              <a:ext cx="106363" cy="96440"/>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08" name="Freeform 207"/>
            <p:cNvSpPr>
              <a:spLocks/>
            </p:cNvSpPr>
            <p:nvPr>
              <p:custDataLst>
                <p:tags r:id="rId204"/>
              </p:custDataLst>
            </p:nvPr>
          </p:nvSpPr>
          <p:spPr bwMode="auto">
            <a:xfrm>
              <a:off x="6534383" y="2862343"/>
              <a:ext cx="63500" cy="89297"/>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209" name="Group 208"/>
            <p:cNvGrpSpPr>
              <a:grpSpLocks/>
            </p:cNvGrpSpPr>
            <p:nvPr>
              <p:custDataLst>
                <p:tags r:id="rId205"/>
              </p:custDataLst>
            </p:nvPr>
          </p:nvGrpSpPr>
          <p:grpSpPr bwMode="auto">
            <a:xfrm>
              <a:off x="7474184" y="2645649"/>
              <a:ext cx="233363" cy="329804"/>
              <a:chOff x="5062" y="2295"/>
              <a:chExt cx="177" cy="279"/>
            </a:xfrm>
          </p:grpSpPr>
          <p:sp>
            <p:nvSpPr>
              <p:cNvPr id="454" name="Freeform 453"/>
              <p:cNvSpPr>
                <a:spLocks/>
              </p:cNvSpPr>
              <p:nvPr/>
            </p:nvSpPr>
            <p:spPr bwMode="auto">
              <a:xfrm>
                <a:off x="5154" y="2449"/>
                <a:ext cx="19" cy="37"/>
              </a:xfrm>
              <a:custGeom>
                <a:avLst/>
                <a:gdLst>
                  <a:gd name="T0" fmla="*/ 0 w 60"/>
                  <a:gd name="T1" fmla="*/ 0 h 110"/>
                  <a:gd name="T2" fmla="*/ 0 w 60"/>
                  <a:gd name="T3" fmla="*/ 0 h 110"/>
                  <a:gd name="T4" fmla="*/ 0 w 60"/>
                  <a:gd name="T5" fmla="*/ 0 h 110"/>
                  <a:gd name="T6" fmla="*/ 0 w 60"/>
                  <a:gd name="T7" fmla="*/ 0 h 110"/>
                  <a:gd name="T8" fmla="*/ 0 w 60"/>
                  <a:gd name="T9" fmla="*/ 0 h 110"/>
                  <a:gd name="T10" fmla="*/ 0 w 60"/>
                  <a:gd name="T11" fmla="*/ 0 h 110"/>
                  <a:gd name="T12" fmla="*/ 0 w 60"/>
                  <a:gd name="T13" fmla="*/ 0 h 110"/>
                  <a:gd name="T14" fmla="*/ 0 w 60"/>
                  <a:gd name="T15" fmla="*/ 0 h 110"/>
                  <a:gd name="T16" fmla="*/ 0 w 60"/>
                  <a:gd name="T17" fmla="*/ 0 h 110"/>
                  <a:gd name="T18" fmla="*/ 0 w 60"/>
                  <a:gd name="T19" fmla="*/ 0 h 110"/>
                  <a:gd name="T20" fmla="*/ 0 w 60"/>
                  <a:gd name="T21" fmla="*/ 0 h 110"/>
                  <a:gd name="T22" fmla="*/ 0 w 60"/>
                  <a:gd name="T23" fmla="*/ 0 h 110"/>
                  <a:gd name="T24" fmla="*/ 0 w 60"/>
                  <a:gd name="T25" fmla="*/ 0 h 110"/>
                  <a:gd name="T26" fmla="*/ 0 w 60"/>
                  <a:gd name="T27" fmla="*/ 0 h 110"/>
                  <a:gd name="T28" fmla="*/ 0 w 60"/>
                  <a:gd name="T29" fmla="*/ 0 h 110"/>
                  <a:gd name="T30" fmla="*/ 0 w 60"/>
                  <a:gd name="T31" fmla="*/ 0 h 110"/>
                  <a:gd name="T32" fmla="*/ 0 w 60"/>
                  <a:gd name="T33" fmla="*/ 0 h 110"/>
                  <a:gd name="T34" fmla="*/ 0 w 60"/>
                  <a:gd name="T35" fmla="*/ 0 h 110"/>
                  <a:gd name="T36" fmla="*/ 0 w 60"/>
                  <a:gd name="T37" fmla="*/ 0 h 110"/>
                  <a:gd name="T38" fmla="*/ 0 w 60"/>
                  <a:gd name="T39" fmla="*/ 0 h 110"/>
                  <a:gd name="T40" fmla="*/ 0 w 60"/>
                  <a:gd name="T41" fmla="*/ 0 h 110"/>
                  <a:gd name="T42" fmla="*/ 0 w 60"/>
                  <a:gd name="T43" fmla="*/ 0 h 110"/>
                  <a:gd name="T44" fmla="*/ 0 w 60"/>
                  <a:gd name="T45" fmla="*/ 0 h 110"/>
                  <a:gd name="T46" fmla="*/ 0 w 60"/>
                  <a:gd name="T47" fmla="*/ 0 h 110"/>
                  <a:gd name="T48" fmla="*/ 0 w 60"/>
                  <a:gd name="T49" fmla="*/ 0 h 110"/>
                  <a:gd name="T50" fmla="*/ 0 w 60"/>
                  <a:gd name="T51" fmla="*/ 0 h 110"/>
                  <a:gd name="T52" fmla="*/ 0 w 60"/>
                  <a:gd name="T53" fmla="*/ 0 h 110"/>
                  <a:gd name="T54" fmla="*/ 0 w 60"/>
                  <a:gd name="T55" fmla="*/ 0 h 110"/>
                  <a:gd name="T56" fmla="*/ 0 w 60"/>
                  <a:gd name="T57" fmla="*/ 0 h 110"/>
                  <a:gd name="T58" fmla="*/ 0 w 60"/>
                  <a:gd name="T59" fmla="*/ 0 h 110"/>
                  <a:gd name="T60" fmla="*/ 0 w 60"/>
                  <a:gd name="T61" fmla="*/ 0 h 110"/>
                  <a:gd name="T62" fmla="*/ 0 w 60"/>
                  <a:gd name="T63" fmla="*/ 0 h 110"/>
                  <a:gd name="T64" fmla="*/ 0 w 60"/>
                  <a:gd name="T65" fmla="*/ 0 h 110"/>
                  <a:gd name="T66" fmla="*/ 0 w 60"/>
                  <a:gd name="T67" fmla="*/ 0 h 110"/>
                  <a:gd name="T68" fmla="*/ 0 w 60"/>
                  <a:gd name="T69" fmla="*/ 0 h 110"/>
                  <a:gd name="T70" fmla="*/ 0 w 60"/>
                  <a:gd name="T71" fmla="*/ 0 h 110"/>
                  <a:gd name="T72" fmla="*/ 0 w 60"/>
                  <a:gd name="T73" fmla="*/ 0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5" name="Freeform 454"/>
              <p:cNvSpPr>
                <a:spLocks/>
              </p:cNvSpPr>
              <p:nvPr/>
            </p:nvSpPr>
            <p:spPr bwMode="auto">
              <a:xfrm>
                <a:off x="5189" y="2422"/>
                <a:ext cx="24" cy="25"/>
              </a:xfrm>
              <a:custGeom>
                <a:avLst/>
                <a:gdLst>
                  <a:gd name="T0" fmla="*/ 0 w 72"/>
                  <a:gd name="T1" fmla="*/ 0 h 75"/>
                  <a:gd name="T2" fmla="*/ 0 w 72"/>
                  <a:gd name="T3" fmla="*/ 0 h 75"/>
                  <a:gd name="T4" fmla="*/ 0 w 72"/>
                  <a:gd name="T5" fmla="*/ 0 h 75"/>
                  <a:gd name="T6" fmla="*/ 0 w 72"/>
                  <a:gd name="T7" fmla="*/ 0 h 75"/>
                  <a:gd name="T8" fmla="*/ 0 w 72"/>
                  <a:gd name="T9" fmla="*/ 0 h 75"/>
                  <a:gd name="T10" fmla="*/ 0 w 72"/>
                  <a:gd name="T11" fmla="*/ 0 h 75"/>
                  <a:gd name="T12" fmla="*/ 0 w 72"/>
                  <a:gd name="T13" fmla="*/ 0 h 75"/>
                  <a:gd name="T14" fmla="*/ 0 w 72"/>
                  <a:gd name="T15" fmla="*/ 0 h 75"/>
                  <a:gd name="T16" fmla="*/ 0 w 72"/>
                  <a:gd name="T17" fmla="*/ 0 h 75"/>
                  <a:gd name="T18" fmla="*/ 0 w 72"/>
                  <a:gd name="T19" fmla="*/ 0 h 75"/>
                  <a:gd name="T20" fmla="*/ 0 w 72"/>
                  <a:gd name="T21" fmla="*/ 0 h 75"/>
                  <a:gd name="T22" fmla="*/ 0 w 72"/>
                  <a:gd name="T23" fmla="*/ 0 h 75"/>
                  <a:gd name="T24" fmla="*/ 0 w 72"/>
                  <a:gd name="T25" fmla="*/ 0 h 75"/>
                  <a:gd name="T26" fmla="*/ 0 w 72"/>
                  <a:gd name="T27" fmla="*/ 0 h 75"/>
                  <a:gd name="T28" fmla="*/ 0 w 72"/>
                  <a:gd name="T29" fmla="*/ 0 h 75"/>
                  <a:gd name="T30" fmla="*/ 0 w 72"/>
                  <a:gd name="T31" fmla="*/ 0 h 75"/>
                  <a:gd name="T32" fmla="*/ 0 w 72"/>
                  <a:gd name="T33" fmla="*/ 0 h 75"/>
                  <a:gd name="T34" fmla="*/ 0 w 72"/>
                  <a:gd name="T35" fmla="*/ 0 h 75"/>
                  <a:gd name="T36" fmla="*/ 0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6" name="Freeform 455"/>
              <p:cNvSpPr>
                <a:spLocks/>
              </p:cNvSpPr>
              <p:nvPr/>
            </p:nvSpPr>
            <p:spPr bwMode="auto">
              <a:xfrm>
                <a:off x="5160" y="2389"/>
                <a:ext cx="5" cy="16"/>
              </a:xfrm>
              <a:custGeom>
                <a:avLst/>
                <a:gdLst>
                  <a:gd name="T0" fmla="*/ 0 w 15"/>
                  <a:gd name="T1" fmla="*/ 0 h 49"/>
                  <a:gd name="T2" fmla="*/ 0 w 15"/>
                  <a:gd name="T3" fmla="*/ 0 h 49"/>
                  <a:gd name="T4" fmla="*/ 0 w 15"/>
                  <a:gd name="T5" fmla="*/ 0 h 49"/>
                  <a:gd name="T6" fmla="*/ 0 w 15"/>
                  <a:gd name="T7" fmla="*/ 0 h 49"/>
                  <a:gd name="T8" fmla="*/ 0 w 15"/>
                  <a:gd name="T9" fmla="*/ 0 h 49"/>
                  <a:gd name="T10" fmla="*/ 0 w 15"/>
                  <a:gd name="T11" fmla="*/ 0 h 49"/>
                  <a:gd name="T12" fmla="*/ 0 w 15"/>
                  <a:gd name="T13" fmla="*/ 0 h 49"/>
                  <a:gd name="T14" fmla="*/ 0 w 15"/>
                  <a:gd name="T15" fmla="*/ 0 h 49"/>
                  <a:gd name="T16" fmla="*/ 0 w 15"/>
                  <a:gd name="T17" fmla="*/ 0 h 49"/>
                  <a:gd name="T18" fmla="*/ 0 w 15"/>
                  <a:gd name="T19" fmla="*/ 0 h 49"/>
                  <a:gd name="T20" fmla="*/ 0 w 15"/>
                  <a:gd name="T21" fmla="*/ 0 h 49"/>
                  <a:gd name="T22" fmla="*/ 0 w 15"/>
                  <a:gd name="T23" fmla="*/ 0 h 49"/>
                  <a:gd name="T24" fmla="*/ 0 w 15"/>
                  <a:gd name="T25" fmla="*/ 0 h 49"/>
                  <a:gd name="T26" fmla="*/ 0 w 15"/>
                  <a:gd name="T27" fmla="*/ 0 h 49"/>
                  <a:gd name="T28" fmla="*/ 0 w 15"/>
                  <a:gd name="T29" fmla="*/ 0 h 49"/>
                  <a:gd name="T30" fmla="*/ 0 w 15"/>
                  <a:gd name="T31" fmla="*/ 0 h 49"/>
                  <a:gd name="T32" fmla="*/ 0 w 15"/>
                  <a:gd name="T33" fmla="*/ 0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7" name="Freeform 456"/>
              <p:cNvSpPr>
                <a:spLocks/>
              </p:cNvSpPr>
              <p:nvPr/>
            </p:nvSpPr>
            <p:spPr bwMode="auto">
              <a:xfrm>
                <a:off x="5139" y="2387"/>
                <a:ext cx="15" cy="13"/>
              </a:xfrm>
              <a:custGeom>
                <a:avLst/>
                <a:gdLst>
                  <a:gd name="T0" fmla="*/ 0 w 47"/>
                  <a:gd name="T1" fmla="*/ 0 h 40"/>
                  <a:gd name="T2" fmla="*/ 0 w 47"/>
                  <a:gd name="T3" fmla="*/ 0 h 40"/>
                  <a:gd name="T4" fmla="*/ 0 w 47"/>
                  <a:gd name="T5" fmla="*/ 0 h 40"/>
                  <a:gd name="T6" fmla="*/ 0 w 47"/>
                  <a:gd name="T7" fmla="*/ 0 h 40"/>
                  <a:gd name="T8" fmla="*/ 0 w 47"/>
                  <a:gd name="T9" fmla="*/ 0 h 40"/>
                  <a:gd name="T10" fmla="*/ 0 w 47"/>
                  <a:gd name="T11" fmla="*/ 0 h 40"/>
                  <a:gd name="T12" fmla="*/ 0 w 47"/>
                  <a:gd name="T13" fmla="*/ 0 h 40"/>
                  <a:gd name="T14" fmla="*/ 0 w 47"/>
                  <a:gd name="T15" fmla="*/ 0 h 40"/>
                  <a:gd name="T16" fmla="*/ 0 w 47"/>
                  <a:gd name="T17" fmla="*/ 0 h 40"/>
                  <a:gd name="T18" fmla="*/ 0 w 47"/>
                  <a:gd name="T19" fmla="*/ 0 h 40"/>
                  <a:gd name="T20" fmla="*/ 0 w 47"/>
                  <a:gd name="T21" fmla="*/ 0 h 40"/>
                  <a:gd name="T22" fmla="*/ 0 w 47"/>
                  <a:gd name="T23" fmla="*/ 0 h 40"/>
                  <a:gd name="T24" fmla="*/ 0 w 47"/>
                  <a:gd name="T25" fmla="*/ 0 h 40"/>
                  <a:gd name="T26" fmla="*/ 0 w 47"/>
                  <a:gd name="T27" fmla="*/ 0 h 40"/>
                  <a:gd name="T28" fmla="*/ 0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8" name="Freeform 457"/>
              <p:cNvSpPr>
                <a:spLocks/>
              </p:cNvSpPr>
              <p:nvPr/>
            </p:nvSpPr>
            <p:spPr bwMode="auto">
              <a:xfrm>
                <a:off x="5184" y="2465"/>
                <a:ext cx="13" cy="10"/>
              </a:xfrm>
              <a:custGeom>
                <a:avLst/>
                <a:gdLst>
                  <a:gd name="T0" fmla="*/ 0 w 39"/>
                  <a:gd name="T1" fmla="*/ 0 h 31"/>
                  <a:gd name="T2" fmla="*/ 0 w 39"/>
                  <a:gd name="T3" fmla="*/ 0 h 31"/>
                  <a:gd name="T4" fmla="*/ 0 w 39"/>
                  <a:gd name="T5" fmla="*/ 0 h 31"/>
                  <a:gd name="T6" fmla="*/ 0 w 39"/>
                  <a:gd name="T7" fmla="*/ 0 h 31"/>
                  <a:gd name="T8" fmla="*/ 0 w 39"/>
                  <a:gd name="T9" fmla="*/ 0 h 31"/>
                  <a:gd name="T10" fmla="*/ 0 w 39"/>
                  <a:gd name="T11" fmla="*/ 0 h 31"/>
                  <a:gd name="T12" fmla="*/ 0 w 39"/>
                  <a:gd name="T13" fmla="*/ 0 h 31"/>
                  <a:gd name="T14" fmla="*/ 0 w 39"/>
                  <a:gd name="T15" fmla="*/ 0 h 31"/>
                  <a:gd name="T16" fmla="*/ 0 w 39"/>
                  <a:gd name="T17" fmla="*/ 0 h 31"/>
                  <a:gd name="T18" fmla="*/ 0 w 39"/>
                  <a:gd name="T19" fmla="*/ 0 h 31"/>
                  <a:gd name="T20" fmla="*/ 0 w 39"/>
                  <a:gd name="T21" fmla="*/ 0 h 31"/>
                  <a:gd name="T22" fmla="*/ 0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9" name="Freeform 458"/>
              <p:cNvSpPr>
                <a:spLocks/>
              </p:cNvSpPr>
              <p:nvPr/>
            </p:nvSpPr>
            <p:spPr bwMode="auto">
              <a:xfrm>
                <a:off x="5172" y="2410"/>
                <a:ext cx="10" cy="6"/>
              </a:xfrm>
              <a:custGeom>
                <a:avLst/>
                <a:gdLst>
                  <a:gd name="T0" fmla="*/ 0 w 34"/>
                  <a:gd name="T1" fmla="*/ 0 h 19"/>
                  <a:gd name="T2" fmla="*/ 0 w 34"/>
                  <a:gd name="T3" fmla="*/ 0 h 19"/>
                  <a:gd name="T4" fmla="*/ 0 w 34"/>
                  <a:gd name="T5" fmla="*/ 0 h 19"/>
                  <a:gd name="T6" fmla="*/ 0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0" name="Freeform 459"/>
              <p:cNvSpPr>
                <a:spLocks/>
              </p:cNvSpPr>
              <p:nvPr/>
            </p:nvSpPr>
            <p:spPr bwMode="auto">
              <a:xfrm>
                <a:off x="5180" y="2471"/>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1" name="Freeform 460"/>
              <p:cNvSpPr>
                <a:spLocks/>
              </p:cNvSpPr>
              <p:nvPr/>
            </p:nvSpPr>
            <p:spPr bwMode="auto">
              <a:xfrm>
                <a:off x="5062" y="2447"/>
                <a:ext cx="42" cy="55"/>
              </a:xfrm>
              <a:custGeom>
                <a:avLst/>
                <a:gdLst>
                  <a:gd name="T0" fmla="*/ 0 w 126"/>
                  <a:gd name="T1" fmla="*/ 0 h 166"/>
                  <a:gd name="T2" fmla="*/ 0 w 126"/>
                  <a:gd name="T3" fmla="*/ 0 h 166"/>
                  <a:gd name="T4" fmla="*/ 0 w 126"/>
                  <a:gd name="T5" fmla="*/ 0 h 166"/>
                  <a:gd name="T6" fmla="*/ 1 w 126"/>
                  <a:gd name="T7" fmla="*/ 0 h 166"/>
                  <a:gd name="T8" fmla="*/ 1 w 126"/>
                  <a:gd name="T9" fmla="*/ 0 h 166"/>
                  <a:gd name="T10" fmla="*/ 1 w 126"/>
                  <a:gd name="T11" fmla="*/ 0 h 166"/>
                  <a:gd name="T12" fmla="*/ 1 w 126"/>
                  <a:gd name="T13" fmla="*/ 0 h 166"/>
                  <a:gd name="T14" fmla="*/ 1 w 126"/>
                  <a:gd name="T15" fmla="*/ 0 h 166"/>
                  <a:gd name="T16" fmla="*/ 0 w 126"/>
                  <a:gd name="T17" fmla="*/ 0 h 166"/>
                  <a:gd name="T18" fmla="*/ 0 w 126"/>
                  <a:gd name="T19" fmla="*/ 0 h 166"/>
                  <a:gd name="T20" fmla="*/ 0 w 126"/>
                  <a:gd name="T21" fmla="*/ 0 h 166"/>
                  <a:gd name="T22" fmla="*/ 0 w 126"/>
                  <a:gd name="T23" fmla="*/ 0 h 166"/>
                  <a:gd name="T24" fmla="*/ 0 w 126"/>
                  <a:gd name="T25" fmla="*/ 0 h 166"/>
                  <a:gd name="T26" fmla="*/ 0 w 126"/>
                  <a:gd name="T27" fmla="*/ 1 h 166"/>
                  <a:gd name="T28" fmla="*/ 0 w 126"/>
                  <a:gd name="T29" fmla="*/ 1 h 166"/>
                  <a:gd name="T30" fmla="*/ 0 w 126"/>
                  <a:gd name="T31" fmla="*/ 1 h 166"/>
                  <a:gd name="T32" fmla="*/ 0 w 126"/>
                  <a:gd name="T33" fmla="*/ 1 h 166"/>
                  <a:gd name="T34" fmla="*/ 0 w 126"/>
                  <a:gd name="T35" fmla="*/ 1 h 166"/>
                  <a:gd name="T36" fmla="*/ 0 w 126"/>
                  <a:gd name="T37" fmla="*/ 1 h 166"/>
                  <a:gd name="T38" fmla="*/ 0 w 126"/>
                  <a:gd name="T39" fmla="*/ 1 h 166"/>
                  <a:gd name="T40" fmla="*/ 0 w 126"/>
                  <a:gd name="T41" fmla="*/ 1 h 166"/>
                  <a:gd name="T42" fmla="*/ 0 w 126"/>
                  <a:gd name="T43" fmla="*/ 1 h 166"/>
                  <a:gd name="T44" fmla="*/ 0 w 126"/>
                  <a:gd name="T45" fmla="*/ 1 h 166"/>
                  <a:gd name="T46" fmla="*/ 0 w 126"/>
                  <a:gd name="T47" fmla="*/ 1 h 166"/>
                  <a:gd name="T48" fmla="*/ 0 w 126"/>
                  <a:gd name="T49" fmla="*/ 1 h 166"/>
                  <a:gd name="T50" fmla="*/ 0 w 126"/>
                  <a:gd name="T51" fmla="*/ 1 h 166"/>
                  <a:gd name="T52" fmla="*/ 0 w 126"/>
                  <a:gd name="T53" fmla="*/ 0 h 166"/>
                  <a:gd name="T54" fmla="*/ 0 w 126"/>
                  <a:gd name="T55" fmla="*/ 0 h 166"/>
                  <a:gd name="T56" fmla="*/ 0 w 126"/>
                  <a:gd name="T57" fmla="*/ 0 h 166"/>
                  <a:gd name="T58" fmla="*/ 0 w 126"/>
                  <a:gd name="T59" fmla="*/ 0 h 166"/>
                  <a:gd name="T60" fmla="*/ 0 w 126"/>
                  <a:gd name="T61" fmla="*/ 0 h 166"/>
                  <a:gd name="T62" fmla="*/ 0 w 126"/>
                  <a:gd name="T63" fmla="*/ 0 h 166"/>
                  <a:gd name="T64" fmla="*/ 0 w 126"/>
                  <a:gd name="T65" fmla="*/ 0 h 166"/>
                  <a:gd name="T66" fmla="*/ 0 w 126"/>
                  <a:gd name="T67" fmla="*/ 0 h 166"/>
                  <a:gd name="T68" fmla="*/ 0 w 126"/>
                  <a:gd name="T69" fmla="*/ 0 h 166"/>
                  <a:gd name="T70" fmla="*/ 0 w 126"/>
                  <a:gd name="T71" fmla="*/ 0 h 166"/>
                  <a:gd name="T72" fmla="*/ 0 w 126"/>
                  <a:gd name="T73" fmla="*/ 0 h 166"/>
                  <a:gd name="T74" fmla="*/ 0 w 126"/>
                  <a:gd name="T75" fmla="*/ 0 h 166"/>
                  <a:gd name="T76" fmla="*/ 0 w 126"/>
                  <a:gd name="T77" fmla="*/ 0 h 166"/>
                  <a:gd name="T78" fmla="*/ 0 w 126"/>
                  <a:gd name="T79" fmla="*/ 0 h 166"/>
                  <a:gd name="T80" fmla="*/ 0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2" name="Freeform 461"/>
              <p:cNvSpPr>
                <a:spLocks/>
              </p:cNvSpPr>
              <p:nvPr/>
            </p:nvSpPr>
            <p:spPr bwMode="auto">
              <a:xfrm>
                <a:off x="5154" y="2465"/>
                <a:ext cx="85" cy="86"/>
              </a:xfrm>
              <a:custGeom>
                <a:avLst/>
                <a:gdLst>
                  <a:gd name="T0" fmla="*/ 0 w 259"/>
                  <a:gd name="T1" fmla="*/ 1 h 259"/>
                  <a:gd name="T2" fmla="*/ 0 w 259"/>
                  <a:gd name="T3" fmla="*/ 1 h 259"/>
                  <a:gd name="T4" fmla="*/ 0 w 259"/>
                  <a:gd name="T5" fmla="*/ 1 h 259"/>
                  <a:gd name="T6" fmla="*/ 0 w 259"/>
                  <a:gd name="T7" fmla="*/ 1 h 259"/>
                  <a:gd name="T8" fmla="*/ 0 w 259"/>
                  <a:gd name="T9" fmla="*/ 1 h 259"/>
                  <a:gd name="T10" fmla="*/ 0 w 259"/>
                  <a:gd name="T11" fmla="*/ 0 h 259"/>
                  <a:gd name="T12" fmla="*/ 0 w 259"/>
                  <a:gd name="T13" fmla="*/ 0 h 259"/>
                  <a:gd name="T14" fmla="*/ 0 w 259"/>
                  <a:gd name="T15" fmla="*/ 0 h 259"/>
                  <a:gd name="T16" fmla="*/ 0 w 259"/>
                  <a:gd name="T17" fmla="*/ 0 h 259"/>
                  <a:gd name="T18" fmla="*/ 0 w 259"/>
                  <a:gd name="T19" fmla="*/ 0 h 259"/>
                  <a:gd name="T20" fmla="*/ 0 w 259"/>
                  <a:gd name="T21" fmla="*/ 0 h 259"/>
                  <a:gd name="T22" fmla="*/ 0 w 259"/>
                  <a:gd name="T23" fmla="*/ 0 h 259"/>
                  <a:gd name="T24" fmla="*/ 0 w 259"/>
                  <a:gd name="T25" fmla="*/ 0 h 259"/>
                  <a:gd name="T26" fmla="*/ 0 w 259"/>
                  <a:gd name="T27" fmla="*/ 0 h 259"/>
                  <a:gd name="T28" fmla="*/ 1 w 259"/>
                  <a:gd name="T29" fmla="*/ 0 h 259"/>
                  <a:gd name="T30" fmla="*/ 1 w 259"/>
                  <a:gd name="T31" fmla="*/ 0 h 259"/>
                  <a:gd name="T32" fmla="*/ 1 w 259"/>
                  <a:gd name="T33" fmla="*/ 0 h 259"/>
                  <a:gd name="T34" fmla="*/ 1 w 259"/>
                  <a:gd name="T35" fmla="*/ 0 h 259"/>
                  <a:gd name="T36" fmla="*/ 1 w 259"/>
                  <a:gd name="T37" fmla="*/ 0 h 259"/>
                  <a:gd name="T38" fmla="*/ 1 w 259"/>
                  <a:gd name="T39" fmla="*/ 0 h 259"/>
                  <a:gd name="T40" fmla="*/ 1 w 259"/>
                  <a:gd name="T41" fmla="*/ 0 h 259"/>
                  <a:gd name="T42" fmla="*/ 1 w 259"/>
                  <a:gd name="T43" fmla="*/ 0 h 259"/>
                  <a:gd name="T44" fmla="*/ 1 w 259"/>
                  <a:gd name="T45" fmla="*/ 0 h 259"/>
                  <a:gd name="T46" fmla="*/ 1 w 259"/>
                  <a:gd name="T47" fmla="*/ 0 h 259"/>
                  <a:gd name="T48" fmla="*/ 1 w 259"/>
                  <a:gd name="T49" fmla="*/ 0 h 259"/>
                  <a:gd name="T50" fmla="*/ 1 w 259"/>
                  <a:gd name="T51" fmla="*/ 0 h 259"/>
                  <a:gd name="T52" fmla="*/ 1 w 259"/>
                  <a:gd name="T53" fmla="*/ 0 h 259"/>
                  <a:gd name="T54" fmla="*/ 1 w 259"/>
                  <a:gd name="T55" fmla="*/ 0 h 259"/>
                  <a:gd name="T56" fmla="*/ 1 w 259"/>
                  <a:gd name="T57" fmla="*/ 0 h 259"/>
                  <a:gd name="T58" fmla="*/ 1 w 259"/>
                  <a:gd name="T59" fmla="*/ 0 h 259"/>
                  <a:gd name="T60" fmla="*/ 1 w 259"/>
                  <a:gd name="T61" fmla="*/ 1 h 259"/>
                  <a:gd name="T62" fmla="*/ 1 w 259"/>
                  <a:gd name="T63" fmla="*/ 1 h 259"/>
                  <a:gd name="T64" fmla="*/ 1 w 259"/>
                  <a:gd name="T65" fmla="*/ 1 h 259"/>
                  <a:gd name="T66" fmla="*/ 1 w 259"/>
                  <a:gd name="T67" fmla="*/ 1 h 259"/>
                  <a:gd name="T68" fmla="*/ 1 w 259"/>
                  <a:gd name="T69" fmla="*/ 1 h 259"/>
                  <a:gd name="T70" fmla="*/ 1 w 259"/>
                  <a:gd name="T71" fmla="*/ 1 h 259"/>
                  <a:gd name="T72" fmla="*/ 1 w 259"/>
                  <a:gd name="T73" fmla="*/ 1 h 259"/>
                  <a:gd name="T74" fmla="*/ 1 w 259"/>
                  <a:gd name="T75" fmla="*/ 1 h 259"/>
                  <a:gd name="T76" fmla="*/ 1 w 259"/>
                  <a:gd name="T77" fmla="*/ 1 h 259"/>
                  <a:gd name="T78" fmla="*/ 1 w 259"/>
                  <a:gd name="T79" fmla="*/ 1 h 259"/>
                  <a:gd name="T80" fmla="*/ 1 w 259"/>
                  <a:gd name="T81" fmla="*/ 1 h 259"/>
                  <a:gd name="T82" fmla="*/ 0 w 259"/>
                  <a:gd name="T83" fmla="*/ 1 h 259"/>
                  <a:gd name="T84" fmla="*/ 0 w 259"/>
                  <a:gd name="T85" fmla="*/ 1 h 259"/>
                  <a:gd name="T86" fmla="*/ 0 w 259"/>
                  <a:gd name="T87" fmla="*/ 1 h 259"/>
                  <a:gd name="T88" fmla="*/ 0 w 259"/>
                  <a:gd name="T89" fmla="*/ 1 h 259"/>
                  <a:gd name="T90" fmla="*/ 0 w 259"/>
                  <a:gd name="T91" fmla="*/ 1 h 259"/>
                  <a:gd name="T92" fmla="*/ 0 w 259"/>
                  <a:gd name="T93" fmla="*/ 1 h 259"/>
                  <a:gd name="T94" fmla="*/ 0 w 259"/>
                  <a:gd name="T95" fmla="*/ 1 h 259"/>
                  <a:gd name="T96" fmla="*/ 0 w 259"/>
                  <a:gd name="T97" fmla="*/ 1 h 259"/>
                  <a:gd name="T98" fmla="*/ 0 w 259"/>
                  <a:gd name="T99" fmla="*/ 1 h 259"/>
                  <a:gd name="T100" fmla="*/ 0 w 259"/>
                  <a:gd name="T101" fmla="*/ 1 h 259"/>
                  <a:gd name="T102" fmla="*/ 0 w 259"/>
                  <a:gd name="T103" fmla="*/ 1 h 259"/>
                  <a:gd name="T104" fmla="*/ 0 w 259"/>
                  <a:gd name="T105" fmla="*/ 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3" name="Freeform 462"/>
              <p:cNvSpPr>
                <a:spLocks/>
              </p:cNvSpPr>
              <p:nvPr/>
            </p:nvSpPr>
            <p:spPr bwMode="auto">
              <a:xfrm>
                <a:off x="5104" y="2395"/>
                <a:ext cx="23" cy="31"/>
              </a:xfrm>
              <a:custGeom>
                <a:avLst/>
                <a:gdLst>
                  <a:gd name="T0" fmla="*/ 0 w 72"/>
                  <a:gd name="T1" fmla="*/ 0 h 92"/>
                  <a:gd name="T2" fmla="*/ 0 w 72"/>
                  <a:gd name="T3" fmla="*/ 0 h 92"/>
                  <a:gd name="T4" fmla="*/ 0 w 72"/>
                  <a:gd name="T5" fmla="*/ 0 h 92"/>
                  <a:gd name="T6" fmla="*/ 0 w 72"/>
                  <a:gd name="T7" fmla="*/ 0 h 92"/>
                  <a:gd name="T8" fmla="*/ 0 w 72"/>
                  <a:gd name="T9" fmla="*/ 0 h 92"/>
                  <a:gd name="T10" fmla="*/ 0 w 72"/>
                  <a:gd name="T11" fmla="*/ 0 h 92"/>
                  <a:gd name="T12" fmla="*/ 0 w 72"/>
                  <a:gd name="T13" fmla="*/ 0 h 92"/>
                  <a:gd name="T14" fmla="*/ 0 w 72"/>
                  <a:gd name="T15" fmla="*/ 0 h 92"/>
                  <a:gd name="T16" fmla="*/ 0 w 72"/>
                  <a:gd name="T17" fmla="*/ 0 h 92"/>
                  <a:gd name="T18" fmla="*/ 0 w 72"/>
                  <a:gd name="T19" fmla="*/ 0 h 92"/>
                  <a:gd name="T20" fmla="*/ 0 w 72"/>
                  <a:gd name="T21" fmla="*/ 0 h 92"/>
                  <a:gd name="T22" fmla="*/ 0 w 72"/>
                  <a:gd name="T23" fmla="*/ 0 h 92"/>
                  <a:gd name="T24" fmla="*/ 0 w 72"/>
                  <a:gd name="T25" fmla="*/ 0 h 92"/>
                  <a:gd name="T26" fmla="*/ 0 w 72"/>
                  <a:gd name="T27" fmla="*/ 0 h 92"/>
                  <a:gd name="T28" fmla="*/ 0 w 72"/>
                  <a:gd name="T29" fmla="*/ 0 h 92"/>
                  <a:gd name="T30" fmla="*/ 0 w 72"/>
                  <a:gd name="T31" fmla="*/ 0 h 92"/>
                  <a:gd name="T32" fmla="*/ 0 w 72"/>
                  <a:gd name="T33" fmla="*/ 0 h 92"/>
                  <a:gd name="T34" fmla="*/ 0 w 72"/>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4" name="Freeform 463"/>
              <p:cNvSpPr>
                <a:spLocks/>
              </p:cNvSpPr>
              <p:nvPr/>
            </p:nvSpPr>
            <p:spPr bwMode="auto">
              <a:xfrm>
                <a:off x="5143" y="2436"/>
                <a:ext cx="16" cy="21"/>
              </a:xfrm>
              <a:custGeom>
                <a:avLst/>
                <a:gdLst>
                  <a:gd name="T0" fmla="*/ 0 w 46"/>
                  <a:gd name="T1" fmla="*/ 0 h 62"/>
                  <a:gd name="T2" fmla="*/ 0 w 46"/>
                  <a:gd name="T3" fmla="*/ 0 h 62"/>
                  <a:gd name="T4" fmla="*/ 0 w 46"/>
                  <a:gd name="T5" fmla="*/ 0 h 62"/>
                  <a:gd name="T6" fmla="*/ 0 w 46"/>
                  <a:gd name="T7" fmla="*/ 0 h 62"/>
                  <a:gd name="T8" fmla="*/ 0 w 46"/>
                  <a:gd name="T9" fmla="*/ 0 h 62"/>
                  <a:gd name="T10" fmla="*/ 0 w 46"/>
                  <a:gd name="T11" fmla="*/ 0 h 62"/>
                  <a:gd name="T12" fmla="*/ 0 w 46"/>
                  <a:gd name="T13" fmla="*/ 0 h 62"/>
                  <a:gd name="T14" fmla="*/ 0 w 46"/>
                  <a:gd name="T15" fmla="*/ 0 h 62"/>
                  <a:gd name="T16" fmla="*/ 0 w 46"/>
                  <a:gd name="T17" fmla="*/ 0 h 62"/>
                  <a:gd name="T18" fmla="*/ 0 w 46"/>
                  <a:gd name="T19" fmla="*/ 0 h 62"/>
                  <a:gd name="T20" fmla="*/ 0 w 46"/>
                  <a:gd name="T21" fmla="*/ 0 h 62"/>
                  <a:gd name="T22" fmla="*/ 0 w 46"/>
                  <a:gd name="T23" fmla="*/ 0 h 62"/>
                  <a:gd name="T24" fmla="*/ 0 w 46"/>
                  <a:gd name="T25" fmla="*/ 0 h 62"/>
                  <a:gd name="T26" fmla="*/ 0 w 46"/>
                  <a:gd name="T27" fmla="*/ 0 h 62"/>
                  <a:gd name="T28" fmla="*/ 0 w 46"/>
                  <a:gd name="T29" fmla="*/ 0 h 62"/>
                  <a:gd name="T30" fmla="*/ 0 w 46"/>
                  <a:gd name="T31" fmla="*/ 0 h 62"/>
                  <a:gd name="T32" fmla="*/ 0 w 46"/>
                  <a:gd name="T33" fmla="*/ 0 h 62"/>
                  <a:gd name="T34" fmla="*/ 0 w 46"/>
                  <a:gd name="T35" fmla="*/ 0 h 62"/>
                  <a:gd name="T36" fmla="*/ 0 w 46"/>
                  <a:gd name="T37" fmla="*/ 0 h 62"/>
                  <a:gd name="T38" fmla="*/ 0 w 46"/>
                  <a:gd name="T39" fmla="*/ 0 h 62"/>
                  <a:gd name="T40" fmla="*/ 0 w 46"/>
                  <a:gd name="T41" fmla="*/ 0 h 62"/>
                  <a:gd name="T42" fmla="*/ 0 w 46"/>
                  <a:gd name="T43" fmla="*/ 0 h 62"/>
                  <a:gd name="T44" fmla="*/ 0 w 46"/>
                  <a:gd name="T45" fmla="*/ 0 h 62"/>
                  <a:gd name="T46" fmla="*/ 0 w 46"/>
                  <a:gd name="T47" fmla="*/ 0 h 62"/>
                  <a:gd name="T48" fmla="*/ 0 w 46"/>
                  <a:gd name="T49" fmla="*/ 0 h 62"/>
                  <a:gd name="T50" fmla="*/ 0 w 46"/>
                  <a:gd name="T51" fmla="*/ 0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5" name="Freeform 464"/>
              <p:cNvSpPr>
                <a:spLocks/>
              </p:cNvSpPr>
              <p:nvPr/>
            </p:nvSpPr>
            <p:spPr bwMode="auto">
              <a:xfrm>
                <a:off x="5089" y="2295"/>
                <a:ext cx="50" cy="98"/>
              </a:xfrm>
              <a:custGeom>
                <a:avLst/>
                <a:gdLst>
                  <a:gd name="T0" fmla="*/ 0 w 152"/>
                  <a:gd name="T1" fmla="*/ 0 h 296"/>
                  <a:gd name="T2" fmla="*/ 0 w 152"/>
                  <a:gd name="T3" fmla="*/ 0 h 296"/>
                  <a:gd name="T4" fmla="*/ 0 w 152"/>
                  <a:gd name="T5" fmla="*/ 0 h 296"/>
                  <a:gd name="T6" fmla="*/ 0 w 152"/>
                  <a:gd name="T7" fmla="*/ 0 h 296"/>
                  <a:gd name="T8" fmla="*/ 0 w 152"/>
                  <a:gd name="T9" fmla="*/ 0 h 296"/>
                  <a:gd name="T10" fmla="*/ 0 w 152"/>
                  <a:gd name="T11" fmla="*/ 0 h 296"/>
                  <a:gd name="T12" fmla="*/ 0 w 152"/>
                  <a:gd name="T13" fmla="*/ 0 h 296"/>
                  <a:gd name="T14" fmla="*/ 0 w 152"/>
                  <a:gd name="T15" fmla="*/ 0 h 296"/>
                  <a:gd name="T16" fmla="*/ 1 w 152"/>
                  <a:gd name="T17" fmla="*/ 0 h 296"/>
                  <a:gd name="T18" fmla="*/ 1 w 152"/>
                  <a:gd name="T19" fmla="*/ 0 h 296"/>
                  <a:gd name="T20" fmla="*/ 1 w 152"/>
                  <a:gd name="T21" fmla="*/ 0 h 296"/>
                  <a:gd name="T22" fmla="*/ 1 w 152"/>
                  <a:gd name="T23" fmla="*/ 0 h 296"/>
                  <a:gd name="T24" fmla="*/ 1 w 152"/>
                  <a:gd name="T25" fmla="*/ 0 h 296"/>
                  <a:gd name="T26" fmla="*/ 1 w 152"/>
                  <a:gd name="T27" fmla="*/ 1 h 296"/>
                  <a:gd name="T28" fmla="*/ 0 w 152"/>
                  <a:gd name="T29" fmla="*/ 1 h 296"/>
                  <a:gd name="T30" fmla="*/ 0 w 152"/>
                  <a:gd name="T31" fmla="*/ 1 h 296"/>
                  <a:gd name="T32" fmla="*/ 0 w 152"/>
                  <a:gd name="T33" fmla="*/ 1 h 296"/>
                  <a:gd name="T34" fmla="*/ 0 w 152"/>
                  <a:gd name="T35" fmla="*/ 1 h 296"/>
                  <a:gd name="T36" fmla="*/ 0 w 152"/>
                  <a:gd name="T37" fmla="*/ 1 h 296"/>
                  <a:gd name="T38" fmla="*/ 0 w 152"/>
                  <a:gd name="T39" fmla="*/ 1 h 296"/>
                  <a:gd name="T40" fmla="*/ 1 w 152"/>
                  <a:gd name="T41" fmla="*/ 1 h 296"/>
                  <a:gd name="T42" fmla="*/ 1 w 152"/>
                  <a:gd name="T43" fmla="*/ 1 h 296"/>
                  <a:gd name="T44" fmla="*/ 1 w 152"/>
                  <a:gd name="T45" fmla="*/ 1 h 296"/>
                  <a:gd name="T46" fmla="*/ 1 w 152"/>
                  <a:gd name="T47" fmla="*/ 1 h 296"/>
                  <a:gd name="T48" fmla="*/ 0 w 152"/>
                  <a:gd name="T49" fmla="*/ 1 h 296"/>
                  <a:gd name="T50" fmla="*/ 0 w 152"/>
                  <a:gd name="T51" fmla="*/ 1 h 296"/>
                  <a:gd name="T52" fmla="*/ 0 w 152"/>
                  <a:gd name="T53" fmla="*/ 1 h 296"/>
                  <a:gd name="T54" fmla="*/ 0 w 152"/>
                  <a:gd name="T55" fmla="*/ 1 h 296"/>
                  <a:gd name="T56" fmla="*/ 0 w 152"/>
                  <a:gd name="T57" fmla="*/ 1 h 296"/>
                  <a:gd name="T58" fmla="*/ 0 w 152"/>
                  <a:gd name="T59" fmla="*/ 1 h 296"/>
                  <a:gd name="T60" fmla="*/ 0 w 152"/>
                  <a:gd name="T61" fmla="*/ 1 h 296"/>
                  <a:gd name="T62" fmla="*/ 0 w 152"/>
                  <a:gd name="T63" fmla="*/ 1 h 296"/>
                  <a:gd name="T64" fmla="*/ 0 w 152"/>
                  <a:gd name="T65" fmla="*/ 1 h 296"/>
                  <a:gd name="T66" fmla="*/ 0 w 152"/>
                  <a:gd name="T67" fmla="*/ 1 h 296"/>
                  <a:gd name="T68" fmla="*/ 0 w 152"/>
                  <a:gd name="T69" fmla="*/ 1 h 296"/>
                  <a:gd name="T70" fmla="*/ 0 w 152"/>
                  <a:gd name="T71" fmla="*/ 1 h 296"/>
                  <a:gd name="T72" fmla="*/ 0 w 152"/>
                  <a:gd name="T73" fmla="*/ 1 h 296"/>
                  <a:gd name="T74" fmla="*/ 0 w 152"/>
                  <a:gd name="T75" fmla="*/ 1 h 296"/>
                  <a:gd name="T76" fmla="*/ 0 w 152"/>
                  <a:gd name="T77" fmla="*/ 1 h 296"/>
                  <a:gd name="T78" fmla="*/ 0 w 152"/>
                  <a:gd name="T79" fmla="*/ 1 h 296"/>
                  <a:gd name="T80" fmla="*/ 0 w 152"/>
                  <a:gd name="T81" fmla="*/ 0 h 296"/>
                  <a:gd name="T82" fmla="*/ 0 w 152"/>
                  <a:gd name="T83" fmla="*/ 0 h 296"/>
                  <a:gd name="T84" fmla="*/ 0 w 152"/>
                  <a:gd name="T85" fmla="*/ 0 h 296"/>
                  <a:gd name="T86" fmla="*/ 0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6" name="Freeform 465"/>
              <p:cNvSpPr>
                <a:spLocks/>
              </p:cNvSpPr>
              <p:nvPr/>
            </p:nvSpPr>
            <p:spPr bwMode="auto">
              <a:xfrm>
                <a:off x="5189" y="2442"/>
                <a:ext cx="8" cy="13"/>
              </a:xfrm>
              <a:custGeom>
                <a:avLst/>
                <a:gdLst>
                  <a:gd name="T0" fmla="*/ 0 w 26"/>
                  <a:gd name="T1" fmla="*/ 0 h 38"/>
                  <a:gd name="T2" fmla="*/ 0 w 26"/>
                  <a:gd name="T3" fmla="*/ 0 h 38"/>
                  <a:gd name="T4" fmla="*/ 0 w 26"/>
                  <a:gd name="T5" fmla="*/ 0 h 38"/>
                  <a:gd name="T6" fmla="*/ 0 w 26"/>
                  <a:gd name="T7" fmla="*/ 0 h 38"/>
                  <a:gd name="T8" fmla="*/ 0 w 26"/>
                  <a:gd name="T9" fmla="*/ 0 h 38"/>
                  <a:gd name="T10" fmla="*/ 0 w 26"/>
                  <a:gd name="T11" fmla="*/ 0 h 38"/>
                  <a:gd name="T12" fmla="*/ 0 w 26"/>
                  <a:gd name="T13" fmla="*/ 0 h 38"/>
                  <a:gd name="T14" fmla="*/ 0 w 26"/>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7" name="Freeform 466"/>
              <p:cNvSpPr>
                <a:spLocks/>
              </p:cNvSpPr>
              <p:nvPr/>
            </p:nvSpPr>
            <p:spPr bwMode="auto">
              <a:xfrm>
                <a:off x="5165" y="2420"/>
                <a:ext cx="10" cy="10"/>
              </a:xfrm>
              <a:custGeom>
                <a:avLst/>
                <a:gdLst>
                  <a:gd name="T0" fmla="*/ 0 w 34"/>
                  <a:gd name="T1" fmla="*/ 0 h 31"/>
                  <a:gd name="T2" fmla="*/ 0 w 34"/>
                  <a:gd name="T3" fmla="*/ 0 h 31"/>
                  <a:gd name="T4" fmla="*/ 0 w 34"/>
                  <a:gd name="T5" fmla="*/ 0 h 31"/>
                  <a:gd name="T6" fmla="*/ 0 w 34"/>
                  <a:gd name="T7" fmla="*/ 0 h 31"/>
                  <a:gd name="T8" fmla="*/ 0 w 34"/>
                  <a:gd name="T9" fmla="*/ 0 h 31"/>
                  <a:gd name="T10" fmla="*/ 0 w 34"/>
                  <a:gd name="T11" fmla="*/ 0 h 31"/>
                  <a:gd name="T12" fmla="*/ 0 w 34"/>
                  <a:gd name="T13" fmla="*/ 0 h 31"/>
                  <a:gd name="T14" fmla="*/ 0 w 34"/>
                  <a:gd name="T15" fmla="*/ 0 h 31"/>
                  <a:gd name="T16" fmla="*/ 0 w 34"/>
                  <a:gd name="T17" fmla="*/ 0 h 31"/>
                  <a:gd name="T18" fmla="*/ 0 w 34"/>
                  <a:gd name="T19" fmla="*/ 0 h 31"/>
                  <a:gd name="T20" fmla="*/ 0 w 34"/>
                  <a:gd name="T21" fmla="*/ 0 h 31"/>
                  <a:gd name="T22" fmla="*/ 0 w 34"/>
                  <a:gd name="T23" fmla="*/ 0 h 31"/>
                  <a:gd name="T24" fmla="*/ 0 w 34"/>
                  <a:gd name="T25" fmla="*/ 0 h 31"/>
                  <a:gd name="T26" fmla="*/ 0 w 34"/>
                  <a:gd name="T27" fmla="*/ 0 h 31"/>
                  <a:gd name="T28" fmla="*/ 0 w 34"/>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8" name="Freeform 467"/>
              <p:cNvSpPr>
                <a:spLocks/>
              </p:cNvSpPr>
              <p:nvPr/>
            </p:nvSpPr>
            <p:spPr bwMode="auto">
              <a:xfrm>
                <a:off x="5139" y="2418"/>
                <a:ext cx="6" cy="12"/>
              </a:xfrm>
              <a:custGeom>
                <a:avLst/>
                <a:gdLst>
                  <a:gd name="T0" fmla="*/ 0 w 20"/>
                  <a:gd name="T1" fmla="*/ 0 h 37"/>
                  <a:gd name="T2" fmla="*/ 0 w 20"/>
                  <a:gd name="T3" fmla="*/ 0 h 37"/>
                  <a:gd name="T4" fmla="*/ 0 w 20"/>
                  <a:gd name="T5" fmla="*/ 0 h 37"/>
                  <a:gd name="T6" fmla="*/ 0 w 20"/>
                  <a:gd name="T7" fmla="*/ 0 h 37"/>
                  <a:gd name="T8" fmla="*/ 0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6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70" name="Freeform 469"/>
              <p:cNvSpPr>
                <a:spLocks/>
              </p:cNvSpPr>
              <p:nvPr/>
            </p:nvSpPr>
            <p:spPr bwMode="auto">
              <a:xfrm>
                <a:off x="5180" y="2453"/>
                <a:ext cx="4"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72" name="Freeform 471"/>
              <p:cNvSpPr>
                <a:spLocks/>
              </p:cNvSpPr>
              <p:nvPr/>
            </p:nvSpPr>
            <p:spPr bwMode="auto">
              <a:xfrm>
                <a:off x="5116" y="2564"/>
                <a:ext cx="9" cy="10"/>
              </a:xfrm>
              <a:custGeom>
                <a:avLst/>
                <a:gdLst>
                  <a:gd name="T0" fmla="*/ 0 w 27"/>
                  <a:gd name="T1" fmla="*/ 0 h 31"/>
                  <a:gd name="T2" fmla="*/ 0 w 27"/>
                  <a:gd name="T3" fmla="*/ 0 h 31"/>
                  <a:gd name="T4" fmla="*/ 0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3" name="Freeform 472"/>
              <p:cNvSpPr>
                <a:spLocks/>
              </p:cNvSpPr>
              <p:nvPr/>
            </p:nvSpPr>
            <p:spPr bwMode="auto">
              <a:xfrm>
                <a:off x="5119" y="2568"/>
                <a:ext cx="6" cy="1"/>
              </a:xfrm>
              <a:custGeom>
                <a:avLst/>
                <a:gdLst>
                  <a:gd name="T0" fmla="*/ 0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4" name="Freeform 473"/>
              <p:cNvSpPr>
                <a:spLocks/>
              </p:cNvSpPr>
              <p:nvPr/>
            </p:nvSpPr>
            <p:spPr bwMode="auto">
              <a:xfrm>
                <a:off x="5127" y="2557"/>
                <a:ext cx="12" cy="5"/>
              </a:xfrm>
              <a:custGeom>
                <a:avLst/>
                <a:gdLst>
                  <a:gd name="T0" fmla="*/ 0 w 34"/>
                  <a:gd name="T1" fmla="*/ 0 h 13"/>
                  <a:gd name="T2" fmla="*/ 0 w 34"/>
                  <a:gd name="T3" fmla="*/ 0 h 13"/>
                  <a:gd name="T4" fmla="*/ 0 w 34"/>
                  <a:gd name="T5" fmla="*/ 0 h 13"/>
                  <a:gd name="T6" fmla="*/ 0 w 34"/>
                  <a:gd name="T7" fmla="*/ 0 h 13"/>
                  <a:gd name="T8" fmla="*/ 0 w 34"/>
                  <a:gd name="T9" fmla="*/ 0 h 13"/>
                  <a:gd name="T10" fmla="*/ 0 w 34"/>
                  <a:gd name="T11" fmla="*/ 0 h 13"/>
                  <a:gd name="T12" fmla="*/ 0 w 34"/>
                  <a:gd name="T13" fmla="*/ 0 h 13"/>
                  <a:gd name="T14" fmla="*/ 0 w 34"/>
                  <a:gd name="T15" fmla="*/ 0 h 13"/>
                  <a:gd name="T16" fmla="*/ 0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5" name="Freeform 474"/>
              <p:cNvSpPr>
                <a:spLocks/>
              </p:cNvSpPr>
              <p:nvPr/>
            </p:nvSpPr>
            <p:spPr bwMode="auto">
              <a:xfrm>
                <a:off x="5127" y="2547"/>
                <a:ext cx="12" cy="6"/>
              </a:xfrm>
              <a:custGeom>
                <a:avLst/>
                <a:gdLst>
                  <a:gd name="T0" fmla="*/ 0 w 34"/>
                  <a:gd name="T1" fmla="*/ 0 h 18"/>
                  <a:gd name="T2" fmla="*/ 0 w 34"/>
                  <a:gd name="T3" fmla="*/ 0 h 18"/>
                  <a:gd name="T4" fmla="*/ 0 w 34"/>
                  <a:gd name="T5" fmla="*/ 0 h 18"/>
                  <a:gd name="T6" fmla="*/ 0 w 34"/>
                  <a:gd name="T7" fmla="*/ 0 h 18"/>
                  <a:gd name="T8" fmla="*/ 0 w 34"/>
                  <a:gd name="T9" fmla="*/ 0 h 18"/>
                  <a:gd name="T10" fmla="*/ 0 w 34"/>
                  <a:gd name="T11" fmla="*/ 0 h 18"/>
                  <a:gd name="T12" fmla="*/ 0 w 34"/>
                  <a:gd name="T13" fmla="*/ 0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6" name="Freeform 475"/>
              <p:cNvSpPr>
                <a:spLocks/>
              </p:cNvSpPr>
              <p:nvPr/>
            </p:nvSpPr>
            <p:spPr bwMode="auto">
              <a:xfrm>
                <a:off x="5141" y="2535"/>
                <a:ext cx="20" cy="8"/>
              </a:xfrm>
              <a:custGeom>
                <a:avLst/>
                <a:gdLst>
                  <a:gd name="T0" fmla="*/ 0 w 59"/>
                  <a:gd name="T1" fmla="*/ 0 h 25"/>
                  <a:gd name="T2" fmla="*/ 0 w 59"/>
                  <a:gd name="T3" fmla="*/ 0 h 25"/>
                  <a:gd name="T4" fmla="*/ 0 w 59"/>
                  <a:gd name="T5" fmla="*/ 0 h 25"/>
                  <a:gd name="T6" fmla="*/ 0 w 59"/>
                  <a:gd name="T7" fmla="*/ 0 h 25"/>
                  <a:gd name="T8" fmla="*/ 0 w 59"/>
                  <a:gd name="T9" fmla="*/ 0 h 25"/>
                  <a:gd name="T10" fmla="*/ 0 w 59"/>
                  <a:gd name="T11" fmla="*/ 0 h 25"/>
                  <a:gd name="T12" fmla="*/ 0 w 59"/>
                  <a:gd name="T13" fmla="*/ 0 h 25"/>
                  <a:gd name="T14" fmla="*/ 0 w 59"/>
                  <a:gd name="T15" fmla="*/ 0 h 25"/>
                  <a:gd name="T16" fmla="*/ 0 w 59"/>
                  <a:gd name="T17" fmla="*/ 0 h 25"/>
                  <a:gd name="T18" fmla="*/ 0 w 59"/>
                  <a:gd name="T19" fmla="*/ 0 h 25"/>
                  <a:gd name="T20" fmla="*/ 0 w 59"/>
                  <a:gd name="T21" fmla="*/ 0 h 25"/>
                  <a:gd name="T22" fmla="*/ 0 w 59"/>
                  <a:gd name="T23" fmla="*/ 0 h 25"/>
                  <a:gd name="T24" fmla="*/ 0 w 59"/>
                  <a:gd name="T25" fmla="*/ 0 h 25"/>
                  <a:gd name="T26" fmla="*/ 0 w 59"/>
                  <a:gd name="T27" fmla="*/ 0 h 25"/>
                  <a:gd name="T28" fmla="*/ 0 w 59"/>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7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grpSp>
        <p:sp>
          <p:nvSpPr>
            <p:cNvPr id="210" name="Freeform 209"/>
            <p:cNvSpPr>
              <a:spLocks/>
            </p:cNvSpPr>
            <p:nvPr>
              <p:custDataLst>
                <p:tags r:id="rId206"/>
              </p:custDataLst>
            </p:nvPr>
          </p:nvSpPr>
          <p:spPr bwMode="auto">
            <a:xfrm>
              <a:off x="7818672" y="3260012"/>
              <a:ext cx="14287" cy="41672"/>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1" name="Freeform 210"/>
            <p:cNvSpPr>
              <a:spLocks/>
            </p:cNvSpPr>
            <p:nvPr>
              <p:custDataLst>
                <p:tags r:id="rId207"/>
              </p:custDataLst>
            </p:nvPr>
          </p:nvSpPr>
          <p:spPr bwMode="auto">
            <a:xfrm>
              <a:off x="7894872" y="3214768"/>
              <a:ext cx="22225" cy="44054"/>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2" name="Freeform 211"/>
            <p:cNvSpPr>
              <a:spLocks/>
            </p:cNvSpPr>
            <p:nvPr>
              <p:custDataLst>
                <p:tags r:id="rId208"/>
              </p:custDataLst>
            </p:nvPr>
          </p:nvSpPr>
          <p:spPr bwMode="auto">
            <a:xfrm>
              <a:off x="7942496" y="3124280"/>
              <a:ext cx="23812" cy="42863"/>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3" name="Freeform 212"/>
            <p:cNvSpPr>
              <a:spLocks/>
            </p:cNvSpPr>
            <p:nvPr>
              <p:custDataLst>
                <p:tags r:id="rId209"/>
              </p:custDataLst>
            </p:nvPr>
          </p:nvSpPr>
          <p:spPr bwMode="auto">
            <a:xfrm>
              <a:off x="7926621" y="3101659"/>
              <a:ext cx="25400" cy="42863"/>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4" name="Freeform 213"/>
            <p:cNvSpPr>
              <a:spLocks/>
            </p:cNvSpPr>
            <p:nvPr>
              <p:custDataLst>
                <p:tags r:id="rId210"/>
              </p:custDataLst>
            </p:nvPr>
          </p:nvSpPr>
          <p:spPr bwMode="auto">
            <a:xfrm>
              <a:off x="7751997" y="3024267"/>
              <a:ext cx="7937" cy="42863"/>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5" name="Freeform 214"/>
            <p:cNvSpPr>
              <a:spLocks/>
            </p:cNvSpPr>
            <p:nvPr>
              <p:custDataLst>
                <p:tags r:id="rId211"/>
              </p:custDataLst>
            </p:nvPr>
          </p:nvSpPr>
          <p:spPr bwMode="auto">
            <a:xfrm>
              <a:off x="7678971" y="3125472"/>
              <a:ext cx="30162" cy="44053"/>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6" name="Freeform 215"/>
            <p:cNvSpPr>
              <a:spLocks/>
            </p:cNvSpPr>
            <p:nvPr>
              <p:custDataLst>
                <p:tags r:id="rId212"/>
              </p:custDataLst>
            </p:nvPr>
          </p:nvSpPr>
          <p:spPr bwMode="auto">
            <a:xfrm>
              <a:off x="7686908" y="3264775"/>
              <a:ext cx="19050" cy="41672"/>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7" name="Freeform 216"/>
            <p:cNvSpPr>
              <a:spLocks/>
            </p:cNvSpPr>
            <p:nvPr>
              <p:custDataLst>
                <p:tags r:id="rId213"/>
              </p:custDataLst>
            </p:nvPr>
          </p:nvSpPr>
          <p:spPr bwMode="auto">
            <a:xfrm>
              <a:off x="7799621" y="3129042"/>
              <a:ext cx="11112" cy="42863"/>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8" name="Freeform 217"/>
            <p:cNvSpPr>
              <a:spLocks/>
            </p:cNvSpPr>
            <p:nvPr>
              <p:custDataLst>
                <p:tags r:id="rId214"/>
              </p:custDataLst>
            </p:nvPr>
          </p:nvSpPr>
          <p:spPr bwMode="auto">
            <a:xfrm>
              <a:off x="7659921" y="3125472"/>
              <a:ext cx="19050" cy="44053"/>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19" name="Freeform 218"/>
            <p:cNvSpPr>
              <a:spLocks/>
            </p:cNvSpPr>
            <p:nvPr>
              <p:custDataLst>
                <p:tags r:id="rId215"/>
              </p:custDataLst>
            </p:nvPr>
          </p:nvSpPr>
          <p:spPr bwMode="auto">
            <a:xfrm>
              <a:off x="7704371" y="3161190"/>
              <a:ext cx="30162" cy="42863"/>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0" name="Freeform 219"/>
            <p:cNvSpPr>
              <a:spLocks/>
            </p:cNvSpPr>
            <p:nvPr>
              <p:custDataLst>
                <p:tags r:id="rId216"/>
              </p:custDataLst>
            </p:nvPr>
          </p:nvSpPr>
          <p:spPr bwMode="auto">
            <a:xfrm>
              <a:off x="7505933" y="3313590"/>
              <a:ext cx="46038" cy="44053"/>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1" name="Freeform 220"/>
            <p:cNvSpPr>
              <a:spLocks/>
            </p:cNvSpPr>
            <p:nvPr>
              <p:custDataLst>
                <p:tags r:id="rId217"/>
              </p:custDataLst>
            </p:nvPr>
          </p:nvSpPr>
          <p:spPr bwMode="auto">
            <a:xfrm>
              <a:off x="7604358" y="3342165"/>
              <a:ext cx="14288" cy="44053"/>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2" name="Freeform 221"/>
            <p:cNvSpPr>
              <a:spLocks/>
            </p:cNvSpPr>
            <p:nvPr>
              <p:custDataLst>
                <p:tags r:id="rId218"/>
              </p:custDataLst>
            </p:nvPr>
          </p:nvSpPr>
          <p:spPr bwMode="auto">
            <a:xfrm>
              <a:off x="7437671" y="3290968"/>
              <a:ext cx="36512" cy="4167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3" name="Freeform 222"/>
            <p:cNvSpPr>
              <a:spLocks/>
            </p:cNvSpPr>
            <p:nvPr>
              <p:custDataLst>
                <p:tags r:id="rId219"/>
              </p:custDataLst>
            </p:nvPr>
          </p:nvSpPr>
          <p:spPr bwMode="auto">
            <a:xfrm>
              <a:off x="7482122" y="3280252"/>
              <a:ext cx="39687" cy="4167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4" name="Freeform 223"/>
            <p:cNvSpPr>
              <a:spLocks/>
            </p:cNvSpPr>
            <p:nvPr>
              <p:custDataLst>
                <p:tags r:id="rId220"/>
              </p:custDataLst>
            </p:nvPr>
          </p:nvSpPr>
          <p:spPr bwMode="auto">
            <a:xfrm>
              <a:off x="7534509" y="3287397"/>
              <a:ext cx="36513" cy="44053"/>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5" name="Freeform 224"/>
            <p:cNvSpPr>
              <a:spLocks/>
            </p:cNvSpPr>
            <p:nvPr>
              <p:custDataLst>
                <p:tags r:id="rId221"/>
              </p:custDataLst>
            </p:nvPr>
          </p:nvSpPr>
          <p:spPr bwMode="auto">
            <a:xfrm>
              <a:off x="7586896" y="3290968"/>
              <a:ext cx="25400" cy="4167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6" name="Freeform 225"/>
            <p:cNvSpPr>
              <a:spLocks/>
            </p:cNvSpPr>
            <p:nvPr>
              <p:custDataLst>
                <p:tags r:id="rId222"/>
              </p:custDataLst>
            </p:nvPr>
          </p:nvSpPr>
          <p:spPr bwMode="auto">
            <a:xfrm>
              <a:off x="7659922" y="3285015"/>
              <a:ext cx="1587" cy="4167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7" name="Freeform 226"/>
            <p:cNvSpPr>
              <a:spLocks/>
            </p:cNvSpPr>
            <p:nvPr>
              <p:custDataLst>
                <p:tags r:id="rId223"/>
              </p:custDataLst>
            </p:nvPr>
          </p:nvSpPr>
          <p:spPr bwMode="auto">
            <a:xfrm>
              <a:off x="7234472" y="3145711"/>
              <a:ext cx="20637" cy="44054"/>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8" name="Freeform 227"/>
            <p:cNvSpPr>
              <a:spLocks/>
            </p:cNvSpPr>
            <p:nvPr>
              <p:custDataLst>
                <p:tags r:id="rId224"/>
              </p:custDataLst>
            </p:nvPr>
          </p:nvSpPr>
          <p:spPr bwMode="auto">
            <a:xfrm>
              <a:off x="7180496" y="3125472"/>
              <a:ext cx="30162" cy="44053"/>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29" name="Freeform 228"/>
            <p:cNvSpPr>
              <a:spLocks/>
            </p:cNvSpPr>
            <p:nvPr>
              <p:custDataLst>
                <p:tags r:id="rId225"/>
              </p:custDataLst>
            </p:nvPr>
          </p:nvSpPr>
          <p:spPr bwMode="auto">
            <a:xfrm>
              <a:off x="7015397" y="3113565"/>
              <a:ext cx="7937" cy="42863"/>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0" name="Line 327" descr="Horizontal dunkel"/>
            <p:cNvSpPr>
              <a:spLocks noChangeShapeType="1"/>
            </p:cNvSpPr>
            <p:nvPr>
              <p:custDataLst>
                <p:tags r:id="rId226"/>
              </p:custDataLst>
            </p:nvPr>
          </p:nvSpPr>
          <p:spPr bwMode="auto">
            <a:xfrm>
              <a:off x="7040796" y="3140949"/>
              <a:ext cx="4762" cy="4763"/>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231" name="Freeform 230"/>
            <p:cNvSpPr>
              <a:spLocks/>
            </p:cNvSpPr>
            <p:nvPr>
              <p:custDataLst>
                <p:tags r:id="rId227"/>
              </p:custDataLst>
            </p:nvPr>
          </p:nvSpPr>
          <p:spPr bwMode="auto">
            <a:xfrm>
              <a:off x="7037622" y="3140949"/>
              <a:ext cx="7937" cy="42863"/>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2" name="Freeform 231"/>
            <p:cNvSpPr>
              <a:spLocks/>
            </p:cNvSpPr>
            <p:nvPr>
              <p:custDataLst>
                <p:tags r:id="rId228"/>
              </p:custDataLst>
            </p:nvPr>
          </p:nvSpPr>
          <p:spPr bwMode="auto">
            <a:xfrm>
              <a:off x="6939197" y="3024267"/>
              <a:ext cx="22225" cy="42863"/>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3" name="Freeform 232"/>
            <p:cNvSpPr>
              <a:spLocks/>
            </p:cNvSpPr>
            <p:nvPr>
              <p:custDataLst>
                <p:tags r:id="rId229"/>
              </p:custDataLst>
            </p:nvPr>
          </p:nvSpPr>
          <p:spPr bwMode="auto">
            <a:xfrm>
              <a:off x="7467833" y="3296921"/>
              <a:ext cx="11113" cy="42863"/>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4" name="Freeform 233"/>
            <p:cNvSpPr>
              <a:spLocks/>
            </p:cNvSpPr>
            <p:nvPr>
              <p:custDataLst>
                <p:tags r:id="rId230"/>
              </p:custDataLst>
            </p:nvPr>
          </p:nvSpPr>
          <p:spPr bwMode="auto">
            <a:xfrm>
              <a:off x="7983772" y="3264775"/>
              <a:ext cx="28575" cy="41672"/>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5" name="Freeform 234"/>
            <p:cNvSpPr>
              <a:spLocks/>
            </p:cNvSpPr>
            <p:nvPr>
              <p:custDataLst>
                <p:tags r:id="rId231"/>
              </p:custDataLst>
            </p:nvPr>
          </p:nvSpPr>
          <p:spPr bwMode="auto">
            <a:xfrm>
              <a:off x="6921733" y="2951640"/>
              <a:ext cx="274638" cy="27622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6" name="Freeform 235"/>
            <p:cNvSpPr>
              <a:spLocks/>
            </p:cNvSpPr>
            <p:nvPr>
              <p:custDataLst>
                <p:tags r:id="rId232"/>
              </p:custDataLst>
            </p:nvPr>
          </p:nvSpPr>
          <p:spPr bwMode="auto">
            <a:xfrm>
              <a:off x="7263046" y="2988550"/>
              <a:ext cx="254000" cy="192881"/>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7" name="Freeform 236"/>
            <p:cNvSpPr>
              <a:spLocks/>
            </p:cNvSpPr>
            <p:nvPr>
              <p:custDataLst>
                <p:tags r:id="rId233"/>
              </p:custDataLst>
            </p:nvPr>
          </p:nvSpPr>
          <p:spPr bwMode="auto">
            <a:xfrm>
              <a:off x="7618647" y="3293349"/>
              <a:ext cx="92075" cy="42863"/>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8" name="Freeform 237"/>
            <p:cNvSpPr>
              <a:spLocks/>
            </p:cNvSpPr>
            <p:nvPr>
              <p:custDataLst>
                <p:tags r:id="rId234"/>
              </p:custDataLst>
            </p:nvPr>
          </p:nvSpPr>
          <p:spPr bwMode="auto">
            <a:xfrm>
              <a:off x="7734534" y="3043318"/>
              <a:ext cx="42863" cy="66675"/>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39" name="Freeform 238"/>
            <p:cNvSpPr>
              <a:spLocks/>
            </p:cNvSpPr>
            <p:nvPr>
              <p:custDataLst>
                <p:tags r:id="rId235"/>
              </p:custDataLst>
            </p:nvPr>
          </p:nvSpPr>
          <p:spPr bwMode="auto">
            <a:xfrm>
              <a:off x="7747233" y="3151665"/>
              <a:ext cx="71438" cy="4167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0" name="Freeform 239"/>
            <p:cNvSpPr>
              <a:spLocks/>
            </p:cNvSpPr>
            <p:nvPr>
              <p:custDataLst>
                <p:tags r:id="rId236"/>
              </p:custDataLst>
            </p:nvPr>
          </p:nvSpPr>
          <p:spPr bwMode="auto">
            <a:xfrm>
              <a:off x="7823434" y="3094515"/>
              <a:ext cx="85725" cy="47625"/>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1" name="Freeform 240"/>
            <p:cNvSpPr>
              <a:spLocks/>
            </p:cNvSpPr>
            <p:nvPr>
              <p:custDataLst>
                <p:tags r:id="rId237"/>
              </p:custDataLst>
            </p:nvPr>
          </p:nvSpPr>
          <p:spPr bwMode="auto">
            <a:xfrm>
              <a:off x="7512283" y="3048080"/>
              <a:ext cx="166688" cy="172641"/>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2" name="Freeform 241"/>
            <p:cNvSpPr>
              <a:spLocks/>
            </p:cNvSpPr>
            <p:nvPr>
              <p:custDataLst>
                <p:tags r:id="rId238"/>
              </p:custDataLst>
            </p:nvPr>
          </p:nvSpPr>
          <p:spPr bwMode="auto">
            <a:xfrm>
              <a:off x="7177322" y="3229055"/>
              <a:ext cx="250825" cy="71438"/>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3" name="Freeform 242"/>
            <p:cNvSpPr>
              <a:spLocks/>
            </p:cNvSpPr>
            <p:nvPr>
              <p:custDataLst>
                <p:tags r:id="rId239"/>
              </p:custDataLst>
            </p:nvPr>
          </p:nvSpPr>
          <p:spPr bwMode="auto">
            <a:xfrm>
              <a:off x="7858359" y="3121899"/>
              <a:ext cx="214313" cy="189310"/>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4" name="Freeform 243"/>
            <p:cNvSpPr>
              <a:spLocks/>
            </p:cNvSpPr>
            <p:nvPr>
              <p:custDataLst>
                <p:tags r:id="rId240"/>
              </p:custDataLst>
            </p:nvPr>
          </p:nvSpPr>
          <p:spPr bwMode="auto">
            <a:xfrm>
              <a:off x="4813061" y="1790753"/>
              <a:ext cx="220662" cy="13335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5" name="Freeform 244"/>
            <p:cNvSpPr>
              <a:spLocks/>
            </p:cNvSpPr>
            <p:nvPr>
              <p:custDataLst>
                <p:tags r:id="rId241"/>
              </p:custDataLst>
            </p:nvPr>
          </p:nvSpPr>
          <p:spPr bwMode="auto">
            <a:xfrm>
              <a:off x="4910371" y="1952705"/>
              <a:ext cx="146050" cy="53579"/>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246" name="Freeform 245"/>
            <p:cNvSpPr>
              <a:spLocks/>
            </p:cNvSpPr>
            <p:nvPr>
              <p:custDataLst>
                <p:tags r:id="rId242"/>
              </p:custDataLst>
            </p:nvPr>
          </p:nvSpPr>
          <p:spPr bwMode="auto">
            <a:xfrm>
              <a:off x="5010384" y="1694341"/>
              <a:ext cx="111125" cy="4881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7" name="Freeform 246"/>
            <p:cNvSpPr>
              <a:spLocks/>
            </p:cNvSpPr>
            <p:nvPr>
              <p:custDataLst>
                <p:tags r:id="rId243"/>
              </p:custDataLst>
            </p:nvPr>
          </p:nvSpPr>
          <p:spPr bwMode="auto">
            <a:xfrm>
              <a:off x="5023083" y="1955087"/>
              <a:ext cx="179388" cy="107156"/>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8" name="Freeform 247"/>
            <p:cNvSpPr>
              <a:spLocks/>
            </p:cNvSpPr>
            <p:nvPr>
              <p:custDataLst>
                <p:tags r:id="rId244"/>
              </p:custDataLst>
            </p:nvPr>
          </p:nvSpPr>
          <p:spPr bwMode="auto">
            <a:xfrm>
              <a:off x="3022833" y="2733756"/>
              <a:ext cx="14288" cy="41672"/>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49" name="Freeform 248"/>
            <p:cNvSpPr>
              <a:spLocks/>
            </p:cNvSpPr>
            <p:nvPr>
              <p:custDataLst>
                <p:tags r:id="rId245"/>
              </p:custDataLst>
            </p:nvPr>
          </p:nvSpPr>
          <p:spPr bwMode="auto">
            <a:xfrm>
              <a:off x="5127859" y="1949134"/>
              <a:ext cx="85725" cy="59531"/>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0" name="Freeform 249"/>
            <p:cNvSpPr>
              <a:spLocks/>
            </p:cNvSpPr>
            <p:nvPr>
              <p:custDataLst>
                <p:tags r:id="rId246"/>
              </p:custDataLst>
            </p:nvPr>
          </p:nvSpPr>
          <p:spPr bwMode="auto">
            <a:xfrm>
              <a:off x="5045308" y="1861027"/>
              <a:ext cx="381000" cy="18573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1" name="Freeform 250"/>
            <p:cNvSpPr>
              <a:spLocks/>
            </p:cNvSpPr>
            <p:nvPr>
              <p:custDataLst>
                <p:tags r:id="rId247"/>
              </p:custDataLst>
            </p:nvPr>
          </p:nvSpPr>
          <p:spPr bwMode="auto">
            <a:xfrm>
              <a:off x="5556484" y="2118203"/>
              <a:ext cx="47625" cy="47625"/>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2" name="Freeform 251"/>
            <p:cNvSpPr>
              <a:spLocks/>
            </p:cNvSpPr>
            <p:nvPr>
              <p:custDataLst>
                <p:tags r:id="rId248"/>
              </p:custDataLst>
            </p:nvPr>
          </p:nvSpPr>
          <p:spPr bwMode="auto">
            <a:xfrm>
              <a:off x="6099409" y="2128918"/>
              <a:ext cx="207963" cy="91679"/>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3" name="Freeform 252"/>
            <p:cNvSpPr>
              <a:spLocks/>
            </p:cNvSpPr>
            <p:nvPr>
              <p:custDataLst>
                <p:tags r:id="rId249"/>
              </p:custDataLst>
            </p:nvPr>
          </p:nvSpPr>
          <p:spPr bwMode="auto">
            <a:xfrm>
              <a:off x="6148622" y="2075340"/>
              <a:ext cx="225425" cy="94059"/>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4" name="Freeform 253"/>
            <p:cNvSpPr>
              <a:spLocks/>
            </p:cNvSpPr>
            <p:nvPr>
              <p:custDataLst>
                <p:tags r:id="rId250"/>
              </p:custDataLst>
            </p:nvPr>
          </p:nvSpPr>
          <p:spPr bwMode="auto">
            <a:xfrm>
              <a:off x="5754921" y="2087246"/>
              <a:ext cx="342900" cy="170259"/>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5" name="Freeform 254"/>
            <p:cNvSpPr>
              <a:spLocks/>
            </p:cNvSpPr>
            <p:nvPr>
              <p:custDataLst>
                <p:tags r:id="rId251"/>
              </p:custDataLst>
            </p:nvPr>
          </p:nvSpPr>
          <p:spPr bwMode="auto">
            <a:xfrm>
              <a:off x="4964346" y="2002712"/>
              <a:ext cx="107950" cy="111919"/>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6" name="Freeform 255"/>
            <p:cNvSpPr>
              <a:spLocks/>
            </p:cNvSpPr>
            <p:nvPr>
              <p:custDataLst>
                <p:tags r:id="rId252"/>
              </p:custDataLst>
            </p:nvPr>
          </p:nvSpPr>
          <p:spPr bwMode="auto">
            <a:xfrm>
              <a:off x="5011971" y="2083674"/>
              <a:ext cx="68262" cy="45244"/>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7" name="Freeform 256"/>
            <p:cNvSpPr>
              <a:spLocks/>
            </p:cNvSpPr>
            <p:nvPr>
              <p:custDataLst>
                <p:tags r:id="rId253"/>
              </p:custDataLst>
            </p:nvPr>
          </p:nvSpPr>
          <p:spPr bwMode="auto">
            <a:xfrm>
              <a:off x="5096109" y="2551591"/>
              <a:ext cx="411163" cy="45839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8" name="Freeform 257"/>
            <p:cNvSpPr>
              <a:spLocks/>
            </p:cNvSpPr>
            <p:nvPr>
              <p:custDataLst>
                <p:tags r:id="rId254"/>
              </p:custDataLst>
            </p:nvPr>
          </p:nvSpPr>
          <p:spPr bwMode="auto">
            <a:xfrm>
              <a:off x="5580297" y="2806384"/>
              <a:ext cx="244475" cy="32385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59" name="Freeform 258"/>
            <p:cNvSpPr>
              <a:spLocks/>
            </p:cNvSpPr>
            <p:nvPr>
              <p:custDataLst>
                <p:tags r:id="rId255"/>
              </p:custDataLst>
            </p:nvPr>
          </p:nvSpPr>
          <p:spPr bwMode="auto">
            <a:xfrm>
              <a:off x="5588233" y="2796859"/>
              <a:ext cx="38100" cy="44053"/>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60" name="Freeform 259"/>
            <p:cNvSpPr>
              <a:spLocks/>
            </p:cNvSpPr>
            <p:nvPr>
              <p:custDataLst>
                <p:tags r:id="rId256"/>
              </p:custDataLst>
            </p:nvPr>
          </p:nvSpPr>
          <p:spPr bwMode="auto">
            <a:xfrm>
              <a:off x="5386622" y="2730184"/>
              <a:ext cx="363537" cy="282178"/>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61" name="Line 359"/>
            <p:cNvSpPr>
              <a:spLocks noChangeShapeType="1"/>
            </p:cNvSpPr>
            <p:nvPr>
              <p:custDataLst>
                <p:tags r:id="rId257"/>
              </p:custDataLst>
            </p:nvPr>
          </p:nvSpPr>
          <p:spPr bwMode="auto">
            <a:xfrm flipH="1">
              <a:off x="2246546" y="3119518"/>
              <a:ext cx="4762" cy="595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262" name="Freeform 261"/>
            <p:cNvSpPr>
              <a:spLocks/>
            </p:cNvSpPr>
            <p:nvPr>
              <p:custDataLst>
                <p:tags r:id="rId258"/>
              </p:custDataLst>
            </p:nvPr>
          </p:nvSpPr>
          <p:spPr bwMode="auto">
            <a:xfrm>
              <a:off x="2246546" y="3125472"/>
              <a:ext cx="12700" cy="44053"/>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63" name="Freeform 262"/>
            <p:cNvSpPr>
              <a:spLocks/>
            </p:cNvSpPr>
            <p:nvPr>
              <p:custDataLst>
                <p:tags r:id="rId259"/>
              </p:custDataLst>
            </p:nvPr>
          </p:nvSpPr>
          <p:spPr bwMode="auto">
            <a:xfrm>
              <a:off x="2254484" y="3115946"/>
              <a:ext cx="4763" cy="42863"/>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264" name="Group 263"/>
            <p:cNvGrpSpPr>
              <a:grpSpLocks/>
            </p:cNvGrpSpPr>
            <p:nvPr>
              <p:custDataLst>
                <p:tags r:id="rId260"/>
              </p:custDataLst>
            </p:nvPr>
          </p:nvGrpSpPr>
          <p:grpSpPr bwMode="auto">
            <a:xfrm>
              <a:off x="2246546" y="3067131"/>
              <a:ext cx="417512" cy="151210"/>
              <a:chOff x="912" y="2626"/>
              <a:chExt cx="311" cy="127"/>
            </a:xfrm>
          </p:grpSpPr>
          <p:sp>
            <p:nvSpPr>
              <p:cNvPr id="451" name="Freeform 450"/>
              <p:cNvSpPr>
                <a:spLocks/>
              </p:cNvSpPr>
              <p:nvPr/>
            </p:nvSpPr>
            <p:spPr bwMode="auto">
              <a:xfrm>
                <a:off x="1110" y="2626"/>
                <a:ext cx="113" cy="127"/>
              </a:xfrm>
              <a:custGeom>
                <a:avLst/>
                <a:gdLst>
                  <a:gd name="T0" fmla="*/ 1 w 352"/>
                  <a:gd name="T1" fmla="*/ 0 h 387"/>
                  <a:gd name="T2" fmla="*/ 1 w 352"/>
                  <a:gd name="T3" fmla="*/ 0 h 387"/>
                  <a:gd name="T4" fmla="*/ 1 w 352"/>
                  <a:gd name="T5" fmla="*/ 0 h 387"/>
                  <a:gd name="T6" fmla="*/ 1 w 352"/>
                  <a:gd name="T7" fmla="*/ 0 h 387"/>
                  <a:gd name="T8" fmla="*/ 1 w 352"/>
                  <a:gd name="T9" fmla="*/ 0 h 387"/>
                  <a:gd name="T10" fmla="*/ 1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1 h 387"/>
                  <a:gd name="T26" fmla="*/ 0 w 352"/>
                  <a:gd name="T27" fmla="*/ 1 h 387"/>
                  <a:gd name="T28" fmla="*/ 0 w 352"/>
                  <a:gd name="T29" fmla="*/ 1 h 387"/>
                  <a:gd name="T30" fmla="*/ 0 w 352"/>
                  <a:gd name="T31" fmla="*/ 1 h 387"/>
                  <a:gd name="T32" fmla="*/ 0 w 352"/>
                  <a:gd name="T33" fmla="*/ 1 h 387"/>
                  <a:gd name="T34" fmla="*/ 0 w 352"/>
                  <a:gd name="T35" fmla="*/ 1 h 387"/>
                  <a:gd name="T36" fmla="*/ 0 w 352"/>
                  <a:gd name="T37" fmla="*/ 1 h 387"/>
                  <a:gd name="T38" fmla="*/ 0 w 352"/>
                  <a:gd name="T39" fmla="*/ 1 h 387"/>
                  <a:gd name="T40" fmla="*/ 0 w 352"/>
                  <a:gd name="T41" fmla="*/ 1 h 387"/>
                  <a:gd name="T42" fmla="*/ 0 w 352"/>
                  <a:gd name="T43" fmla="*/ 1 h 387"/>
                  <a:gd name="T44" fmla="*/ 0 w 352"/>
                  <a:gd name="T45" fmla="*/ 1 h 387"/>
                  <a:gd name="T46" fmla="*/ 0 w 352"/>
                  <a:gd name="T47" fmla="*/ 1 h 387"/>
                  <a:gd name="T48" fmla="*/ 0 w 352"/>
                  <a:gd name="T49" fmla="*/ 1 h 387"/>
                  <a:gd name="T50" fmla="*/ 0 w 352"/>
                  <a:gd name="T51" fmla="*/ 1 h 387"/>
                  <a:gd name="T52" fmla="*/ 0 w 352"/>
                  <a:gd name="T53" fmla="*/ 1 h 387"/>
                  <a:gd name="T54" fmla="*/ 0 w 352"/>
                  <a:gd name="T55" fmla="*/ 1 h 387"/>
                  <a:gd name="T56" fmla="*/ 0 w 352"/>
                  <a:gd name="T57" fmla="*/ 1 h 387"/>
                  <a:gd name="T58" fmla="*/ 0 w 352"/>
                  <a:gd name="T59" fmla="*/ 1 h 387"/>
                  <a:gd name="T60" fmla="*/ 0 w 352"/>
                  <a:gd name="T61" fmla="*/ 1 h 387"/>
                  <a:gd name="T62" fmla="*/ 0 w 352"/>
                  <a:gd name="T63" fmla="*/ 1 h 387"/>
                  <a:gd name="T64" fmla="*/ 0 w 352"/>
                  <a:gd name="T65" fmla="*/ 1 h 387"/>
                  <a:gd name="T66" fmla="*/ 1 w 352"/>
                  <a:gd name="T67" fmla="*/ 1 h 387"/>
                  <a:gd name="T68" fmla="*/ 1 w 352"/>
                  <a:gd name="T69" fmla="*/ 2 h 387"/>
                  <a:gd name="T70" fmla="*/ 1 w 352"/>
                  <a:gd name="T71" fmla="*/ 1 h 387"/>
                  <a:gd name="T72" fmla="*/ 1 w 352"/>
                  <a:gd name="T73" fmla="*/ 1 h 387"/>
                  <a:gd name="T74" fmla="*/ 1 w 352"/>
                  <a:gd name="T75" fmla="*/ 1 h 387"/>
                  <a:gd name="T76" fmla="*/ 1 w 352"/>
                  <a:gd name="T77" fmla="*/ 1 h 387"/>
                  <a:gd name="T78" fmla="*/ 1 w 352"/>
                  <a:gd name="T79" fmla="*/ 1 h 387"/>
                  <a:gd name="T80" fmla="*/ 1 w 352"/>
                  <a:gd name="T81" fmla="*/ 1 h 387"/>
                  <a:gd name="T82" fmla="*/ 1 w 352"/>
                  <a:gd name="T83" fmla="*/ 1 h 387"/>
                  <a:gd name="T84" fmla="*/ 1 w 352"/>
                  <a:gd name="T85" fmla="*/ 1 h 387"/>
                  <a:gd name="T86" fmla="*/ 1 w 352"/>
                  <a:gd name="T87" fmla="*/ 1 h 387"/>
                  <a:gd name="T88" fmla="*/ 1 w 352"/>
                  <a:gd name="T89" fmla="*/ 1 h 387"/>
                  <a:gd name="T90" fmla="*/ 1 w 352"/>
                  <a:gd name="T91" fmla="*/ 1 h 387"/>
                  <a:gd name="T92" fmla="*/ 1 w 352"/>
                  <a:gd name="T93" fmla="*/ 1 h 387"/>
                  <a:gd name="T94" fmla="*/ 1 w 352"/>
                  <a:gd name="T95" fmla="*/ 1 h 387"/>
                  <a:gd name="T96" fmla="*/ 1 w 352"/>
                  <a:gd name="T97" fmla="*/ 1 h 387"/>
                  <a:gd name="T98" fmla="*/ 1 w 352"/>
                  <a:gd name="T99" fmla="*/ 1 h 387"/>
                  <a:gd name="T100" fmla="*/ 1 w 352"/>
                  <a:gd name="T101" fmla="*/ 0 h 387"/>
                  <a:gd name="T102" fmla="*/ 1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2" name="Freeform 451"/>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3" name="Freeform 452"/>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265" name="Freeform 264"/>
            <p:cNvSpPr>
              <a:spLocks/>
            </p:cNvSpPr>
            <p:nvPr>
              <p:custDataLst>
                <p:tags r:id="rId261"/>
              </p:custDataLst>
            </p:nvPr>
          </p:nvSpPr>
          <p:spPr bwMode="auto">
            <a:xfrm>
              <a:off x="5894621" y="3605292"/>
              <a:ext cx="19050" cy="44054"/>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66" name="Freeform 265"/>
            <p:cNvSpPr>
              <a:spLocks/>
            </p:cNvSpPr>
            <p:nvPr>
              <p:custDataLst>
                <p:tags r:id="rId262"/>
              </p:custDataLst>
            </p:nvPr>
          </p:nvSpPr>
          <p:spPr bwMode="auto">
            <a:xfrm>
              <a:off x="5866046" y="3625534"/>
              <a:ext cx="23812" cy="42863"/>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267" name="Group 266"/>
            <p:cNvGrpSpPr>
              <a:grpSpLocks/>
            </p:cNvGrpSpPr>
            <p:nvPr>
              <p:custDataLst>
                <p:tags r:id="rId263"/>
              </p:custDataLst>
            </p:nvPr>
          </p:nvGrpSpPr>
          <p:grpSpPr bwMode="auto">
            <a:xfrm>
              <a:off x="5707297" y="3244534"/>
              <a:ext cx="168275" cy="77390"/>
              <a:chOff x="3481" y="2773"/>
              <a:chExt cx="125" cy="65"/>
            </a:xfrm>
          </p:grpSpPr>
          <p:sp>
            <p:nvSpPr>
              <p:cNvPr id="440" name="Freeform 43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42" name="Freeform 441"/>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3" name="Freeform 442"/>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4" name="Freeform 443"/>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446" name="Freeform 445"/>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7" name="Freeform 44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8" name="Freeform 447"/>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49" name="Freeform 448"/>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50" name="Freeform 449"/>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268" name="Freeform 267"/>
            <p:cNvSpPr>
              <a:spLocks/>
            </p:cNvSpPr>
            <p:nvPr>
              <p:custDataLst>
                <p:tags r:id="rId264"/>
              </p:custDataLst>
            </p:nvPr>
          </p:nvSpPr>
          <p:spPr bwMode="auto">
            <a:xfrm>
              <a:off x="4835758" y="3238581"/>
              <a:ext cx="319088" cy="28456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69" name="Freeform 268"/>
            <p:cNvSpPr>
              <a:spLocks/>
            </p:cNvSpPr>
            <p:nvPr>
              <p:custDataLst>
                <p:tags r:id="rId265"/>
              </p:custDataLst>
            </p:nvPr>
          </p:nvSpPr>
          <p:spPr bwMode="auto">
            <a:xfrm>
              <a:off x="4846872" y="3218340"/>
              <a:ext cx="15875" cy="45244"/>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0" name="Freeform 269"/>
            <p:cNvSpPr>
              <a:spLocks/>
            </p:cNvSpPr>
            <p:nvPr>
              <p:custDataLst>
                <p:tags r:id="rId266"/>
              </p:custDataLst>
            </p:nvPr>
          </p:nvSpPr>
          <p:spPr bwMode="auto">
            <a:xfrm>
              <a:off x="4948472" y="3625534"/>
              <a:ext cx="396875" cy="298847"/>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1" name="Freeform 270"/>
            <p:cNvSpPr>
              <a:spLocks/>
            </p:cNvSpPr>
            <p:nvPr>
              <p:custDataLst>
                <p:tags r:id="rId267"/>
              </p:custDataLst>
            </p:nvPr>
          </p:nvSpPr>
          <p:spPr bwMode="auto">
            <a:xfrm>
              <a:off x="5096109" y="2551591"/>
              <a:ext cx="411163" cy="45839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272" name="Group 271"/>
            <p:cNvGrpSpPr>
              <a:grpSpLocks/>
            </p:cNvGrpSpPr>
            <p:nvPr>
              <p:custDataLst>
                <p:tags r:id="rId268"/>
              </p:custDataLst>
            </p:nvPr>
          </p:nvGrpSpPr>
          <p:grpSpPr bwMode="auto">
            <a:xfrm>
              <a:off x="3880084" y="2702799"/>
              <a:ext cx="80963" cy="61913"/>
              <a:chOff x="2352" y="2343"/>
              <a:chExt cx="65" cy="53"/>
            </a:xfrm>
          </p:grpSpPr>
          <p:sp>
            <p:nvSpPr>
              <p:cNvPr id="434" name="Freeform 433"/>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35" name="Freeform 434"/>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36" name="Freeform 435"/>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37" name="Freeform 436"/>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38" name="Freeform 437"/>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439" name="Freeform 438"/>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grpSp>
          <p:nvGrpSpPr>
            <p:cNvPr id="273" name="Group 272"/>
            <p:cNvGrpSpPr>
              <a:grpSpLocks/>
            </p:cNvGrpSpPr>
            <p:nvPr>
              <p:custDataLst>
                <p:tags r:id="rId269"/>
              </p:custDataLst>
            </p:nvPr>
          </p:nvGrpSpPr>
          <p:grpSpPr bwMode="auto">
            <a:xfrm>
              <a:off x="1725845" y="1247856"/>
              <a:ext cx="1897063" cy="850106"/>
              <a:chOff x="527" y="1110"/>
              <a:chExt cx="1410" cy="709"/>
            </a:xfrm>
            <a:solidFill>
              <a:srgbClr val="BC5721"/>
            </a:solidFill>
          </p:grpSpPr>
          <p:sp>
            <p:nvSpPr>
              <p:cNvPr id="392" name="Freeform 391"/>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3" name="Freeform 392"/>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4" name="Freeform 393"/>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5" name="Freeform 394"/>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6" name="Freeform 395"/>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7" name="Freeform 396"/>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8" name="Freeform 397"/>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399" name="Freeform 398"/>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0" name="Freeform 399"/>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1" name="Freeform 400"/>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2" name="Freeform 401"/>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3" name="Freeform 402"/>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4" name="Freeform 403"/>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5" name="Freeform 404"/>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6" name="Freeform 405"/>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7" name="Freeform 406"/>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8" name="Freeform 407"/>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09" name="Freeform 408"/>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0" name="Freeform 409"/>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1" name="Freeform 410"/>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2" name="Freeform 411"/>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3" name="Freeform 412"/>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4" name="Freeform 413"/>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5" name="Freeform 414"/>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6" name="Freeform 415"/>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7" name="Freeform 416"/>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8" name="Freeform 417"/>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19" name="Freeform 418"/>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0" name="Freeform 419"/>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1" name="Freeform 420"/>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2" name="Freeform 421"/>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3" name="Freeform 422"/>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4" name="Freeform 423"/>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5" name="Freeform 424"/>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6" name="Freeform 425"/>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7" name="Freeform 426"/>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8" name="Freeform 427"/>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29" name="Freeform 428"/>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30" name="Freeform 429"/>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31" name="Freeform 430"/>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32" name="Freeform 431"/>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sp>
            <p:nvSpPr>
              <p:cNvPr id="433" name="Freeform 432"/>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defTabSz="457200">
                  <a:defRPr/>
                </a:pPr>
                <a:endParaRPr lang="en-US" baseline="-25000">
                  <a:solidFill>
                    <a:prstClr val="black"/>
                  </a:solidFill>
                </a:endParaRPr>
              </a:p>
            </p:txBody>
          </p:sp>
        </p:grpSp>
        <p:sp>
          <p:nvSpPr>
            <p:cNvPr id="274" name="Freeform 273"/>
            <p:cNvSpPr>
              <a:spLocks/>
            </p:cNvSpPr>
            <p:nvPr>
              <p:custDataLst>
                <p:tags r:id="rId270"/>
              </p:custDataLst>
            </p:nvPr>
          </p:nvSpPr>
          <p:spPr bwMode="auto">
            <a:xfrm>
              <a:off x="5296133" y="3006409"/>
              <a:ext cx="127000" cy="119063"/>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5" name="Freeform 274"/>
            <p:cNvSpPr>
              <a:spLocks/>
            </p:cNvSpPr>
            <p:nvPr>
              <p:custDataLst>
                <p:tags r:id="rId271"/>
              </p:custDataLst>
            </p:nvPr>
          </p:nvSpPr>
          <p:spPr bwMode="auto">
            <a:xfrm>
              <a:off x="5402496" y="3119518"/>
              <a:ext cx="6350" cy="42863"/>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6" name="Freeform 275"/>
            <p:cNvSpPr>
              <a:spLocks/>
            </p:cNvSpPr>
            <p:nvPr>
              <p:custDataLst>
                <p:tags r:id="rId272"/>
              </p:custDataLst>
            </p:nvPr>
          </p:nvSpPr>
          <p:spPr bwMode="auto">
            <a:xfrm>
              <a:off x="4892908" y="2546827"/>
              <a:ext cx="249238" cy="375047"/>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7" name="Freeform 276"/>
            <p:cNvSpPr>
              <a:spLocks/>
            </p:cNvSpPr>
            <p:nvPr>
              <p:custDataLst>
                <p:tags r:id="rId273"/>
              </p:custDataLst>
            </p:nvPr>
          </p:nvSpPr>
          <p:spPr bwMode="auto">
            <a:xfrm>
              <a:off x="4569059" y="2083674"/>
              <a:ext cx="15875" cy="42863"/>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8" name="Freeform 277"/>
            <p:cNvSpPr>
              <a:spLocks/>
            </p:cNvSpPr>
            <p:nvPr>
              <p:custDataLst>
                <p:tags r:id="rId274"/>
              </p:custDataLst>
            </p:nvPr>
          </p:nvSpPr>
          <p:spPr bwMode="auto">
            <a:xfrm>
              <a:off x="5578709" y="2093199"/>
              <a:ext cx="123825" cy="82154"/>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79" name="Freeform 278"/>
            <p:cNvSpPr>
              <a:spLocks/>
            </p:cNvSpPr>
            <p:nvPr>
              <p:custDataLst>
                <p:tags r:id="rId275"/>
              </p:custDataLst>
            </p:nvPr>
          </p:nvSpPr>
          <p:spPr bwMode="auto">
            <a:xfrm>
              <a:off x="5045308" y="1772921"/>
              <a:ext cx="209550" cy="113109"/>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0" name="Freeform 279"/>
            <p:cNvSpPr>
              <a:spLocks/>
            </p:cNvSpPr>
            <p:nvPr>
              <p:custDataLst>
                <p:tags r:id="rId276"/>
              </p:custDataLst>
            </p:nvPr>
          </p:nvSpPr>
          <p:spPr bwMode="auto">
            <a:xfrm>
              <a:off x="4902433" y="2021762"/>
              <a:ext cx="82550" cy="65485"/>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1" name="Freeform 280"/>
            <p:cNvSpPr>
              <a:spLocks/>
            </p:cNvSpPr>
            <p:nvPr>
              <p:custDataLst>
                <p:tags r:id="rId277"/>
              </p:custDataLst>
            </p:nvPr>
          </p:nvSpPr>
          <p:spPr bwMode="auto">
            <a:xfrm>
              <a:off x="3267308" y="3099277"/>
              <a:ext cx="82550" cy="42863"/>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2" name="Freeform 281"/>
            <p:cNvSpPr>
              <a:spLocks/>
            </p:cNvSpPr>
            <p:nvPr>
              <p:custDataLst>
                <p:tags r:id="rId278"/>
              </p:custDataLst>
            </p:nvPr>
          </p:nvSpPr>
          <p:spPr bwMode="auto">
            <a:xfrm>
              <a:off x="5061183" y="2047955"/>
              <a:ext cx="133350" cy="72629"/>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BC4E21"/>
            </a:solidFill>
            <a:ln w="9525">
              <a:solidFill>
                <a:srgbClr val="FFFFFF"/>
              </a:solidFill>
              <a:round/>
              <a:headEnd/>
              <a:tailEnd/>
            </a:ln>
          </p:spPr>
          <p:txBody>
            <a:bodyPr/>
            <a:lstStyle/>
            <a:p>
              <a:pPr defTabSz="457200"/>
              <a:endParaRPr lang="en-US" baseline="-25000">
                <a:solidFill>
                  <a:prstClr val="black"/>
                </a:solidFill>
              </a:endParaRPr>
            </a:p>
          </p:txBody>
        </p:sp>
        <p:sp>
          <p:nvSpPr>
            <p:cNvPr id="283" name="Freeform 282"/>
            <p:cNvSpPr>
              <a:spLocks/>
            </p:cNvSpPr>
            <p:nvPr>
              <p:custDataLst>
                <p:tags r:id="rId279"/>
              </p:custDataLst>
            </p:nvPr>
          </p:nvSpPr>
          <p:spPr bwMode="auto">
            <a:xfrm>
              <a:off x="4416658" y="2743280"/>
              <a:ext cx="177800" cy="123825"/>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4" name="Freeform 283"/>
            <p:cNvSpPr>
              <a:spLocks/>
            </p:cNvSpPr>
            <p:nvPr>
              <p:custDataLst>
                <p:tags r:id="rId280"/>
              </p:custDataLst>
            </p:nvPr>
          </p:nvSpPr>
          <p:spPr bwMode="auto">
            <a:xfrm>
              <a:off x="4764322" y="2794477"/>
              <a:ext cx="193675" cy="261938"/>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5" name="Freeform 284"/>
            <p:cNvSpPr>
              <a:spLocks/>
            </p:cNvSpPr>
            <p:nvPr>
              <p:custDataLst>
                <p:tags r:id="rId281"/>
              </p:custDataLst>
            </p:nvPr>
          </p:nvSpPr>
          <p:spPr bwMode="auto">
            <a:xfrm>
              <a:off x="7215421" y="2613502"/>
              <a:ext cx="55562" cy="42863"/>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6" name="Freeform 285"/>
            <p:cNvSpPr>
              <a:spLocks/>
            </p:cNvSpPr>
            <p:nvPr>
              <p:custDataLst>
                <p:tags r:id="rId282"/>
              </p:custDataLst>
            </p:nvPr>
          </p:nvSpPr>
          <p:spPr bwMode="auto">
            <a:xfrm>
              <a:off x="2570396" y="2811147"/>
              <a:ext cx="298450" cy="392906"/>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7" name="Freeform 286"/>
            <p:cNvSpPr>
              <a:spLocks/>
            </p:cNvSpPr>
            <p:nvPr>
              <p:custDataLst>
                <p:tags r:id="rId283"/>
              </p:custDataLst>
            </p:nvPr>
          </p:nvSpPr>
          <p:spPr bwMode="auto">
            <a:xfrm>
              <a:off x="4823059" y="3012361"/>
              <a:ext cx="187325" cy="205979"/>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8" name="Freeform 287"/>
            <p:cNvSpPr>
              <a:spLocks/>
            </p:cNvSpPr>
            <p:nvPr>
              <p:custDataLst>
                <p:tags r:id="rId284"/>
              </p:custDataLst>
            </p:nvPr>
          </p:nvSpPr>
          <p:spPr bwMode="auto">
            <a:xfrm>
              <a:off x="4854808" y="1994378"/>
              <a:ext cx="127000" cy="85725"/>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89" name="Freeform 288"/>
            <p:cNvSpPr>
              <a:spLocks/>
            </p:cNvSpPr>
            <p:nvPr>
              <p:custDataLst>
                <p:tags r:id="rId285"/>
              </p:custDataLst>
            </p:nvPr>
          </p:nvSpPr>
          <p:spPr bwMode="auto">
            <a:xfrm>
              <a:off x="4805597" y="1888412"/>
              <a:ext cx="168275" cy="58341"/>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0" name="Freeform 289"/>
            <p:cNvSpPr>
              <a:spLocks/>
            </p:cNvSpPr>
            <p:nvPr>
              <p:custDataLst>
                <p:tags r:id="rId286"/>
              </p:custDataLst>
            </p:nvPr>
          </p:nvSpPr>
          <p:spPr bwMode="auto">
            <a:xfrm>
              <a:off x="4769084" y="1780065"/>
              <a:ext cx="30163" cy="45244"/>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1" name="Freeform 290"/>
            <p:cNvSpPr>
              <a:spLocks/>
            </p:cNvSpPr>
            <p:nvPr>
              <p:custDataLst>
                <p:tags r:id="rId287"/>
              </p:custDataLst>
            </p:nvPr>
          </p:nvSpPr>
          <p:spPr bwMode="auto">
            <a:xfrm>
              <a:off x="4740508" y="1783636"/>
              <a:ext cx="25400" cy="44054"/>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2" name="Freeform 291"/>
            <p:cNvSpPr>
              <a:spLocks/>
            </p:cNvSpPr>
            <p:nvPr>
              <p:custDataLst>
                <p:tags r:id="rId288"/>
              </p:custDataLst>
            </p:nvPr>
          </p:nvSpPr>
          <p:spPr bwMode="auto">
            <a:xfrm>
              <a:off x="4710347" y="1743155"/>
              <a:ext cx="52387" cy="58341"/>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3" name="Freeform 292"/>
            <p:cNvSpPr>
              <a:spLocks/>
            </p:cNvSpPr>
            <p:nvPr>
              <p:custDataLst>
                <p:tags r:id="rId289"/>
              </p:custDataLst>
            </p:nvPr>
          </p:nvSpPr>
          <p:spPr bwMode="auto">
            <a:xfrm>
              <a:off x="5142146" y="2346803"/>
              <a:ext cx="273050" cy="230981"/>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4" name="Freeform 293"/>
            <p:cNvSpPr>
              <a:spLocks/>
            </p:cNvSpPr>
            <p:nvPr>
              <p:custDataLst>
                <p:tags r:id="rId290"/>
              </p:custDataLst>
            </p:nvPr>
          </p:nvSpPr>
          <p:spPr bwMode="auto">
            <a:xfrm>
              <a:off x="4737334" y="2072959"/>
              <a:ext cx="17463" cy="42863"/>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5" name="Freeform 294"/>
            <p:cNvSpPr>
              <a:spLocks/>
            </p:cNvSpPr>
            <p:nvPr>
              <p:custDataLst>
                <p:tags r:id="rId291"/>
              </p:custDataLst>
            </p:nvPr>
          </p:nvSpPr>
          <p:spPr bwMode="auto">
            <a:xfrm>
              <a:off x="4376972" y="1886030"/>
              <a:ext cx="295275" cy="204788"/>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BC5721"/>
            </a:solidFill>
            <a:ln w="9525">
              <a:solidFill>
                <a:srgbClr val="FFFFFF"/>
              </a:solidFill>
              <a:round/>
              <a:headEnd/>
              <a:tailEnd/>
            </a:ln>
          </p:spPr>
          <p:txBody>
            <a:bodyPr/>
            <a:lstStyle/>
            <a:p>
              <a:pPr defTabSz="457200"/>
              <a:endParaRPr lang="en-US" baseline="-25000">
                <a:solidFill>
                  <a:prstClr val="black"/>
                </a:solidFill>
              </a:endParaRPr>
            </a:p>
          </p:txBody>
        </p:sp>
        <p:sp>
          <p:nvSpPr>
            <p:cNvPr id="296" name="Freeform 295"/>
            <p:cNvSpPr>
              <a:spLocks/>
            </p:cNvSpPr>
            <p:nvPr>
              <p:custDataLst>
                <p:tags r:id="rId292"/>
              </p:custDataLst>
            </p:nvPr>
          </p:nvSpPr>
          <p:spPr bwMode="auto">
            <a:xfrm>
              <a:off x="5458059" y="2062243"/>
              <a:ext cx="150813" cy="61913"/>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7" name="Freeform 296"/>
            <p:cNvSpPr>
              <a:spLocks/>
            </p:cNvSpPr>
            <p:nvPr>
              <p:custDataLst>
                <p:tags r:id="rId293"/>
              </p:custDataLst>
            </p:nvPr>
          </p:nvSpPr>
          <p:spPr bwMode="auto">
            <a:xfrm>
              <a:off x="5007208" y="2107486"/>
              <a:ext cx="147638" cy="129779"/>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8" name="Freeform 297"/>
            <p:cNvSpPr>
              <a:spLocks/>
            </p:cNvSpPr>
            <p:nvPr>
              <p:custDataLst>
                <p:tags r:id="rId294"/>
              </p:custDataLst>
            </p:nvPr>
          </p:nvSpPr>
          <p:spPr bwMode="auto">
            <a:xfrm>
              <a:off x="5091346" y="2251552"/>
              <a:ext cx="69850" cy="42863"/>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299" name="Freeform 298"/>
            <p:cNvSpPr>
              <a:spLocks/>
            </p:cNvSpPr>
            <p:nvPr>
              <p:custDataLst>
                <p:tags r:id="rId295"/>
              </p:custDataLst>
            </p:nvPr>
          </p:nvSpPr>
          <p:spPr bwMode="auto">
            <a:xfrm>
              <a:off x="4170597" y="2800430"/>
              <a:ext cx="187325" cy="11906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0" name="Freeform 299"/>
            <p:cNvSpPr>
              <a:spLocks/>
            </p:cNvSpPr>
            <p:nvPr>
              <p:custDataLst>
                <p:tags r:id="rId296"/>
              </p:custDataLst>
            </p:nvPr>
          </p:nvSpPr>
          <p:spPr bwMode="auto">
            <a:xfrm>
              <a:off x="6209471" y="2233754"/>
              <a:ext cx="704240" cy="675501"/>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 name="connsiteX0" fmla="*/ 2415 w 10000"/>
                <a:gd name="connsiteY0" fmla="*/ 0 h 10000"/>
                <a:gd name="connsiteX1" fmla="*/ 2509 w 10000"/>
                <a:gd name="connsiteY1" fmla="*/ 96 h 10000"/>
                <a:gd name="connsiteX2" fmla="*/ 2604 w 10000"/>
                <a:gd name="connsiteY2" fmla="*/ 198 h 10000"/>
                <a:gd name="connsiteX3" fmla="*/ 2679 w 10000"/>
                <a:gd name="connsiteY3" fmla="*/ 287 h 10000"/>
                <a:gd name="connsiteX4" fmla="*/ 2742 w 10000"/>
                <a:gd name="connsiteY4" fmla="*/ 377 h 10000"/>
                <a:gd name="connsiteX5" fmla="*/ 2811 w 10000"/>
                <a:gd name="connsiteY5" fmla="*/ 455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679 w 10000"/>
                <a:gd name="connsiteY3" fmla="*/ 287 h 10000"/>
                <a:gd name="connsiteX4" fmla="*/ 2742 w 10000"/>
                <a:gd name="connsiteY4" fmla="*/ 377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679 w 10000"/>
                <a:gd name="connsiteY3" fmla="*/ 287 h 10000"/>
                <a:gd name="connsiteX4" fmla="*/ 2742 w 10000"/>
                <a:gd name="connsiteY4" fmla="*/ 377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679 w 10000"/>
                <a:gd name="connsiteY3" fmla="*/ 287 h 10000"/>
                <a:gd name="connsiteX4" fmla="*/ 2776 w 10000"/>
                <a:gd name="connsiteY4" fmla="*/ 241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679 w 10000"/>
                <a:gd name="connsiteY3" fmla="*/ 287 h 10000"/>
                <a:gd name="connsiteX4" fmla="*/ 2914 w 10000"/>
                <a:gd name="connsiteY4" fmla="*/ 159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817 w 10000"/>
                <a:gd name="connsiteY3" fmla="*/ 151 h 10000"/>
                <a:gd name="connsiteX4" fmla="*/ 2914 w 10000"/>
                <a:gd name="connsiteY4" fmla="*/ 159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346 w 10000"/>
                <a:gd name="connsiteY574" fmla="*/ 126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604 w 10000"/>
                <a:gd name="connsiteY2" fmla="*/ 198 h 10000"/>
                <a:gd name="connsiteX3" fmla="*/ 2817 w 10000"/>
                <a:gd name="connsiteY3" fmla="*/ 151 h 10000"/>
                <a:gd name="connsiteX4" fmla="*/ 2914 w 10000"/>
                <a:gd name="connsiteY4" fmla="*/ 159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415 w 10000"/>
                <a:gd name="connsiteY574" fmla="*/ 17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776 w 10000"/>
                <a:gd name="connsiteY2" fmla="*/ 144 h 10000"/>
                <a:gd name="connsiteX3" fmla="*/ 2817 w 10000"/>
                <a:gd name="connsiteY3" fmla="*/ 151 h 10000"/>
                <a:gd name="connsiteX4" fmla="*/ 2914 w 10000"/>
                <a:gd name="connsiteY4" fmla="*/ 159 h 10000"/>
                <a:gd name="connsiteX5" fmla="*/ 3121 w 10000"/>
                <a:gd name="connsiteY5" fmla="*/ 264 h 10000"/>
                <a:gd name="connsiteX6" fmla="*/ 2880 w 10000"/>
                <a:gd name="connsiteY6" fmla="*/ 539 h 10000"/>
                <a:gd name="connsiteX7" fmla="*/ 2911 w 10000"/>
                <a:gd name="connsiteY7" fmla="*/ 575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415 w 10000"/>
                <a:gd name="connsiteY574" fmla="*/ 17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776 w 10000"/>
                <a:gd name="connsiteY2" fmla="*/ 144 h 10000"/>
                <a:gd name="connsiteX3" fmla="*/ 2817 w 10000"/>
                <a:gd name="connsiteY3" fmla="*/ 151 h 10000"/>
                <a:gd name="connsiteX4" fmla="*/ 2914 w 10000"/>
                <a:gd name="connsiteY4" fmla="*/ 159 h 10000"/>
                <a:gd name="connsiteX5" fmla="*/ 3121 w 10000"/>
                <a:gd name="connsiteY5" fmla="*/ 264 h 10000"/>
                <a:gd name="connsiteX6" fmla="*/ 2880 w 10000"/>
                <a:gd name="connsiteY6" fmla="*/ 539 h 10000"/>
                <a:gd name="connsiteX7" fmla="*/ 3152 w 10000"/>
                <a:gd name="connsiteY7" fmla="*/ 521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415 w 10000"/>
                <a:gd name="connsiteY574" fmla="*/ 17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776 w 10000"/>
                <a:gd name="connsiteY2" fmla="*/ 144 h 10000"/>
                <a:gd name="connsiteX3" fmla="*/ 2817 w 10000"/>
                <a:gd name="connsiteY3" fmla="*/ 151 h 10000"/>
                <a:gd name="connsiteX4" fmla="*/ 2914 w 10000"/>
                <a:gd name="connsiteY4" fmla="*/ 159 h 10000"/>
                <a:gd name="connsiteX5" fmla="*/ 3121 w 10000"/>
                <a:gd name="connsiteY5" fmla="*/ 264 h 10000"/>
                <a:gd name="connsiteX6" fmla="*/ 3086 w 10000"/>
                <a:gd name="connsiteY6" fmla="*/ 485 h 10000"/>
                <a:gd name="connsiteX7" fmla="*/ 3152 w 10000"/>
                <a:gd name="connsiteY7" fmla="*/ 521 h 10000"/>
                <a:gd name="connsiteX8" fmla="*/ 3093 w 10000"/>
                <a:gd name="connsiteY8" fmla="*/ 551 h 10000"/>
                <a:gd name="connsiteX9" fmla="*/ 2992 w 10000"/>
                <a:gd name="connsiteY9" fmla="*/ 641 h 10000"/>
                <a:gd name="connsiteX10" fmla="*/ 3043 w 10000"/>
                <a:gd name="connsiteY10" fmla="*/ 665 h 10000"/>
                <a:gd name="connsiteX11" fmla="*/ 3087 w 10000"/>
                <a:gd name="connsiteY11" fmla="*/ 707 h 10000"/>
                <a:gd name="connsiteX12" fmla="*/ 3130 w 10000"/>
                <a:gd name="connsiteY12" fmla="*/ 754 h 10000"/>
                <a:gd name="connsiteX13" fmla="*/ 3174 w 10000"/>
                <a:gd name="connsiteY13" fmla="*/ 802 h 10000"/>
                <a:gd name="connsiteX14" fmla="*/ 3212 w 10000"/>
                <a:gd name="connsiteY14" fmla="*/ 862 h 10000"/>
                <a:gd name="connsiteX15" fmla="*/ 3256 w 10000"/>
                <a:gd name="connsiteY15" fmla="*/ 916 h 10000"/>
                <a:gd name="connsiteX16" fmla="*/ 3281 w 10000"/>
                <a:gd name="connsiteY16" fmla="*/ 976 h 10000"/>
                <a:gd name="connsiteX17" fmla="*/ 3312 w 10000"/>
                <a:gd name="connsiteY17" fmla="*/ 1042 h 10000"/>
                <a:gd name="connsiteX18" fmla="*/ 3331 w 10000"/>
                <a:gd name="connsiteY18" fmla="*/ 1108 h 10000"/>
                <a:gd name="connsiteX19" fmla="*/ 3043 w 10000"/>
                <a:gd name="connsiteY19" fmla="*/ 1108 h 10000"/>
                <a:gd name="connsiteX20" fmla="*/ 3043 w 10000"/>
                <a:gd name="connsiteY20" fmla="*/ 1293 h 10000"/>
                <a:gd name="connsiteX21" fmla="*/ 3074 w 10000"/>
                <a:gd name="connsiteY21" fmla="*/ 1371 h 10000"/>
                <a:gd name="connsiteX22" fmla="*/ 3118 w 10000"/>
                <a:gd name="connsiteY22" fmla="*/ 1437 h 10000"/>
                <a:gd name="connsiteX23" fmla="*/ 3168 w 10000"/>
                <a:gd name="connsiteY23" fmla="*/ 1497 h 10000"/>
                <a:gd name="connsiteX24" fmla="*/ 3225 w 10000"/>
                <a:gd name="connsiteY24" fmla="*/ 1539 h 10000"/>
                <a:gd name="connsiteX25" fmla="*/ 3281 w 10000"/>
                <a:gd name="connsiteY25" fmla="*/ 1581 h 10000"/>
                <a:gd name="connsiteX26" fmla="*/ 3350 w 10000"/>
                <a:gd name="connsiteY26" fmla="*/ 1611 h 10000"/>
                <a:gd name="connsiteX27" fmla="*/ 3413 w 10000"/>
                <a:gd name="connsiteY27" fmla="*/ 1641 h 10000"/>
                <a:gd name="connsiteX28" fmla="*/ 3488 w 10000"/>
                <a:gd name="connsiteY28" fmla="*/ 1665 h 10000"/>
                <a:gd name="connsiteX29" fmla="*/ 3626 w 10000"/>
                <a:gd name="connsiteY29" fmla="*/ 1719 h 10000"/>
                <a:gd name="connsiteX30" fmla="*/ 3764 w 10000"/>
                <a:gd name="connsiteY30" fmla="*/ 1772 h 10000"/>
                <a:gd name="connsiteX31" fmla="*/ 3827 w 10000"/>
                <a:gd name="connsiteY31" fmla="*/ 1808 h 10000"/>
                <a:gd name="connsiteX32" fmla="*/ 3890 w 10000"/>
                <a:gd name="connsiteY32" fmla="*/ 1856 h 10000"/>
                <a:gd name="connsiteX33" fmla="*/ 3946 w 10000"/>
                <a:gd name="connsiteY33" fmla="*/ 1904 h 10000"/>
                <a:gd name="connsiteX34" fmla="*/ 4003 w 10000"/>
                <a:gd name="connsiteY34" fmla="*/ 1958 h 10000"/>
                <a:gd name="connsiteX35" fmla="*/ 3959 w 10000"/>
                <a:gd name="connsiteY35" fmla="*/ 2515 h 10000"/>
                <a:gd name="connsiteX36" fmla="*/ 4034 w 10000"/>
                <a:gd name="connsiteY36" fmla="*/ 2569 h 10000"/>
                <a:gd name="connsiteX37" fmla="*/ 4141 w 10000"/>
                <a:gd name="connsiteY37" fmla="*/ 2635 h 10000"/>
                <a:gd name="connsiteX38" fmla="*/ 4260 w 10000"/>
                <a:gd name="connsiteY38" fmla="*/ 2695 h 10000"/>
                <a:gd name="connsiteX39" fmla="*/ 4398 w 10000"/>
                <a:gd name="connsiteY39" fmla="*/ 2749 h 10000"/>
                <a:gd name="connsiteX40" fmla="*/ 4536 w 10000"/>
                <a:gd name="connsiteY40" fmla="*/ 2802 h 10000"/>
                <a:gd name="connsiteX41" fmla="*/ 4668 w 10000"/>
                <a:gd name="connsiteY41" fmla="*/ 2844 h 10000"/>
                <a:gd name="connsiteX42" fmla="*/ 4724 w 10000"/>
                <a:gd name="connsiteY42" fmla="*/ 2862 h 10000"/>
                <a:gd name="connsiteX43" fmla="*/ 4780 w 10000"/>
                <a:gd name="connsiteY43" fmla="*/ 2874 h 10000"/>
                <a:gd name="connsiteX44" fmla="*/ 4831 w 10000"/>
                <a:gd name="connsiteY44" fmla="*/ 2880 h 10000"/>
                <a:gd name="connsiteX45" fmla="*/ 4875 w 10000"/>
                <a:gd name="connsiteY45" fmla="*/ 2880 h 10000"/>
                <a:gd name="connsiteX46" fmla="*/ 4887 w 10000"/>
                <a:gd name="connsiteY46" fmla="*/ 2922 h 10000"/>
                <a:gd name="connsiteX47" fmla="*/ 4918 w 10000"/>
                <a:gd name="connsiteY47" fmla="*/ 2958 h 10000"/>
                <a:gd name="connsiteX48" fmla="*/ 4950 w 10000"/>
                <a:gd name="connsiteY48" fmla="*/ 2976 h 10000"/>
                <a:gd name="connsiteX49" fmla="*/ 4987 w 10000"/>
                <a:gd name="connsiteY49" fmla="*/ 2988 h 10000"/>
                <a:gd name="connsiteX50" fmla="*/ 5019 w 10000"/>
                <a:gd name="connsiteY50" fmla="*/ 3000 h 10000"/>
                <a:gd name="connsiteX51" fmla="*/ 5063 w 10000"/>
                <a:gd name="connsiteY51" fmla="*/ 3000 h 10000"/>
                <a:gd name="connsiteX52" fmla="*/ 5107 w 10000"/>
                <a:gd name="connsiteY52" fmla="*/ 2994 h 10000"/>
                <a:gd name="connsiteX53" fmla="*/ 5157 w 10000"/>
                <a:gd name="connsiteY53" fmla="*/ 2988 h 10000"/>
                <a:gd name="connsiteX54" fmla="*/ 5245 w 10000"/>
                <a:gd name="connsiteY54" fmla="*/ 2970 h 10000"/>
                <a:gd name="connsiteX55" fmla="*/ 5345 w 10000"/>
                <a:gd name="connsiteY55" fmla="*/ 2946 h 10000"/>
                <a:gd name="connsiteX56" fmla="*/ 5383 w 10000"/>
                <a:gd name="connsiteY56" fmla="*/ 2946 h 10000"/>
                <a:gd name="connsiteX57" fmla="*/ 5427 w 10000"/>
                <a:gd name="connsiteY57" fmla="*/ 2940 h 10000"/>
                <a:gd name="connsiteX58" fmla="*/ 5464 w 10000"/>
                <a:gd name="connsiteY58" fmla="*/ 2946 h 10000"/>
                <a:gd name="connsiteX59" fmla="*/ 5502 w 10000"/>
                <a:gd name="connsiteY59" fmla="*/ 2952 h 10000"/>
                <a:gd name="connsiteX60" fmla="*/ 5558 w 10000"/>
                <a:gd name="connsiteY60" fmla="*/ 2988 h 10000"/>
                <a:gd name="connsiteX61" fmla="*/ 5596 w 10000"/>
                <a:gd name="connsiteY61" fmla="*/ 3018 h 10000"/>
                <a:gd name="connsiteX62" fmla="*/ 5634 w 10000"/>
                <a:gd name="connsiteY62" fmla="*/ 3060 h 10000"/>
                <a:gd name="connsiteX63" fmla="*/ 5665 w 10000"/>
                <a:gd name="connsiteY63" fmla="*/ 3096 h 10000"/>
                <a:gd name="connsiteX64" fmla="*/ 5696 w 10000"/>
                <a:gd name="connsiteY64" fmla="*/ 3132 h 10000"/>
                <a:gd name="connsiteX65" fmla="*/ 5734 w 10000"/>
                <a:gd name="connsiteY65" fmla="*/ 3168 h 10000"/>
                <a:gd name="connsiteX66" fmla="*/ 5759 w 10000"/>
                <a:gd name="connsiteY66" fmla="*/ 3186 h 10000"/>
                <a:gd name="connsiteX67" fmla="*/ 5778 w 10000"/>
                <a:gd name="connsiteY67" fmla="*/ 3198 h 10000"/>
                <a:gd name="connsiteX68" fmla="*/ 5803 w 10000"/>
                <a:gd name="connsiteY68" fmla="*/ 3210 h 10000"/>
                <a:gd name="connsiteX69" fmla="*/ 5834 w 10000"/>
                <a:gd name="connsiteY69" fmla="*/ 3216 h 10000"/>
                <a:gd name="connsiteX70" fmla="*/ 5935 w 10000"/>
                <a:gd name="connsiteY70" fmla="*/ 3234 h 10000"/>
                <a:gd name="connsiteX71" fmla="*/ 6073 w 10000"/>
                <a:gd name="connsiteY71" fmla="*/ 3269 h 10000"/>
                <a:gd name="connsiteX72" fmla="*/ 6230 w 10000"/>
                <a:gd name="connsiteY72" fmla="*/ 3305 h 10000"/>
                <a:gd name="connsiteX73" fmla="*/ 6405 w 10000"/>
                <a:gd name="connsiteY73" fmla="*/ 3347 h 10000"/>
                <a:gd name="connsiteX74" fmla="*/ 6568 w 10000"/>
                <a:gd name="connsiteY74" fmla="*/ 3377 h 10000"/>
                <a:gd name="connsiteX75" fmla="*/ 6719 w 10000"/>
                <a:gd name="connsiteY75" fmla="*/ 3401 h 10000"/>
                <a:gd name="connsiteX76" fmla="*/ 6788 w 10000"/>
                <a:gd name="connsiteY76" fmla="*/ 3407 h 10000"/>
                <a:gd name="connsiteX77" fmla="*/ 6838 w 10000"/>
                <a:gd name="connsiteY77" fmla="*/ 3413 h 10000"/>
                <a:gd name="connsiteX78" fmla="*/ 6888 w 10000"/>
                <a:gd name="connsiteY78" fmla="*/ 3407 h 10000"/>
                <a:gd name="connsiteX79" fmla="*/ 6913 w 10000"/>
                <a:gd name="connsiteY79" fmla="*/ 3395 h 10000"/>
                <a:gd name="connsiteX80" fmla="*/ 6888 w 10000"/>
                <a:gd name="connsiteY80" fmla="*/ 3353 h 10000"/>
                <a:gd name="connsiteX81" fmla="*/ 6857 w 10000"/>
                <a:gd name="connsiteY81" fmla="*/ 3305 h 10000"/>
                <a:gd name="connsiteX82" fmla="*/ 6838 w 10000"/>
                <a:gd name="connsiteY82" fmla="*/ 3257 h 10000"/>
                <a:gd name="connsiteX83" fmla="*/ 6826 w 10000"/>
                <a:gd name="connsiteY83" fmla="*/ 3204 h 10000"/>
                <a:gd name="connsiteX84" fmla="*/ 6794 w 10000"/>
                <a:gd name="connsiteY84" fmla="*/ 3114 h 10000"/>
                <a:gd name="connsiteX85" fmla="*/ 6788 w 10000"/>
                <a:gd name="connsiteY85" fmla="*/ 3066 h 10000"/>
                <a:gd name="connsiteX86" fmla="*/ 6788 w 10000"/>
                <a:gd name="connsiteY86" fmla="*/ 2880 h 10000"/>
                <a:gd name="connsiteX87" fmla="*/ 6788 w 10000"/>
                <a:gd name="connsiteY87" fmla="*/ 2695 h 10000"/>
                <a:gd name="connsiteX88" fmla="*/ 6995 w 10000"/>
                <a:gd name="connsiteY88" fmla="*/ 2695 h 10000"/>
                <a:gd name="connsiteX89" fmla="*/ 7033 w 10000"/>
                <a:gd name="connsiteY89" fmla="*/ 2760 h 10000"/>
                <a:gd name="connsiteX90" fmla="*/ 7058 w 10000"/>
                <a:gd name="connsiteY90" fmla="*/ 2802 h 10000"/>
                <a:gd name="connsiteX91" fmla="*/ 7095 w 10000"/>
                <a:gd name="connsiteY91" fmla="*/ 2838 h 10000"/>
                <a:gd name="connsiteX92" fmla="*/ 7127 w 10000"/>
                <a:gd name="connsiteY92" fmla="*/ 2880 h 10000"/>
                <a:gd name="connsiteX93" fmla="*/ 7120 w 10000"/>
                <a:gd name="connsiteY93" fmla="*/ 2976 h 10000"/>
                <a:gd name="connsiteX94" fmla="*/ 7102 w 10000"/>
                <a:gd name="connsiteY94" fmla="*/ 3036 h 10000"/>
                <a:gd name="connsiteX95" fmla="*/ 7089 w 10000"/>
                <a:gd name="connsiteY95" fmla="*/ 3084 h 10000"/>
                <a:gd name="connsiteX96" fmla="*/ 7077 w 10000"/>
                <a:gd name="connsiteY96" fmla="*/ 3138 h 10000"/>
                <a:gd name="connsiteX97" fmla="*/ 7208 w 10000"/>
                <a:gd name="connsiteY97" fmla="*/ 3174 h 10000"/>
                <a:gd name="connsiteX98" fmla="*/ 7334 w 10000"/>
                <a:gd name="connsiteY98" fmla="*/ 3210 h 10000"/>
                <a:gd name="connsiteX99" fmla="*/ 7396 w 10000"/>
                <a:gd name="connsiteY99" fmla="*/ 3228 h 10000"/>
                <a:gd name="connsiteX100" fmla="*/ 7459 w 10000"/>
                <a:gd name="connsiteY100" fmla="*/ 3240 h 10000"/>
                <a:gd name="connsiteX101" fmla="*/ 7522 w 10000"/>
                <a:gd name="connsiteY101" fmla="*/ 3246 h 10000"/>
                <a:gd name="connsiteX102" fmla="*/ 7585 w 10000"/>
                <a:gd name="connsiteY102" fmla="*/ 3251 h 10000"/>
                <a:gd name="connsiteX103" fmla="*/ 7591 w 10000"/>
                <a:gd name="connsiteY103" fmla="*/ 3275 h 10000"/>
                <a:gd name="connsiteX104" fmla="*/ 7604 w 10000"/>
                <a:gd name="connsiteY104" fmla="*/ 3299 h 10000"/>
                <a:gd name="connsiteX105" fmla="*/ 7622 w 10000"/>
                <a:gd name="connsiteY105" fmla="*/ 3317 h 10000"/>
                <a:gd name="connsiteX106" fmla="*/ 7654 w 10000"/>
                <a:gd name="connsiteY106" fmla="*/ 3335 h 10000"/>
                <a:gd name="connsiteX107" fmla="*/ 7704 w 10000"/>
                <a:gd name="connsiteY107" fmla="*/ 3353 h 10000"/>
                <a:gd name="connsiteX108" fmla="*/ 7748 w 10000"/>
                <a:gd name="connsiteY108" fmla="*/ 3359 h 10000"/>
                <a:gd name="connsiteX109" fmla="*/ 7798 w 10000"/>
                <a:gd name="connsiteY109" fmla="*/ 3359 h 10000"/>
                <a:gd name="connsiteX110" fmla="*/ 7836 w 10000"/>
                <a:gd name="connsiteY110" fmla="*/ 3347 h 10000"/>
                <a:gd name="connsiteX111" fmla="*/ 7880 w 10000"/>
                <a:gd name="connsiteY111" fmla="*/ 3329 h 10000"/>
                <a:gd name="connsiteX112" fmla="*/ 7911 w 10000"/>
                <a:gd name="connsiteY112" fmla="*/ 3311 h 10000"/>
                <a:gd name="connsiteX113" fmla="*/ 7949 w 10000"/>
                <a:gd name="connsiteY113" fmla="*/ 3287 h 10000"/>
                <a:gd name="connsiteX114" fmla="*/ 7980 w 10000"/>
                <a:gd name="connsiteY114" fmla="*/ 3257 h 10000"/>
                <a:gd name="connsiteX115" fmla="*/ 8011 w 10000"/>
                <a:gd name="connsiteY115" fmla="*/ 3228 h 10000"/>
                <a:gd name="connsiteX116" fmla="*/ 8036 w 10000"/>
                <a:gd name="connsiteY116" fmla="*/ 3198 h 10000"/>
                <a:gd name="connsiteX117" fmla="*/ 8087 w 10000"/>
                <a:gd name="connsiteY117" fmla="*/ 3120 h 10000"/>
                <a:gd name="connsiteX118" fmla="*/ 8118 w 10000"/>
                <a:gd name="connsiteY118" fmla="*/ 3048 h 10000"/>
                <a:gd name="connsiteX119" fmla="*/ 8149 w 10000"/>
                <a:gd name="connsiteY119" fmla="*/ 2982 h 10000"/>
                <a:gd name="connsiteX120" fmla="*/ 8168 w 10000"/>
                <a:gd name="connsiteY120" fmla="*/ 2916 h 10000"/>
                <a:gd name="connsiteX121" fmla="*/ 8231 w 10000"/>
                <a:gd name="connsiteY121" fmla="*/ 2850 h 10000"/>
                <a:gd name="connsiteX122" fmla="*/ 8294 w 10000"/>
                <a:gd name="connsiteY122" fmla="*/ 2784 h 10000"/>
                <a:gd name="connsiteX123" fmla="*/ 8363 w 10000"/>
                <a:gd name="connsiteY123" fmla="*/ 2731 h 10000"/>
                <a:gd name="connsiteX124" fmla="*/ 8432 w 10000"/>
                <a:gd name="connsiteY124" fmla="*/ 2671 h 10000"/>
                <a:gd name="connsiteX125" fmla="*/ 8507 w 10000"/>
                <a:gd name="connsiteY125" fmla="*/ 2623 h 10000"/>
                <a:gd name="connsiteX126" fmla="*/ 8576 w 10000"/>
                <a:gd name="connsiteY126" fmla="*/ 2575 h 10000"/>
                <a:gd name="connsiteX127" fmla="*/ 8651 w 10000"/>
                <a:gd name="connsiteY127" fmla="*/ 2533 h 10000"/>
                <a:gd name="connsiteX128" fmla="*/ 8726 w 10000"/>
                <a:gd name="connsiteY128" fmla="*/ 2491 h 10000"/>
                <a:gd name="connsiteX129" fmla="*/ 8808 w 10000"/>
                <a:gd name="connsiteY129" fmla="*/ 2449 h 10000"/>
                <a:gd name="connsiteX130" fmla="*/ 8890 w 10000"/>
                <a:gd name="connsiteY130" fmla="*/ 2413 h 10000"/>
                <a:gd name="connsiteX131" fmla="*/ 8971 w 10000"/>
                <a:gd name="connsiteY131" fmla="*/ 2383 h 10000"/>
                <a:gd name="connsiteX132" fmla="*/ 9059 w 10000"/>
                <a:gd name="connsiteY132" fmla="*/ 2353 h 10000"/>
                <a:gd name="connsiteX133" fmla="*/ 9235 w 10000"/>
                <a:gd name="connsiteY133" fmla="*/ 2299 h 10000"/>
                <a:gd name="connsiteX134" fmla="*/ 9417 w 10000"/>
                <a:gd name="connsiteY134" fmla="*/ 2257 h 10000"/>
                <a:gd name="connsiteX135" fmla="*/ 9454 w 10000"/>
                <a:gd name="connsiteY135" fmla="*/ 2305 h 10000"/>
                <a:gd name="connsiteX136" fmla="*/ 9504 w 10000"/>
                <a:gd name="connsiteY136" fmla="*/ 2365 h 10000"/>
                <a:gd name="connsiteX137" fmla="*/ 9573 w 10000"/>
                <a:gd name="connsiteY137" fmla="*/ 2431 h 10000"/>
                <a:gd name="connsiteX138" fmla="*/ 9642 w 10000"/>
                <a:gd name="connsiteY138" fmla="*/ 2503 h 10000"/>
                <a:gd name="connsiteX139" fmla="*/ 9718 w 10000"/>
                <a:gd name="connsiteY139" fmla="*/ 2563 h 10000"/>
                <a:gd name="connsiteX140" fmla="*/ 9799 w 10000"/>
                <a:gd name="connsiteY140" fmla="*/ 2611 h 10000"/>
                <a:gd name="connsiteX141" fmla="*/ 9837 w 10000"/>
                <a:gd name="connsiteY141" fmla="*/ 2635 h 10000"/>
                <a:gd name="connsiteX142" fmla="*/ 9875 w 10000"/>
                <a:gd name="connsiteY142" fmla="*/ 2647 h 10000"/>
                <a:gd name="connsiteX143" fmla="*/ 9918 w 10000"/>
                <a:gd name="connsiteY143" fmla="*/ 2659 h 10000"/>
                <a:gd name="connsiteX144" fmla="*/ 9956 w 10000"/>
                <a:gd name="connsiteY144" fmla="*/ 2659 h 10000"/>
                <a:gd name="connsiteX145" fmla="*/ 10000 w 10000"/>
                <a:gd name="connsiteY145" fmla="*/ 2587 h 10000"/>
                <a:gd name="connsiteX146" fmla="*/ 9975 w 10000"/>
                <a:gd name="connsiteY146" fmla="*/ 2713 h 10000"/>
                <a:gd name="connsiteX147" fmla="*/ 9944 w 10000"/>
                <a:gd name="connsiteY147" fmla="*/ 2856 h 10000"/>
                <a:gd name="connsiteX148" fmla="*/ 9931 w 10000"/>
                <a:gd name="connsiteY148" fmla="*/ 2922 h 10000"/>
                <a:gd name="connsiteX149" fmla="*/ 9906 w 10000"/>
                <a:gd name="connsiteY149" fmla="*/ 2982 h 10000"/>
                <a:gd name="connsiteX150" fmla="*/ 9887 w 10000"/>
                <a:gd name="connsiteY150" fmla="*/ 3006 h 10000"/>
                <a:gd name="connsiteX151" fmla="*/ 9875 w 10000"/>
                <a:gd name="connsiteY151" fmla="*/ 3030 h 10000"/>
                <a:gd name="connsiteX152" fmla="*/ 9856 w 10000"/>
                <a:gd name="connsiteY152" fmla="*/ 3048 h 10000"/>
                <a:gd name="connsiteX153" fmla="*/ 9837 w 10000"/>
                <a:gd name="connsiteY153" fmla="*/ 3066 h 10000"/>
                <a:gd name="connsiteX154" fmla="*/ 9749 w 10000"/>
                <a:gd name="connsiteY154" fmla="*/ 3084 h 10000"/>
                <a:gd name="connsiteX155" fmla="*/ 9605 w 10000"/>
                <a:gd name="connsiteY155" fmla="*/ 3132 h 10000"/>
                <a:gd name="connsiteX156" fmla="*/ 9536 w 10000"/>
                <a:gd name="connsiteY156" fmla="*/ 3174 h 10000"/>
                <a:gd name="connsiteX157" fmla="*/ 9479 w 10000"/>
                <a:gd name="connsiteY157" fmla="*/ 3210 h 10000"/>
                <a:gd name="connsiteX158" fmla="*/ 9448 w 10000"/>
                <a:gd name="connsiteY158" fmla="*/ 3228 h 10000"/>
                <a:gd name="connsiteX159" fmla="*/ 9435 w 10000"/>
                <a:gd name="connsiteY159" fmla="*/ 3246 h 10000"/>
                <a:gd name="connsiteX160" fmla="*/ 9423 w 10000"/>
                <a:gd name="connsiteY160" fmla="*/ 3269 h 10000"/>
                <a:gd name="connsiteX161" fmla="*/ 9417 w 10000"/>
                <a:gd name="connsiteY161" fmla="*/ 3287 h 10000"/>
                <a:gd name="connsiteX162" fmla="*/ 9423 w 10000"/>
                <a:gd name="connsiteY162" fmla="*/ 3497 h 10000"/>
                <a:gd name="connsiteX163" fmla="*/ 9417 w 10000"/>
                <a:gd name="connsiteY163" fmla="*/ 3737 h 10000"/>
                <a:gd name="connsiteX164" fmla="*/ 9398 w 10000"/>
                <a:gd name="connsiteY164" fmla="*/ 3796 h 10000"/>
                <a:gd name="connsiteX165" fmla="*/ 9391 w 10000"/>
                <a:gd name="connsiteY165" fmla="*/ 3862 h 10000"/>
                <a:gd name="connsiteX166" fmla="*/ 9379 w 10000"/>
                <a:gd name="connsiteY166" fmla="*/ 3916 h 10000"/>
                <a:gd name="connsiteX167" fmla="*/ 9366 w 10000"/>
                <a:gd name="connsiteY167" fmla="*/ 3970 h 10000"/>
                <a:gd name="connsiteX168" fmla="*/ 9348 w 10000"/>
                <a:gd name="connsiteY168" fmla="*/ 4018 h 10000"/>
                <a:gd name="connsiteX169" fmla="*/ 9316 w 10000"/>
                <a:gd name="connsiteY169" fmla="*/ 4066 h 10000"/>
                <a:gd name="connsiteX170" fmla="*/ 9285 w 10000"/>
                <a:gd name="connsiteY170" fmla="*/ 4102 h 10000"/>
                <a:gd name="connsiteX171" fmla="*/ 9247 w 10000"/>
                <a:gd name="connsiteY171" fmla="*/ 4132 h 10000"/>
                <a:gd name="connsiteX172" fmla="*/ 9228 w 10000"/>
                <a:gd name="connsiteY172" fmla="*/ 4150 h 10000"/>
                <a:gd name="connsiteX173" fmla="*/ 9184 w 10000"/>
                <a:gd name="connsiteY173" fmla="*/ 4156 h 10000"/>
                <a:gd name="connsiteX174" fmla="*/ 9141 w 10000"/>
                <a:gd name="connsiteY174" fmla="*/ 4162 h 10000"/>
                <a:gd name="connsiteX175" fmla="*/ 9090 w 10000"/>
                <a:gd name="connsiteY175" fmla="*/ 4168 h 10000"/>
                <a:gd name="connsiteX176" fmla="*/ 9040 w 10000"/>
                <a:gd name="connsiteY176" fmla="*/ 4174 h 10000"/>
                <a:gd name="connsiteX177" fmla="*/ 8996 w 10000"/>
                <a:gd name="connsiteY177" fmla="*/ 4192 h 10000"/>
                <a:gd name="connsiteX178" fmla="*/ 8977 w 10000"/>
                <a:gd name="connsiteY178" fmla="*/ 4198 h 10000"/>
                <a:gd name="connsiteX179" fmla="*/ 8965 w 10000"/>
                <a:gd name="connsiteY179" fmla="*/ 4216 h 10000"/>
                <a:gd name="connsiteX180" fmla="*/ 8959 w 10000"/>
                <a:gd name="connsiteY180" fmla="*/ 4228 h 10000"/>
                <a:gd name="connsiteX181" fmla="*/ 8959 w 10000"/>
                <a:gd name="connsiteY181" fmla="*/ 4246 h 10000"/>
                <a:gd name="connsiteX182" fmla="*/ 8952 w 10000"/>
                <a:gd name="connsiteY182" fmla="*/ 4317 h 10000"/>
                <a:gd name="connsiteX183" fmla="*/ 8952 w 10000"/>
                <a:gd name="connsiteY183" fmla="*/ 4401 h 10000"/>
                <a:gd name="connsiteX184" fmla="*/ 8940 w 10000"/>
                <a:gd name="connsiteY184" fmla="*/ 4491 h 10000"/>
                <a:gd name="connsiteX185" fmla="*/ 8927 w 10000"/>
                <a:gd name="connsiteY185" fmla="*/ 4575 h 10000"/>
                <a:gd name="connsiteX186" fmla="*/ 8908 w 10000"/>
                <a:gd name="connsiteY186" fmla="*/ 4659 h 10000"/>
                <a:gd name="connsiteX187" fmla="*/ 8890 w 10000"/>
                <a:gd name="connsiteY187" fmla="*/ 4737 h 10000"/>
                <a:gd name="connsiteX188" fmla="*/ 8864 w 10000"/>
                <a:gd name="connsiteY188" fmla="*/ 4808 h 10000"/>
                <a:gd name="connsiteX189" fmla="*/ 8833 w 10000"/>
                <a:gd name="connsiteY189" fmla="*/ 4874 h 10000"/>
                <a:gd name="connsiteX190" fmla="*/ 8538 w 10000"/>
                <a:gd name="connsiteY190" fmla="*/ 4389 h 10000"/>
                <a:gd name="connsiteX191" fmla="*/ 8526 w 10000"/>
                <a:gd name="connsiteY191" fmla="*/ 4413 h 10000"/>
                <a:gd name="connsiteX192" fmla="*/ 8494 w 10000"/>
                <a:gd name="connsiteY192" fmla="*/ 4467 h 10000"/>
                <a:gd name="connsiteX193" fmla="*/ 8463 w 10000"/>
                <a:gd name="connsiteY193" fmla="*/ 4497 h 10000"/>
                <a:gd name="connsiteX194" fmla="*/ 8438 w 10000"/>
                <a:gd name="connsiteY194" fmla="*/ 4521 h 10000"/>
                <a:gd name="connsiteX195" fmla="*/ 8407 w 10000"/>
                <a:gd name="connsiteY195" fmla="*/ 4539 h 10000"/>
                <a:gd name="connsiteX196" fmla="*/ 8375 w 10000"/>
                <a:gd name="connsiteY196" fmla="*/ 4545 h 10000"/>
                <a:gd name="connsiteX197" fmla="*/ 8338 w 10000"/>
                <a:gd name="connsiteY197" fmla="*/ 4539 h 10000"/>
                <a:gd name="connsiteX198" fmla="*/ 8312 w 10000"/>
                <a:gd name="connsiteY198" fmla="*/ 4533 h 10000"/>
                <a:gd name="connsiteX199" fmla="*/ 8287 w 10000"/>
                <a:gd name="connsiteY199" fmla="*/ 4515 h 10000"/>
                <a:gd name="connsiteX200" fmla="*/ 8256 w 10000"/>
                <a:gd name="connsiteY200" fmla="*/ 4497 h 10000"/>
                <a:gd name="connsiteX201" fmla="*/ 8237 w 10000"/>
                <a:gd name="connsiteY201" fmla="*/ 4467 h 10000"/>
                <a:gd name="connsiteX202" fmla="*/ 8225 w 10000"/>
                <a:gd name="connsiteY202" fmla="*/ 4443 h 10000"/>
                <a:gd name="connsiteX203" fmla="*/ 8206 w 10000"/>
                <a:gd name="connsiteY203" fmla="*/ 4419 h 10000"/>
                <a:gd name="connsiteX204" fmla="*/ 8206 w 10000"/>
                <a:gd name="connsiteY204" fmla="*/ 4389 h 10000"/>
                <a:gd name="connsiteX205" fmla="*/ 8206 w 10000"/>
                <a:gd name="connsiteY205" fmla="*/ 4353 h 10000"/>
                <a:gd name="connsiteX206" fmla="*/ 8225 w 10000"/>
                <a:gd name="connsiteY206" fmla="*/ 4317 h 10000"/>
                <a:gd name="connsiteX207" fmla="*/ 8237 w 10000"/>
                <a:gd name="connsiteY207" fmla="*/ 4281 h 10000"/>
                <a:gd name="connsiteX208" fmla="*/ 8250 w 10000"/>
                <a:gd name="connsiteY208" fmla="*/ 4246 h 10000"/>
                <a:gd name="connsiteX209" fmla="*/ 8300 w 10000"/>
                <a:gd name="connsiteY209" fmla="*/ 4180 h 10000"/>
                <a:gd name="connsiteX210" fmla="*/ 8356 w 10000"/>
                <a:gd name="connsiteY210" fmla="*/ 4114 h 10000"/>
                <a:gd name="connsiteX211" fmla="*/ 8407 w 10000"/>
                <a:gd name="connsiteY211" fmla="*/ 4054 h 10000"/>
                <a:gd name="connsiteX212" fmla="*/ 8457 w 10000"/>
                <a:gd name="connsiteY212" fmla="*/ 3988 h 10000"/>
                <a:gd name="connsiteX213" fmla="*/ 8469 w 10000"/>
                <a:gd name="connsiteY213" fmla="*/ 3952 h 10000"/>
                <a:gd name="connsiteX214" fmla="*/ 8482 w 10000"/>
                <a:gd name="connsiteY214" fmla="*/ 3922 h 10000"/>
                <a:gd name="connsiteX215" fmla="*/ 8501 w 10000"/>
                <a:gd name="connsiteY215" fmla="*/ 3880 h 10000"/>
                <a:gd name="connsiteX216" fmla="*/ 8501 w 10000"/>
                <a:gd name="connsiteY216" fmla="*/ 3844 h 10000"/>
                <a:gd name="connsiteX217" fmla="*/ 7748 w 10000"/>
                <a:gd name="connsiteY217" fmla="*/ 3844 h 10000"/>
                <a:gd name="connsiteX218" fmla="*/ 7723 w 10000"/>
                <a:gd name="connsiteY218" fmla="*/ 3838 h 10000"/>
                <a:gd name="connsiteX219" fmla="*/ 7685 w 10000"/>
                <a:gd name="connsiteY219" fmla="*/ 3820 h 10000"/>
                <a:gd name="connsiteX220" fmla="*/ 7660 w 10000"/>
                <a:gd name="connsiteY220" fmla="*/ 3784 h 10000"/>
                <a:gd name="connsiteX221" fmla="*/ 7635 w 10000"/>
                <a:gd name="connsiteY221" fmla="*/ 3749 h 10000"/>
                <a:gd name="connsiteX222" fmla="*/ 7616 w 10000"/>
                <a:gd name="connsiteY222" fmla="*/ 3701 h 10000"/>
                <a:gd name="connsiteX223" fmla="*/ 7597 w 10000"/>
                <a:gd name="connsiteY223" fmla="*/ 3653 h 10000"/>
                <a:gd name="connsiteX224" fmla="*/ 7591 w 10000"/>
                <a:gd name="connsiteY224" fmla="*/ 3599 h 10000"/>
                <a:gd name="connsiteX225" fmla="*/ 7585 w 10000"/>
                <a:gd name="connsiteY225" fmla="*/ 3545 h 10000"/>
                <a:gd name="connsiteX226" fmla="*/ 7547 w 10000"/>
                <a:gd name="connsiteY226" fmla="*/ 3545 h 10000"/>
                <a:gd name="connsiteX227" fmla="*/ 7516 w 10000"/>
                <a:gd name="connsiteY227" fmla="*/ 3539 h 10000"/>
                <a:gd name="connsiteX228" fmla="*/ 7478 w 10000"/>
                <a:gd name="connsiteY228" fmla="*/ 3533 h 10000"/>
                <a:gd name="connsiteX229" fmla="*/ 7447 w 10000"/>
                <a:gd name="connsiteY229" fmla="*/ 3521 h 10000"/>
                <a:gd name="connsiteX230" fmla="*/ 7415 w 10000"/>
                <a:gd name="connsiteY230" fmla="*/ 3503 h 10000"/>
                <a:gd name="connsiteX231" fmla="*/ 7396 w 10000"/>
                <a:gd name="connsiteY231" fmla="*/ 3485 h 10000"/>
                <a:gd name="connsiteX232" fmla="*/ 7384 w 10000"/>
                <a:gd name="connsiteY232" fmla="*/ 3455 h 10000"/>
                <a:gd name="connsiteX233" fmla="*/ 7378 w 10000"/>
                <a:gd name="connsiteY233" fmla="*/ 3431 h 10000"/>
                <a:gd name="connsiteX234" fmla="*/ 7321 w 10000"/>
                <a:gd name="connsiteY234" fmla="*/ 3431 h 10000"/>
                <a:gd name="connsiteX235" fmla="*/ 7271 w 10000"/>
                <a:gd name="connsiteY235" fmla="*/ 3431 h 10000"/>
                <a:gd name="connsiteX236" fmla="*/ 7221 w 10000"/>
                <a:gd name="connsiteY236" fmla="*/ 3431 h 10000"/>
                <a:gd name="connsiteX237" fmla="*/ 7171 w 10000"/>
                <a:gd name="connsiteY237" fmla="*/ 3431 h 10000"/>
                <a:gd name="connsiteX238" fmla="*/ 7127 w 10000"/>
                <a:gd name="connsiteY238" fmla="*/ 3437 h 10000"/>
                <a:gd name="connsiteX239" fmla="*/ 7095 w 10000"/>
                <a:gd name="connsiteY239" fmla="*/ 3443 h 10000"/>
                <a:gd name="connsiteX240" fmla="*/ 7051 w 10000"/>
                <a:gd name="connsiteY240" fmla="*/ 3461 h 10000"/>
                <a:gd name="connsiteX241" fmla="*/ 7008 w 10000"/>
                <a:gd name="connsiteY241" fmla="*/ 3485 h 10000"/>
                <a:gd name="connsiteX242" fmla="*/ 6976 w 10000"/>
                <a:gd name="connsiteY242" fmla="*/ 3515 h 10000"/>
                <a:gd name="connsiteX243" fmla="*/ 6939 w 10000"/>
                <a:gd name="connsiteY243" fmla="*/ 3545 h 10000"/>
                <a:gd name="connsiteX244" fmla="*/ 6920 w 10000"/>
                <a:gd name="connsiteY244" fmla="*/ 3581 h 10000"/>
                <a:gd name="connsiteX245" fmla="*/ 6913 w 10000"/>
                <a:gd name="connsiteY245" fmla="*/ 3617 h 10000"/>
                <a:gd name="connsiteX246" fmla="*/ 6926 w 10000"/>
                <a:gd name="connsiteY246" fmla="*/ 3641 h 10000"/>
                <a:gd name="connsiteX247" fmla="*/ 6964 w 10000"/>
                <a:gd name="connsiteY247" fmla="*/ 3671 h 10000"/>
                <a:gd name="connsiteX248" fmla="*/ 7008 w 10000"/>
                <a:gd name="connsiteY248" fmla="*/ 3707 h 10000"/>
                <a:gd name="connsiteX249" fmla="*/ 7070 w 10000"/>
                <a:gd name="connsiteY249" fmla="*/ 3743 h 10000"/>
                <a:gd name="connsiteX250" fmla="*/ 7133 w 10000"/>
                <a:gd name="connsiteY250" fmla="*/ 3778 h 10000"/>
                <a:gd name="connsiteX251" fmla="*/ 7196 w 10000"/>
                <a:gd name="connsiteY251" fmla="*/ 3808 h 10000"/>
                <a:gd name="connsiteX252" fmla="*/ 7252 w 10000"/>
                <a:gd name="connsiteY252" fmla="*/ 3832 h 10000"/>
                <a:gd name="connsiteX253" fmla="*/ 7290 w 10000"/>
                <a:gd name="connsiteY253" fmla="*/ 3844 h 10000"/>
                <a:gd name="connsiteX254" fmla="*/ 7208 w 10000"/>
                <a:gd name="connsiteY254" fmla="*/ 3904 h 10000"/>
                <a:gd name="connsiteX255" fmla="*/ 7114 w 10000"/>
                <a:gd name="connsiteY255" fmla="*/ 3976 h 10000"/>
                <a:gd name="connsiteX256" fmla="*/ 7070 w 10000"/>
                <a:gd name="connsiteY256" fmla="*/ 4012 h 10000"/>
                <a:gd name="connsiteX257" fmla="*/ 7033 w 10000"/>
                <a:gd name="connsiteY257" fmla="*/ 4054 h 10000"/>
                <a:gd name="connsiteX258" fmla="*/ 7020 w 10000"/>
                <a:gd name="connsiteY258" fmla="*/ 4072 h 10000"/>
                <a:gd name="connsiteX259" fmla="*/ 7008 w 10000"/>
                <a:gd name="connsiteY259" fmla="*/ 4090 h 10000"/>
                <a:gd name="connsiteX260" fmla="*/ 7001 w 10000"/>
                <a:gd name="connsiteY260" fmla="*/ 4114 h 10000"/>
                <a:gd name="connsiteX261" fmla="*/ 6995 w 10000"/>
                <a:gd name="connsiteY261" fmla="*/ 4132 h 10000"/>
                <a:gd name="connsiteX262" fmla="*/ 7001 w 10000"/>
                <a:gd name="connsiteY262" fmla="*/ 4162 h 10000"/>
                <a:gd name="connsiteX263" fmla="*/ 7008 w 10000"/>
                <a:gd name="connsiteY263" fmla="*/ 4180 h 10000"/>
                <a:gd name="connsiteX264" fmla="*/ 7026 w 10000"/>
                <a:gd name="connsiteY264" fmla="*/ 4204 h 10000"/>
                <a:gd name="connsiteX265" fmla="*/ 7039 w 10000"/>
                <a:gd name="connsiteY265" fmla="*/ 4228 h 10000"/>
                <a:gd name="connsiteX266" fmla="*/ 7089 w 10000"/>
                <a:gd name="connsiteY266" fmla="*/ 4275 h 10000"/>
                <a:gd name="connsiteX267" fmla="*/ 7146 w 10000"/>
                <a:gd name="connsiteY267" fmla="*/ 4323 h 10000"/>
                <a:gd name="connsiteX268" fmla="*/ 7208 w 10000"/>
                <a:gd name="connsiteY268" fmla="*/ 4365 h 10000"/>
                <a:gd name="connsiteX269" fmla="*/ 7277 w 10000"/>
                <a:gd name="connsiteY269" fmla="*/ 4401 h 10000"/>
                <a:gd name="connsiteX270" fmla="*/ 7315 w 10000"/>
                <a:gd name="connsiteY270" fmla="*/ 4413 h 10000"/>
                <a:gd name="connsiteX271" fmla="*/ 7346 w 10000"/>
                <a:gd name="connsiteY271" fmla="*/ 4419 h 10000"/>
                <a:gd name="connsiteX272" fmla="*/ 7384 w 10000"/>
                <a:gd name="connsiteY272" fmla="*/ 4425 h 10000"/>
                <a:gd name="connsiteX273" fmla="*/ 7415 w 10000"/>
                <a:gd name="connsiteY273" fmla="*/ 4431 h 10000"/>
                <a:gd name="connsiteX274" fmla="*/ 7585 w 10000"/>
                <a:gd name="connsiteY274" fmla="*/ 5054 h 10000"/>
                <a:gd name="connsiteX275" fmla="*/ 7491 w 10000"/>
                <a:gd name="connsiteY275" fmla="*/ 5054 h 10000"/>
                <a:gd name="connsiteX276" fmla="*/ 7403 w 10000"/>
                <a:gd name="connsiteY276" fmla="*/ 5054 h 10000"/>
                <a:gd name="connsiteX277" fmla="*/ 7321 w 10000"/>
                <a:gd name="connsiteY277" fmla="*/ 5054 h 10000"/>
                <a:gd name="connsiteX278" fmla="*/ 7252 w 10000"/>
                <a:gd name="connsiteY278" fmla="*/ 5054 h 10000"/>
                <a:gd name="connsiteX279" fmla="*/ 7208 w 10000"/>
                <a:gd name="connsiteY279" fmla="*/ 5048 h 10000"/>
                <a:gd name="connsiteX280" fmla="*/ 7164 w 10000"/>
                <a:gd name="connsiteY280" fmla="*/ 5018 h 10000"/>
                <a:gd name="connsiteX281" fmla="*/ 7133 w 10000"/>
                <a:gd name="connsiteY281" fmla="*/ 5006 h 10000"/>
                <a:gd name="connsiteX282" fmla="*/ 7102 w 10000"/>
                <a:gd name="connsiteY282" fmla="*/ 4994 h 10000"/>
                <a:gd name="connsiteX283" fmla="*/ 7070 w 10000"/>
                <a:gd name="connsiteY283" fmla="*/ 4988 h 10000"/>
                <a:gd name="connsiteX284" fmla="*/ 7039 w 10000"/>
                <a:gd name="connsiteY284" fmla="*/ 4982 h 10000"/>
                <a:gd name="connsiteX285" fmla="*/ 7008 w 10000"/>
                <a:gd name="connsiteY285" fmla="*/ 4994 h 10000"/>
                <a:gd name="connsiteX286" fmla="*/ 6957 w 10000"/>
                <a:gd name="connsiteY286" fmla="*/ 5024 h 10000"/>
                <a:gd name="connsiteX287" fmla="*/ 6895 w 10000"/>
                <a:gd name="connsiteY287" fmla="*/ 5066 h 10000"/>
                <a:gd name="connsiteX288" fmla="*/ 6819 w 10000"/>
                <a:gd name="connsiteY288" fmla="*/ 5114 h 10000"/>
                <a:gd name="connsiteX289" fmla="*/ 6744 w 10000"/>
                <a:gd name="connsiteY289" fmla="*/ 5174 h 10000"/>
                <a:gd name="connsiteX290" fmla="*/ 6681 w 10000"/>
                <a:gd name="connsiteY290" fmla="*/ 5222 h 10000"/>
                <a:gd name="connsiteX291" fmla="*/ 6637 w 10000"/>
                <a:gd name="connsiteY291" fmla="*/ 5257 h 10000"/>
                <a:gd name="connsiteX292" fmla="*/ 6625 w 10000"/>
                <a:gd name="connsiteY292" fmla="*/ 5281 h 10000"/>
                <a:gd name="connsiteX293" fmla="*/ 6750 w 10000"/>
                <a:gd name="connsiteY293" fmla="*/ 5353 h 10000"/>
                <a:gd name="connsiteX294" fmla="*/ 6744 w 10000"/>
                <a:gd name="connsiteY294" fmla="*/ 5389 h 10000"/>
                <a:gd name="connsiteX295" fmla="*/ 6725 w 10000"/>
                <a:gd name="connsiteY295" fmla="*/ 5431 h 10000"/>
                <a:gd name="connsiteX296" fmla="*/ 6706 w 10000"/>
                <a:gd name="connsiteY296" fmla="*/ 5461 h 10000"/>
                <a:gd name="connsiteX297" fmla="*/ 6688 w 10000"/>
                <a:gd name="connsiteY297" fmla="*/ 5503 h 10000"/>
                <a:gd name="connsiteX298" fmla="*/ 6637 w 10000"/>
                <a:gd name="connsiteY298" fmla="*/ 5557 h 10000"/>
                <a:gd name="connsiteX299" fmla="*/ 6581 w 10000"/>
                <a:gd name="connsiteY299" fmla="*/ 5611 h 10000"/>
                <a:gd name="connsiteX300" fmla="*/ 6518 w 10000"/>
                <a:gd name="connsiteY300" fmla="*/ 5659 h 10000"/>
                <a:gd name="connsiteX301" fmla="*/ 6443 w 10000"/>
                <a:gd name="connsiteY301" fmla="*/ 5701 h 10000"/>
                <a:gd name="connsiteX302" fmla="*/ 6374 w 10000"/>
                <a:gd name="connsiteY302" fmla="*/ 5737 h 10000"/>
                <a:gd name="connsiteX303" fmla="*/ 6299 w 10000"/>
                <a:gd name="connsiteY303" fmla="*/ 5772 h 10000"/>
                <a:gd name="connsiteX304" fmla="*/ 6223 w 10000"/>
                <a:gd name="connsiteY304" fmla="*/ 5820 h 10000"/>
                <a:gd name="connsiteX305" fmla="*/ 6154 w 10000"/>
                <a:gd name="connsiteY305" fmla="*/ 5856 h 10000"/>
                <a:gd name="connsiteX306" fmla="*/ 6092 w 10000"/>
                <a:gd name="connsiteY306" fmla="*/ 5898 h 10000"/>
                <a:gd name="connsiteX307" fmla="*/ 6035 w 10000"/>
                <a:gd name="connsiteY307" fmla="*/ 5946 h 10000"/>
                <a:gd name="connsiteX308" fmla="*/ 6004 w 10000"/>
                <a:gd name="connsiteY308" fmla="*/ 5970 h 10000"/>
                <a:gd name="connsiteX309" fmla="*/ 5985 w 10000"/>
                <a:gd name="connsiteY309" fmla="*/ 5994 h 10000"/>
                <a:gd name="connsiteX310" fmla="*/ 5966 w 10000"/>
                <a:gd name="connsiteY310" fmla="*/ 6024 h 10000"/>
                <a:gd name="connsiteX311" fmla="*/ 5947 w 10000"/>
                <a:gd name="connsiteY311" fmla="*/ 6054 h 10000"/>
                <a:gd name="connsiteX312" fmla="*/ 5935 w 10000"/>
                <a:gd name="connsiteY312" fmla="*/ 6090 h 10000"/>
                <a:gd name="connsiteX313" fmla="*/ 5922 w 10000"/>
                <a:gd name="connsiteY313" fmla="*/ 6120 h 10000"/>
                <a:gd name="connsiteX314" fmla="*/ 5916 w 10000"/>
                <a:gd name="connsiteY314" fmla="*/ 6162 h 10000"/>
                <a:gd name="connsiteX315" fmla="*/ 5916 w 10000"/>
                <a:gd name="connsiteY315" fmla="*/ 6204 h 10000"/>
                <a:gd name="connsiteX316" fmla="*/ 5859 w 10000"/>
                <a:gd name="connsiteY316" fmla="*/ 6222 h 10000"/>
                <a:gd name="connsiteX317" fmla="*/ 5809 w 10000"/>
                <a:gd name="connsiteY317" fmla="*/ 6240 h 10000"/>
                <a:gd name="connsiteX318" fmla="*/ 5765 w 10000"/>
                <a:gd name="connsiteY318" fmla="*/ 6263 h 10000"/>
                <a:gd name="connsiteX319" fmla="*/ 5721 w 10000"/>
                <a:gd name="connsiteY319" fmla="*/ 6287 h 10000"/>
                <a:gd name="connsiteX320" fmla="*/ 5634 w 10000"/>
                <a:gd name="connsiteY320" fmla="*/ 6347 h 10000"/>
                <a:gd name="connsiteX321" fmla="*/ 5558 w 10000"/>
                <a:gd name="connsiteY321" fmla="*/ 6419 h 10000"/>
                <a:gd name="connsiteX322" fmla="*/ 5420 w 10000"/>
                <a:gd name="connsiteY322" fmla="*/ 6581 h 10000"/>
                <a:gd name="connsiteX323" fmla="*/ 5289 w 10000"/>
                <a:gd name="connsiteY323" fmla="*/ 6754 h 10000"/>
                <a:gd name="connsiteX324" fmla="*/ 5220 w 10000"/>
                <a:gd name="connsiteY324" fmla="*/ 6844 h 10000"/>
                <a:gd name="connsiteX325" fmla="*/ 5151 w 10000"/>
                <a:gd name="connsiteY325" fmla="*/ 6922 h 10000"/>
                <a:gd name="connsiteX326" fmla="*/ 5075 w 10000"/>
                <a:gd name="connsiteY326" fmla="*/ 6994 h 10000"/>
                <a:gd name="connsiteX327" fmla="*/ 4994 w 10000"/>
                <a:gd name="connsiteY327" fmla="*/ 7060 h 10000"/>
                <a:gd name="connsiteX328" fmla="*/ 4944 w 10000"/>
                <a:gd name="connsiteY328" fmla="*/ 7090 h 10000"/>
                <a:gd name="connsiteX329" fmla="*/ 4893 w 10000"/>
                <a:gd name="connsiteY329" fmla="*/ 7114 h 10000"/>
                <a:gd name="connsiteX330" fmla="*/ 4849 w 10000"/>
                <a:gd name="connsiteY330" fmla="*/ 7138 h 10000"/>
                <a:gd name="connsiteX331" fmla="*/ 4793 w 10000"/>
                <a:gd name="connsiteY331" fmla="*/ 7162 h 10000"/>
                <a:gd name="connsiteX332" fmla="*/ 4730 w 10000"/>
                <a:gd name="connsiteY332" fmla="*/ 7180 h 10000"/>
                <a:gd name="connsiteX333" fmla="*/ 4674 w 10000"/>
                <a:gd name="connsiteY333" fmla="*/ 7192 h 10000"/>
                <a:gd name="connsiteX334" fmla="*/ 4605 w 10000"/>
                <a:gd name="connsiteY334" fmla="*/ 7198 h 10000"/>
                <a:gd name="connsiteX335" fmla="*/ 4536 w 10000"/>
                <a:gd name="connsiteY335" fmla="*/ 7198 h 10000"/>
                <a:gd name="connsiteX336" fmla="*/ 4536 w 10000"/>
                <a:gd name="connsiteY336" fmla="*/ 7251 h 10000"/>
                <a:gd name="connsiteX337" fmla="*/ 4536 w 10000"/>
                <a:gd name="connsiteY337" fmla="*/ 7305 h 10000"/>
                <a:gd name="connsiteX338" fmla="*/ 4536 w 10000"/>
                <a:gd name="connsiteY338" fmla="*/ 7347 h 10000"/>
                <a:gd name="connsiteX339" fmla="*/ 4536 w 10000"/>
                <a:gd name="connsiteY339" fmla="*/ 7383 h 10000"/>
                <a:gd name="connsiteX340" fmla="*/ 4536 w 10000"/>
                <a:gd name="connsiteY340" fmla="*/ 7449 h 10000"/>
                <a:gd name="connsiteX341" fmla="*/ 4536 w 10000"/>
                <a:gd name="connsiteY341" fmla="*/ 7551 h 10000"/>
                <a:gd name="connsiteX342" fmla="*/ 4536 w 10000"/>
                <a:gd name="connsiteY342" fmla="*/ 7659 h 10000"/>
                <a:gd name="connsiteX343" fmla="*/ 4548 w 10000"/>
                <a:gd name="connsiteY343" fmla="*/ 7772 h 10000"/>
                <a:gd name="connsiteX344" fmla="*/ 4561 w 10000"/>
                <a:gd name="connsiteY344" fmla="*/ 7832 h 10000"/>
                <a:gd name="connsiteX345" fmla="*/ 4573 w 10000"/>
                <a:gd name="connsiteY345" fmla="*/ 7886 h 10000"/>
                <a:gd name="connsiteX346" fmla="*/ 4586 w 10000"/>
                <a:gd name="connsiteY346" fmla="*/ 7934 h 10000"/>
                <a:gd name="connsiteX347" fmla="*/ 4611 w 10000"/>
                <a:gd name="connsiteY347" fmla="*/ 7976 h 10000"/>
                <a:gd name="connsiteX348" fmla="*/ 4636 w 10000"/>
                <a:gd name="connsiteY348" fmla="*/ 8018 h 10000"/>
                <a:gd name="connsiteX349" fmla="*/ 4668 w 10000"/>
                <a:gd name="connsiteY349" fmla="*/ 8048 h 10000"/>
                <a:gd name="connsiteX350" fmla="*/ 4705 w 10000"/>
                <a:gd name="connsiteY350" fmla="*/ 8072 h 10000"/>
                <a:gd name="connsiteX351" fmla="*/ 4749 w 10000"/>
                <a:gd name="connsiteY351" fmla="*/ 8084 h 10000"/>
                <a:gd name="connsiteX352" fmla="*/ 4711 w 10000"/>
                <a:gd name="connsiteY352" fmla="*/ 8180 h 10000"/>
                <a:gd name="connsiteX353" fmla="*/ 4668 w 10000"/>
                <a:gd name="connsiteY353" fmla="*/ 8263 h 10000"/>
                <a:gd name="connsiteX354" fmla="*/ 4617 w 10000"/>
                <a:gd name="connsiteY354" fmla="*/ 8341 h 10000"/>
                <a:gd name="connsiteX355" fmla="*/ 4573 w 10000"/>
                <a:gd name="connsiteY355" fmla="*/ 8413 h 10000"/>
                <a:gd name="connsiteX356" fmla="*/ 4523 w 10000"/>
                <a:gd name="connsiteY356" fmla="*/ 8497 h 10000"/>
                <a:gd name="connsiteX357" fmla="*/ 4492 w 10000"/>
                <a:gd name="connsiteY357" fmla="*/ 8575 h 10000"/>
                <a:gd name="connsiteX358" fmla="*/ 4473 w 10000"/>
                <a:gd name="connsiteY358" fmla="*/ 8611 h 10000"/>
                <a:gd name="connsiteX359" fmla="*/ 4467 w 10000"/>
                <a:gd name="connsiteY359" fmla="*/ 8653 h 10000"/>
                <a:gd name="connsiteX360" fmla="*/ 4460 w 10000"/>
                <a:gd name="connsiteY360" fmla="*/ 8701 h 10000"/>
                <a:gd name="connsiteX361" fmla="*/ 4454 w 10000"/>
                <a:gd name="connsiteY361" fmla="*/ 8743 h 10000"/>
                <a:gd name="connsiteX362" fmla="*/ 4460 w 10000"/>
                <a:gd name="connsiteY362" fmla="*/ 8760 h 10000"/>
                <a:gd name="connsiteX363" fmla="*/ 4467 w 10000"/>
                <a:gd name="connsiteY363" fmla="*/ 8772 h 10000"/>
                <a:gd name="connsiteX364" fmla="*/ 4479 w 10000"/>
                <a:gd name="connsiteY364" fmla="*/ 8784 h 10000"/>
                <a:gd name="connsiteX365" fmla="*/ 4504 w 10000"/>
                <a:gd name="connsiteY365" fmla="*/ 8796 h 10000"/>
                <a:gd name="connsiteX366" fmla="*/ 4542 w 10000"/>
                <a:gd name="connsiteY366" fmla="*/ 8820 h 10000"/>
                <a:gd name="connsiteX367" fmla="*/ 4580 w 10000"/>
                <a:gd name="connsiteY367" fmla="*/ 8826 h 10000"/>
                <a:gd name="connsiteX368" fmla="*/ 4580 w 10000"/>
                <a:gd name="connsiteY368" fmla="*/ 9042 h 10000"/>
                <a:gd name="connsiteX369" fmla="*/ 4529 w 10000"/>
                <a:gd name="connsiteY369" fmla="*/ 9126 h 10000"/>
                <a:gd name="connsiteX370" fmla="*/ 4492 w 10000"/>
                <a:gd name="connsiteY370" fmla="*/ 9216 h 10000"/>
                <a:gd name="connsiteX371" fmla="*/ 4460 w 10000"/>
                <a:gd name="connsiteY371" fmla="*/ 9251 h 10000"/>
                <a:gd name="connsiteX372" fmla="*/ 4429 w 10000"/>
                <a:gd name="connsiteY372" fmla="*/ 9275 h 10000"/>
                <a:gd name="connsiteX373" fmla="*/ 4404 w 10000"/>
                <a:gd name="connsiteY373" fmla="*/ 9287 h 10000"/>
                <a:gd name="connsiteX374" fmla="*/ 4385 w 10000"/>
                <a:gd name="connsiteY374" fmla="*/ 9293 h 10000"/>
                <a:gd name="connsiteX375" fmla="*/ 4360 w 10000"/>
                <a:gd name="connsiteY375" fmla="*/ 9299 h 10000"/>
                <a:gd name="connsiteX376" fmla="*/ 4329 w 10000"/>
                <a:gd name="connsiteY376" fmla="*/ 9299 h 10000"/>
                <a:gd name="connsiteX377" fmla="*/ 4329 w 10000"/>
                <a:gd name="connsiteY377" fmla="*/ 9347 h 10000"/>
                <a:gd name="connsiteX378" fmla="*/ 4335 w 10000"/>
                <a:gd name="connsiteY378" fmla="*/ 9407 h 10000"/>
                <a:gd name="connsiteX379" fmla="*/ 4348 w 10000"/>
                <a:gd name="connsiteY379" fmla="*/ 9437 h 10000"/>
                <a:gd name="connsiteX380" fmla="*/ 4354 w 10000"/>
                <a:gd name="connsiteY380" fmla="*/ 9461 h 10000"/>
                <a:gd name="connsiteX381" fmla="*/ 4360 w 10000"/>
                <a:gd name="connsiteY381" fmla="*/ 9479 h 10000"/>
                <a:gd name="connsiteX382" fmla="*/ 4373 w 10000"/>
                <a:gd name="connsiteY382" fmla="*/ 9485 h 10000"/>
                <a:gd name="connsiteX383" fmla="*/ 4210 w 10000"/>
                <a:gd name="connsiteY383" fmla="*/ 9611 h 10000"/>
                <a:gd name="connsiteX384" fmla="*/ 4072 w 10000"/>
                <a:gd name="connsiteY384" fmla="*/ 9713 h 10000"/>
                <a:gd name="connsiteX385" fmla="*/ 4009 w 10000"/>
                <a:gd name="connsiteY385" fmla="*/ 9772 h 10000"/>
                <a:gd name="connsiteX386" fmla="*/ 3952 w 10000"/>
                <a:gd name="connsiteY386" fmla="*/ 9838 h 10000"/>
                <a:gd name="connsiteX387" fmla="*/ 3890 w 10000"/>
                <a:gd name="connsiteY387" fmla="*/ 9916 h 10000"/>
                <a:gd name="connsiteX388" fmla="*/ 3833 w 10000"/>
                <a:gd name="connsiteY388" fmla="*/ 10000 h 10000"/>
                <a:gd name="connsiteX389" fmla="*/ 3733 w 10000"/>
                <a:gd name="connsiteY389" fmla="*/ 9958 h 10000"/>
                <a:gd name="connsiteX390" fmla="*/ 3664 w 10000"/>
                <a:gd name="connsiteY390" fmla="*/ 9916 h 10000"/>
                <a:gd name="connsiteX391" fmla="*/ 3607 w 10000"/>
                <a:gd name="connsiteY391" fmla="*/ 9874 h 10000"/>
                <a:gd name="connsiteX392" fmla="*/ 3563 w 10000"/>
                <a:gd name="connsiteY392" fmla="*/ 9826 h 10000"/>
                <a:gd name="connsiteX393" fmla="*/ 3532 w 10000"/>
                <a:gd name="connsiteY393" fmla="*/ 9766 h 10000"/>
                <a:gd name="connsiteX394" fmla="*/ 3513 w 10000"/>
                <a:gd name="connsiteY394" fmla="*/ 9707 h 10000"/>
                <a:gd name="connsiteX395" fmla="*/ 3482 w 10000"/>
                <a:gd name="connsiteY395" fmla="*/ 9635 h 10000"/>
                <a:gd name="connsiteX396" fmla="*/ 3457 w 10000"/>
                <a:gd name="connsiteY396" fmla="*/ 9563 h 10000"/>
                <a:gd name="connsiteX397" fmla="*/ 3400 w 10000"/>
                <a:gd name="connsiteY397" fmla="*/ 9425 h 10000"/>
                <a:gd name="connsiteX398" fmla="*/ 3325 w 10000"/>
                <a:gd name="connsiteY398" fmla="*/ 9293 h 10000"/>
                <a:gd name="connsiteX399" fmla="*/ 3237 w 10000"/>
                <a:gd name="connsiteY399" fmla="*/ 9156 h 10000"/>
                <a:gd name="connsiteX400" fmla="*/ 3143 w 10000"/>
                <a:gd name="connsiteY400" fmla="*/ 9012 h 10000"/>
                <a:gd name="connsiteX401" fmla="*/ 3049 w 10000"/>
                <a:gd name="connsiteY401" fmla="*/ 8880 h 10000"/>
                <a:gd name="connsiteX402" fmla="*/ 2967 w 10000"/>
                <a:gd name="connsiteY402" fmla="*/ 8749 h 10000"/>
                <a:gd name="connsiteX403" fmla="*/ 2892 w 10000"/>
                <a:gd name="connsiteY403" fmla="*/ 8629 h 10000"/>
                <a:gd name="connsiteX404" fmla="*/ 2829 w 10000"/>
                <a:gd name="connsiteY404" fmla="*/ 8527 h 10000"/>
                <a:gd name="connsiteX405" fmla="*/ 2773 w 10000"/>
                <a:gd name="connsiteY405" fmla="*/ 8413 h 10000"/>
                <a:gd name="connsiteX406" fmla="*/ 2735 w 10000"/>
                <a:gd name="connsiteY406" fmla="*/ 8311 h 10000"/>
                <a:gd name="connsiteX407" fmla="*/ 2698 w 10000"/>
                <a:gd name="connsiteY407" fmla="*/ 8204 h 10000"/>
                <a:gd name="connsiteX408" fmla="*/ 2666 w 10000"/>
                <a:gd name="connsiteY408" fmla="*/ 8096 h 10000"/>
                <a:gd name="connsiteX409" fmla="*/ 2629 w 10000"/>
                <a:gd name="connsiteY409" fmla="*/ 7988 h 10000"/>
                <a:gd name="connsiteX410" fmla="*/ 2597 w 10000"/>
                <a:gd name="connsiteY410" fmla="*/ 7880 h 10000"/>
                <a:gd name="connsiteX411" fmla="*/ 2553 w 10000"/>
                <a:gd name="connsiteY411" fmla="*/ 7760 h 10000"/>
                <a:gd name="connsiteX412" fmla="*/ 2497 w 10000"/>
                <a:gd name="connsiteY412" fmla="*/ 7641 h 10000"/>
                <a:gd name="connsiteX413" fmla="*/ 2359 w 10000"/>
                <a:gd name="connsiteY413" fmla="*/ 7449 h 10000"/>
                <a:gd name="connsiteX414" fmla="*/ 2208 w 10000"/>
                <a:gd name="connsiteY414" fmla="*/ 7269 h 10000"/>
                <a:gd name="connsiteX415" fmla="*/ 2139 w 10000"/>
                <a:gd name="connsiteY415" fmla="*/ 7186 h 10000"/>
                <a:gd name="connsiteX416" fmla="*/ 2070 w 10000"/>
                <a:gd name="connsiteY416" fmla="*/ 7090 h 10000"/>
                <a:gd name="connsiteX417" fmla="*/ 2008 w 10000"/>
                <a:gd name="connsiteY417" fmla="*/ 7000 h 10000"/>
                <a:gd name="connsiteX418" fmla="*/ 1957 w 10000"/>
                <a:gd name="connsiteY418" fmla="*/ 6904 h 10000"/>
                <a:gd name="connsiteX419" fmla="*/ 1888 w 10000"/>
                <a:gd name="connsiteY419" fmla="*/ 6671 h 10000"/>
                <a:gd name="connsiteX420" fmla="*/ 1832 w 10000"/>
                <a:gd name="connsiteY420" fmla="*/ 6455 h 10000"/>
                <a:gd name="connsiteX421" fmla="*/ 1782 w 10000"/>
                <a:gd name="connsiteY421" fmla="*/ 6246 h 10000"/>
                <a:gd name="connsiteX422" fmla="*/ 1757 w 10000"/>
                <a:gd name="connsiteY422" fmla="*/ 6036 h 10000"/>
                <a:gd name="connsiteX423" fmla="*/ 1725 w 10000"/>
                <a:gd name="connsiteY423" fmla="*/ 5832 h 10000"/>
                <a:gd name="connsiteX424" fmla="*/ 1713 w 10000"/>
                <a:gd name="connsiteY424" fmla="*/ 5617 h 10000"/>
                <a:gd name="connsiteX425" fmla="*/ 1706 w 10000"/>
                <a:gd name="connsiteY425" fmla="*/ 5395 h 10000"/>
                <a:gd name="connsiteX426" fmla="*/ 1706 w 10000"/>
                <a:gd name="connsiteY426" fmla="*/ 5174 h 10000"/>
                <a:gd name="connsiteX427" fmla="*/ 1681 w 10000"/>
                <a:gd name="connsiteY427" fmla="*/ 5168 h 10000"/>
                <a:gd name="connsiteX428" fmla="*/ 1650 w 10000"/>
                <a:gd name="connsiteY428" fmla="*/ 5162 h 10000"/>
                <a:gd name="connsiteX429" fmla="*/ 1625 w 10000"/>
                <a:gd name="connsiteY429" fmla="*/ 5156 h 10000"/>
                <a:gd name="connsiteX430" fmla="*/ 1606 w 10000"/>
                <a:gd name="connsiteY430" fmla="*/ 5132 h 10000"/>
                <a:gd name="connsiteX431" fmla="*/ 1581 w 10000"/>
                <a:gd name="connsiteY431" fmla="*/ 5120 h 10000"/>
                <a:gd name="connsiteX432" fmla="*/ 1568 w 10000"/>
                <a:gd name="connsiteY432" fmla="*/ 5102 h 10000"/>
                <a:gd name="connsiteX433" fmla="*/ 1550 w 10000"/>
                <a:gd name="connsiteY433" fmla="*/ 5078 h 10000"/>
                <a:gd name="connsiteX434" fmla="*/ 1543 w 10000"/>
                <a:gd name="connsiteY434" fmla="*/ 5054 h 10000"/>
                <a:gd name="connsiteX435" fmla="*/ 1518 w 10000"/>
                <a:gd name="connsiteY435" fmla="*/ 5006 h 10000"/>
                <a:gd name="connsiteX436" fmla="*/ 1506 w 10000"/>
                <a:gd name="connsiteY436" fmla="*/ 4952 h 10000"/>
                <a:gd name="connsiteX437" fmla="*/ 1499 w 10000"/>
                <a:gd name="connsiteY437" fmla="*/ 4892 h 10000"/>
                <a:gd name="connsiteX438" fmla="*/ 1499 w 10000"/>
                <a:gd name="connsiteY438" fmla="*/ 4838 h 10000"/>
                <a:gd name="connsiteX439" fmla="*/ 1443 w 10000"/>
                <a:gd name="connsiteY439" fmla="*/ 4874 h 10000"/>
                <a:gd name="connsiteX440" fmla="*/ 1405 w 10000"/>
                <a:gd name="connsiteY440" fmla="*/ 4916 h 10000"/>
                <a:gd name="connsiteX441" fmla="*/ 1361 w 10000"/>
                <a:gd name="connsiteY441" fmla="*/ 4958 h 10000"/>
                <a:gd name="connsiteX442" fmla="*/ 1317 w 10000"/>
                <a:gd name="connsiteY442" fmla="*/ 5006 h 10000"/>
                <a:gd name="connsiteX443" fmla="*/ 1261 w 10000"/>
                <a:gd name="connsiteY443" fmla="*/ 5102 h 10000"/>
                <a:gd name="connsiteX444" fmla="*/ 1205 w 10000"/>
                <a:gd name="connsiteY444" fmla="*/ 5204 h 10000"/>
                <a:gd name="connsiteX445" fmla="*/ 1167 w 10000"/>
                <a:gd name="connsiteY445" fmla="*/ 5246 h 10000"/>
                <a:gd name="connsiteX446" fmla="*/ 1142 w 10000"/>
                <a:gd name="connsiteY446" fmla="*/ 5287 h 10000"/>
                <a:gd name="connsiteX447" fmla="*/ 1104 w 10000"/>
                <a:gd name="connsiteY447" fmla="*/ 5329 h 10000"/>
                <a:gd name="connsiteX448" fmla="*/ 1073 w 10000"/>
                <a:gd name="connsiteY448" fmla="*/ 5359 h 10000"/>
                <a:gd name="connsiteX449" fmla="*/ 1029 w 10000"/>
                <a:gd name="connsiteY449" fmla="*/ 5389 h 10000"/>
                <a:gd name="connsiteX450" fmla="*/ 985 w 10000"/>
                <a:gd name="connsiteY450" fmla="*/ 5407 h 10000"/>
                <a:gd name="connsiteX451" fmla="*/ 928 w 10000"/>
                <a:gd name="connsiteY451" fmla="*/ 5419 h 10000"/>
                <a:gd name="connsiteX452" fmla="*/ 872 w 10000"/>
                <a:gd name="connsiteY452" fmla="*/ 5425 h 10000"/>
                <a:gd name="connsiteX453" fmla="*/ 841 w 10000"/>
                <a:gd name="connsiteY453" fmla="*/ 5419 h 10000"/>
                <a:gd name="connsiteX454" fmla="*/ 797 w 10000"/>
                <a:gd name="connsiteY454" fmla="*/ 5407 h 10000"/>
                <a:gd name="connsiteX455" fmla="*/ 753 w 10000"/>
                <a:gd name="connsiteY455" fmla="*/ 5389 h 10000"/>
                <a:gd name="connsiteX456" fmla="*/ 709 w 10000"/>
                <a:gd name="connsiteY456" fmla="*/ 5359 h 10000"/>
                <a:gd name="connsiteX457" fmla="*/ 659 w 10000"/>
                <a:gd name="connsiteY457" fmla="*/ 5323 h 10000"/>
                <a:gd name="connsiteX458" fmla="*/ 609 w 10000"/>
                <a:gd name="connsiteY458" fmla="*/ 5287 h 10000"/>
                <a:gd name="connsiteX459" fmla="*/ 565 w 10000"/>
                <a:gd name="connsiteY459" fmla="*/ 5246 h 10000"/>
                <a:gd name="connsiteX460" fmla="*/ 514 w 10000"/>
                <a:gd name="connsiteY460" fmla="*/ 5198 h 10000"/>
                <a:gd name="connsiteX461" fmla="*/ 471 w 10000"/>
                <a:gd name="connsiteY461" fmla="*/ 5150 h 10000"/>
                <a:gd name="connsiteX462" fmla="*/ 433 w 10000"/>
                <a:gd name="connsiteY462" fmla="*/ 5096 h 10000"/>
                <a:gd name="connsiteX463" fmla="*/ 389 w 10000"/>
                <a:gd name="connsiteY463" fmla="*/ 5042 h 10000"/>
                <a:gd name="connsiteX464" fmla="*/ 358 w 10000"/>
                <a:gd name="connsiteY464" fmla="*/ 4988 h 10000"/>
                <a:gd name="connsiteX465" fmla="*/ 326 w 10000"/>
                <a:gd name="connsiteY465" fmla="*/ 4940 h 10000"/>
                <a:gd name="connsiteX466" fmla="*/ 307 w 10000"/>
                <a:gd name="connsiteY466" fmla="*/ 4892 h 10000"/>
                <a:gd name="connsiteX467" fmla="*/ 295 w 10000"/>
                <a:gd name="connsiteY467" fmla="*/ 4844 h 10000"/>
                <a:gd name="connsiteX468" fmla="*/ 289 w 10000"/>
                <a:gd name="connsiteY468" fmla="*/ 4796 h 10000"/>
                <a:gd name="connsiteX469" fmla="*/ 320 w 10000"/>
                <a:gd name="connsiteY469" fmla="*/ 4778 h 10000"/>
                <a:gd name="connsiteX470" fmla="*/ 395 w 10000"/>
                <a:gd name="connsiteY470" fmla="*/ 4743 h 10000"/>
                <a:gd name="connsiteX471" fmla="*/ 483 w 10000"/>
                <a:gd name="connsiteY471" fmla="*/ 4707 h 10000"/>
                <a:gd name="connsiteX472" fmla="*/ 533 w 10000"/>
                <a:gd name="connsiteY472" fmla="*/ 4689 h 10000"/>
                <a:gd name="connsiteX473" fmla="*/ 483 w 10000"/>
                <a:gd name="connsiteY473" fmla="*/ 4689 h 10000"/>
                <a:gd name="connsiteX474" fmla="*/ 420 w 10000"/>
                <a:gd name="connsiteY474" fmla="*/ 4683 h 10000"/>
                <a:gd name="connsiteX475" fmla="*/ 370 w 10000"/>
                <a:gd name="connsiteY475" fmla="*/ 4671 h 10000"/>
                <a:gd name="connsiteX476" fmla="*/ 320 w 10000"/>
                <a:gd name="connsiteY476" fmla="*/ 4665 h 10000"/>
                <a:gd name="connsiteX477" fmla="*/ 276 w 10000"/>
                <a:gd name="connsiteY477" fmla="*/ 4647 h 10000"/>
                <a:gd name="connsiteX478" fmla="*/ 232 w 10000"/>
                <a:gd name="connsiteY478" fmla="*/ 4635 h 10000"/>
                <a:gd name="connsiteX479" fmla="*/ 188 w 10000"/>
                <a:gd name="connsiteY479" fmla="*/ 4617 h 10000"/>
                <a:gd name="connsiteX480" fmla="*/ 157 w 10000"/>
                <a:gd name="connsiteY480" fmla="*/ 4593 h 10000"/>
                <a:gd name="connsiteX481" fmla="*/ 132 w 10000"/>
                <a:gd name="connsiteY481" fmla="*/ 4569 h 10000"/>
                <a:gd name="connsiteX482" fmla="*/ 100 w 10000"/>
                <a:gd name="connsiteY482" fmla="*/ 4545 h 10000"/>
                <a:gd name="connsiteX483" fmla="*/ 75 w 10000"/>
                <a:gd name="connsiteY483" fmla="*/ 4515 h 10000"/>
                <a:gd name="connsiteX484" fmla="*/ 50 w 10000"/>
                <a:gd name="connsiteY484" fmla="*/ 4491 h 10000"/>
                <a:gd name="connsiteX485" fmla="*/ 19 w 10000"/>
                <a:gd name="connsiteY485" fmla="*/ 4419 h 10000"/>
                <a:gd name="connsiteX486" fmla="*/ 0 w 10000"/>
                <a:gd name="connsiteY486" fmla="*/ 4353 h 10000"/>
                <a:gd name="connsiteX487" fmla="*/ 63 w 10000"/>
                <a:gd name="connsiteY487" fmla="*/ 4305 h 10000"/>
                <a:gd name="connsiteX488" fmla="*/ 132 w 10000"/>
                <a:gd name="connsiteY488" fmla="*/ 4269 h 10000"/>
                <a:gd name="connsiteX489" fmla="*/ 201 w 10000"/>
                <a:gd name="connsiteY489" fmla="*/ 4240 h 10000"/>
                <a:gd name="connsiteX490" fmla="*/ 276 w 10000"/>
                <a:gd name="connsiteY490" fmla="*/ 4216 h 10000"/>
                <a:gd name="connsiteX491" fmla="*/ 420 w 10000"/>
                <a:gd name="connsiteY491" fmla="*/ 4186 h 10000"/>
                <a:gd name="connsiteX492" fmla="*/ 565 w 10000"/>
                <a:gd name="connsiteY492" fmla="*/ 4162 h 10000"/>
                <a:gd name="connsiteX493" fmla="*/ 640 w 10000"/>
                <a:gd name="connsiteY493" fmla="*/ 4150 h 10000"/>
                <a:gd name="connsiteX494" fmla="*/ 709 w 10000"/>
                <a:gd name="connsiteY494" fmla="*/ 4126 h 10000"/>
                <a:gd name="connsiteX495" fmla="*/ 772 w 10000"/>
                <a:gd name="connsiteY495" fmla="*/ 4108 h 10000"/>
                <a:gd name="connsiteX496" fmla="*/ 834 w 10000"/>
                <a:gd name="connsiteY496" fmla="*/ 4078 h 10000"/>
                <a:gd name="connsiteX497" fmla="*/ 891 w 10000"/>
                <a:gd name="connsiteY497" fmla="*/ 4048 h 10000"/>
                <a:gd name="connsiteX498" fmla="*/ 947 w 10000"/>
                <a:gd name="connsiteY498" fmla="*/ 4000 h 10000"/>
                <a:gd name="connsiteX499" fmla="*/ 997 w 10000"/>
                <a:gd name="connsiteY499" fmla="*/ 3946 h 10000"/>
                <a:gd name="connsiteX500" fmla="*/ 1035 w 10000"/>
                <a:gd name="connsiteY500" fmla="*/ 3880 h 10000"/>
                <a:gd name="connsiteX501" fmla="*/ 1010 w 10000"/>
                <a:gd name="connsiteY501" fmla="*/ 3868 h 10000"/>
                <a:gd name="connsiteX502" fmla="*/ 985 w 10000"/>
                <a:gd name="connsiteY502" fmla="*/ 3850 h 10000"/>
                <a:gd name="connsiteX503" fmla="*/ 947 w 10000"/>
                <a:gd name="connsiteY503" fmla="*/ 3826 h 10000"/>
                <a:gd name="connsiteX504" fmla="*/ 910 w 10000"/>
                <a:gd name="connsiteY504" fmla="*/ 3790 h 10000"/>
                <a:gd name="connsiteX505" fmla="*/ 822 w 10000"/>
                <a:gd name="connsiteY505" fmla="*/ 3719 h 10000"/>
                <a:gd name="connsiteX506" fmla="*/ 740 w 10000"/>
                <a:gd name="connsiteY506" fmla="*/ 3635 h 10000"/>
                <a:gd name="connsiteX507" fmla="*/ 665 w 10000"/>
                <a:gd name="connsiteY507" fmla="*/ 3545 h 10000"/>
                <a:gd name="connsiteX508" fmla="*/ 596 w 10000"/>
                <a:gd name="connsiteY508" fmla="*/ 3449 h 10000"/>
                <a:gd name="connsiteX509" fmla="*/ 577 w 10000"/>
                <a:gd name="connsiteY509" fmla="*/ 3407 h 10000"/>
                <a:gd name="connsiteX510" fmla="*/ 558 w 10000"/>
                <a:gd name="connsiteY510" fmla="*/ 3365 h 10000"/>
                <a:gd name="connsiteX511" fmla="*/ 540 w 10000"/>
                <a:gd name="connsiteY511" fmla="*/ 3323 h 10000"/>
                <a:gd name="connsiteX512" fmla="*/ 533 w 10000"/>
                <a:gd name="connsiteY512" fmla="*/ 3287 h 10000"/>
                <a:gd name="connsiteX513" fmla="*/ 508 w 10000"/>
                <a:gd name="connsiteY513" fmla="*/ 3281 h 10000"/>
                <a:gd name="connsiteX514" fmla="*/ 483 w 10000"/>
                <a:gd name="connsiteY514" fmla="*/ 3275 h 10000"/>
                <a:gd name="connsiteX515" fmla="*/ 458 w 10000"/>
                <a:gd name="connsiteY515" fmla="*/ 3263 h 10000"/>
                <a:gd name="connsiteX516" fmla="*/ 439 w 10000"/>
                <a:gd name="connsiteY516" fmla="*/ 3240 h 10000"/>
                <a:gd name="connsiteX517" fmla="*/ 402 w 10000"/>
                <a:gd name="connsiteY517" fmla="*/ 3198 h 10000"/>
                <a:gd name="connsiteX518" fmla="*/ 370 w 10000"/>
                <a:gd name="connsiteY518" fmla="*/ 3138 h 10000"/>
                <a:gd name="connsiteX519" fmla="*/ 370 w 10000"/>
                <a:gd name="connsiteY519" fmla="*/ 2994 h 10000"/>
                <a:gd name="connsiteX520" fmla="*/ 458 w 10000"/>
                <a:gd name="connsiteY520" fmla="*/ 2988 h 10000"/>
                <a:gd name="connsiteX521" fmla="*/ 540 w 10000"/>
                <a:gd name="connsiteY521" fmla="*/ 2982 h 10000"/>
                <a:gd name="connsiteX522" fmla="*/ 615 w 10000"/>
                <a:gd name="connsiteY522" fmla="*/ 2970 h 10000"/>
                <a:gd name="connsiteX523" fmla="*/ 684 w 10000"/>
                <a:gd name="connsiteY523" fmla="*/ 2946 h 10000"/>
                <a:gd name="connsiteX524" fmla="*/ 747 w 10000"/>
                <a:gd name="connsiteY524" fmla="*/ 2928 h 10000"/>
                <a:gd name="connsiteX525" fmla="*/ 809 w 10000"/>
                <a:gd name="connsiteY525" fmla="*/ 2898 h 10000"/>
                <a:gd name="connsiteX526" fmla="*/ 866 w 10000"/>
                <a:gd name="connsiteY526" fmla="*/ 2868 h 10000"/>
                <a:gd name="connsiteX527" fmla="*/ 922 w 10000"/>
                <a:gd name="connsiteY527" fmla="*/ 2832 h 10000"/>
                <a:gd name="connsiteX528" fmla="*/ 966 w 10000"/>
                <a:gd name="connsiteY528" fmla="*/ 2790 h 10000"/>
                <a:gd name="connsiteX529" fmla="*/ 1016 w 10000"/>
                <a:gd name="connsiteY529" fmla="*/ 2749 h 10000"/>
                <a:gd name="connsiteX530" fmla="*/ 1060 w 10000"/>
                <a:gd name="connsiteY530" fmla="*/ 2707 h 10000"/>
                <a:gd name="connsiteX531" fmla="*/ 1098 w 10000"/>
                <a:gd name="connsiteY531" fmla="*/ 2659 h 10000"/>
                <a:gd name="connsiteX532" fmla="*/ 1167 w 10000"/>
                <a:gd name="connsiteY532" fmla="*/ 2563 h 10000"/>
                <a:gd name="connsiteX533" fmla="*/ 1236 w 10000"/>
                <a:gd name="connsiteY533" fmla="*/ 2455 h 10000"/>
                <a:gd name="connsiteX534" fmla="*/ 1355 w 10000"/>
                <a:gd name="connsiteY534" fmla="*/ 2240 h 10000"/>
                <a:gd name="connsiteX535" fmla="*/ 1474 w 10000"/>
                <a:gd name="connsiteY535" fmla="*/ 2024 h 10000"/>
                <a:gd name="connsiteX536" fmla="*/ 1543 w 10000"/>
                <a:gd name="connsiteY536" fmla="*/ 1928 h 10000"/>
                <a:gd name="connsiteX537" fmla="*/ 1612 w 10000"/>
                <a:gd name="connsiteY537" fmla="*/ 1844 h 10000"/>
                <a:gd name="connsiteX538" fmla="*/ 1650 w 10000"/>
                <a:gd name="connsiteY538" fmla="*/ 1796 h 10000"/>
                <a:gd name="connsiteX539" fmla="*/ 1694 w 10000"/>
                <a:gd name="connsiteY539" fmla="*/ 1760 h 10000"/>
                <a:gd name="connsiteX540" fmla="*/ 1738 w 10000"/>
                <a:gd name="connsiteY540" fmla="*/ 1731 h 10000"/>
                <a:gd name="connsiteX541" fmla="*/ 1788 w 10000"/>
                <a:gd name="connsiteY541" fmla="*/ 1701 h 10000"/>
                <a:gd name="connsiteX542" fmla="*/ 1750 w 10000"/>
                <a:gd name="connsiteY542" fmla="*/ 1629 h 10000"/>
                <a:gd name="connsiteX543" fmla="*/ 1719 w 10000"/>
                <a:gd name="connsiteY543" fmla="*/ 1563 h 10000"/>
                <a:gd name="connsiteX544" fmla="*/ 1713 w 10000"/>
                <a:gd name="connsiteY544" fmla="*/ 1533 h 10000"/>
                <a:gd name="connsiteX545" fmla="*/ 1706 w 10000"/>
                <a:gd name="connsiteY545" fmla="*/ 1503 h 10000"/>
                <a:gd name="connsiteX546" fmla="*/ 1706 w 10000"/>
                <a:gd name="connsiteY546" fmla="*/ 1467 h 10000"/>
                <a:gd name="connsiteX547" fmla="*/ 1706 w 10000"/>
                <a:gd name="connsiteY547" fmla="*/ 1437 h 10000"/>
                <a:gd name="connsiteX548" fmla="*/ 1713 w 10000"/>
                <a:gd name="connsiteY548" fmla="*/ 1407 h 10000"/>
                <a:gd name="connsiteX549" fmla="*/ 1719 w 10000"/>
                <a:gd name="connsiteY549" fmla="*/ 1377 h 10000"/>
                <a:gd name="connsiteX550" fmla="*/ 1731 w 10000"/>
                <a:gd name="connsiteY550" fmla="*/ 1353 h 10000"/>
                <a:gd name="connsiteX551" fmla="*/ 1757 w 10000"/>
                <a:gd name="connsiteY551" fmla="*/ 1329 h 10000"/>
                <a:gd name="connsiteX552" fmla="*/ 1775 w 10000"/>
                <a:gd name="connsiteY552" fmla="*/ 1311 h 10000"/>
                <a:gd name="connsiteX553" fmla="*/ 1801 w 10000"/>
                <a:gd name="connsiteY553" fmla="*/ 1293 h 10000"/>
                <a:gd name="connsiteX554" fmla="*/ 1838 w 10000"/>
                <a:gd name="connsiteY554" fmla="*/ 1275 h 10000"/>
                <a:gd name="connsiteX555" fmla="*/ 1870 w 10000"/>
                <a:gd name="connsiteY555" fmla="*/ 1257 h 10000"/>
                <a:gd name="connsiteX556" fmla="*/ 1688 w 10000"/>
                <a:gd name="connsiteY556" fmla="*/ 1096 h 10000"/>
                <a:gd name="connsiteX557" fmla="*/ 1550 w 10000"/>
                <a:gd name="connsiteY557" fmla="*/ 976 h 10000"/>
                <a:gd name="connsiteX558" fmla="*/ 1487 w 10000"/>
                <a:gd name="connsiteY558" fmla="*/ 916 h 10000"/>
                <a:gd name="connsiteX559" fmla="*/ 1424 w 10000"/>
                <a:gd name="connsiteY559" fmla="*/ 850 h 10000"/>
                <a:gd name="connsiteX560" fmla="*/ 1361 w 10000"/>
                <a:gd name="connsiteY560" fmla="*/ 766 h 10000"/>
                <a:gd name="connsiteX561" fmla="*/ 1286 w 10000"/>
                <a:gd name="connsiteY561" fmla="*/ 665 h 10000"/>
                <a:gd name="connsiteX562" fmla="*/ 1286 w 10000"/>
                <a:gd name="connsiteY562" fmla="*/ 407 h 10000"/>
                <a:gd name="connsiteX563" fmla="*/ 1437 w 10000"/>
                <a:gd name="connsiteY563" fmla="*/ 407 h 10000"/>
                <a:gd name="connsiteX564" fmla="*/ 1606 w 10000"/>
                <a:gd name="connsiteY564" fmla="*/ 395 h 10000"/>
                <a:gd name="connsiteX565" fmla="*/ 1694 w 10000"/>
                <a:gd name="connsiteY565" fmla="*/ 389 h 10000"/>
                <a:gd name="connsiteX566" fmla="*/ 1775 w 10000"/>
                <a:gd name="connsiteY566" fmla="*/ 377 h 10000"/>
                <a:gd name="connsiteX567" fmla="*/ 1863 w 10000"/>
                <a:gd name="connsiteY567" fmla="*/ 359 h 10000"/>
                <a:gd name="connsiteX568" fmla="*/ 1945 w 10000"/>
                <a:gd name="connsiteY568" fmla="*/ 341 h 10000"/>
                <a:gd name="connsiteX569" fmla="*/ 2020 w 10000"/>
                <a:gd name="connsiteY569" fmla="*/ 323 h 10000"/>
                <a:gd name="connsiteX570" fmla="*/ 2102 w 10000"/>
                <a:gd name="connsiteY570" fmla="*/ 293 h 10000"/>
                <a:gd name="connsiteX571" fmla="*/ 2177 w 10000"/>
                <a:gd name="connsiteY571" fmla="*/ 263 h 10000"/>
                <a:gd name="connsiteX572" fmla="*/ 2240 w 10000"/>
                <a:gd name="connsiteY572" fmla="*/ 222 h 10000"/>
                <a:gd name="connsiteX573" fmla="*/ 2296 w 10000"/>
                <a:gd name="connsiteY573" fmla="*/ 180 h 10000"/>
                <a:gd name="connsiteX574" fmla="*/ 2415 w 10000"/>
                <a:gd name="connsiteY574" fmla="*/ 17 h 10000"/>
                <a:gd name="connsiteX575" fmla="*/ 2390 w 10000"/>
                <a:gd name="connsiteY575" fmla="*/ 66 h 10000"/>
                <a:gd name="connsiteX576" fmla="*/ 2415 w 10000"/>
                <a:gd name="connsiteY576" fmla="*/ 0 h 10000"/>
                <a:gd name="connsiteX0" fmla="*/ 2415 w 10000"/>
                <a:gd name="connsiteY0" fmla="*/ 0 h 10000"/>
                <a:gd name="connsiteX1" fmla="*/ 2509 w 10000"/>
                <a:gd name="connsiteY1" fmla="*/ 96 h 10000"/>
                <a:gd name="connsiteX2" fmla="*/ 2818 w 10000"/>
                <a:gd name="connsiteY2" fmla="*/ 62 h 10000"/>
                <a:gd name="connsiteX3" fmla="*/ 2776 w 10000"/>
                <a:gd name="connsiteY3" fmla="*/ 144 h 10000"/>
                <a:gd name="connsiteX4" fmla="*/ 2817 w 10000"/>
                <a:gd name="connsiteY4" fmla="*/ 151 h 10000"/>
                <a:gd name="connsiteX5" fmla="*/ 2914 w 10000"/>
                <a:gd name="connsiteY5" fmla="*/ 159 h 10000"/>
                <a:gd name="connsiteX6" fmla="*/ 3121 w 10000"/>
                <a:gd name="connsiteY6" fmla="*/ 264 h 10000"/>
                <a:gd name="connsiteX7" fmla="*/ 3086 w 10000"/>
                <a:gd name="connsiteY7" fmla="*/ 485 h 10000"/>
                <a:gd name="connsiteX8" fmla="*/ 3152 w 10000"/>
                <a:gd name="connsiteY8" fmla="*/ 521 h 10000"/>
                <a:gd name="connsiteX9" fmla="*/ 3093 w 10000"/>
                <a:gd name="connsiteY9" fmla="*/ 551 h 10000"/>
                <a:gd name="connsiteX10" fmla="*/ 2992 w 10000"/>
                <a:gd name="connsiteY10" fmla="*/ 641 h 10000"/>
                <a:gd name="connsiteX11" fmla="*/ 3043 w 10000"/>
                <a:gd name="connsiteY11" fmla="*/ 665 h 10000"/>
                <a:gd name="connsiteX12" fmla="*/ 3087 w 10000"/>
                <a:gd name="connsiteY12" fmla="*/ 707 h 10000"/>
                <a:gd name="connsiteX13" fmla="*/ 3130 w 10000"/>
                <a:gd name="connsiteY13" fmla="*/ 754 h 10000"/>
                <a:gd name="connsiteX14" fmla="*/ 3174 w 10000"/>
                <a:gd name="connsiteY14" fmla="*/ 802 h 10000"/>
                <a:gd name="connsiteX15" fmla="*/ 3212 w 10000"/>
                <a:gd name="connsiteY15" fmla="*/ 862 h 10000"/>
                <a:gd name="connsiteX16" fmla="*/ 3256 w 10000"/>
                <a:gd name="connsiteY16" fmla="*/ 916 h 10000"/>
                <a:gd name="connsiteX17" fmla="*/ 3281 w 10000"/>
                <a:gd name="connsiteY17" fmla="*/ 976 h 10000"/>
                <a:gd name="connsiteX18" fmla="*/ 3312 w 10000"/>
                <a:gd name="connsiteY18" fmla="*/ 1042 h 10000"/>
                <a:gd name="connsiteX19" fmla="*/ 3331 w 10000"/>
                <a:gd name="connsiteY19" fmla="*/ 1108 h 10000"/>
                <a:gd name="connsiteX20" fmla="*/ 3043 w 10000"/>
                <a:gd name="connsiteY20" fmla="*/ 1108 h 10000"/>
                <a:gd name="connsiteX21" fmla="*/ 3043 w 10000"/>
                <a:gd name="connsiteY21" fmla="*/ 1293 h 10000"/>
                <a:gd name="connsiteX22" fmla="*/ 3074 w 10000"/>
                <a:gd name="connsiteY22" fmla="*/ 1371 h 10000"/>
                <a:gd name="connsiteX23" fmla="*/ 3118 w 10000"/>
                <a:gd name="connsiteY23" fmla="*/ 1437 h 10000"/>
                <a:gd name="connsiteX24" fmla="*/ 3168 w 10000"/>
                <a:gd name="connsiteY24" fmla="*/ 1497 h 10000"/>
                <a:gd name="connsiteX25" fmla="*/ 3225 w 10000"/>
                <a:gd name="connsiteY25" fmla="*/ 1539 h 10000"/>
                <a:gd name="connsiteX26" fmla="*/ 3281 w 10000"/>
                <a:gd name="connsiteY26" fmla="*/ 1581 h 10000"/>
                <a:gd name="connsiteX27" fmla="*/ 3350 w 10000"/>
                <a:gd name="connsiteY27" fmla="*/ 1611 h 10000"/>
                <a:gd name="connsiteX28" fmla="*/ 3413 w 10000"/>
                <a:gd name="connsiteY28" fmla="*/ 1641 h 10000"/>
                <a:gd name="connsiteX29" fmla="*/ 3488 w 10000"/>
                <a:gd name="connsiteY29" fmla="*/ 1665 h 10000"/>
                <a:gd name="connsiteX30" fmla="*/ 3626 w 10000"/>
                <a:gd name="connsiteY30" fmla="*/ 1719 h 10000"/>
                <a:gd name="connsiteX31" fmla="*/ 3764 w 10000"/>
                <a:gd name="connsiteY31" fmla="*/ 1772 h 10000"/>
                <a:gd name="connsiteX32" fmla="*/ 3827 w 10000"/>
                <a:gd name="connsiteY32" fmla="*/ 1808 h 10000"/>
                <a:gd name="connsiteX33" fmla="*/ 3890 w 10000"/>
                <a:gd name="connsiteY33" fmla="*/ 1856 h 10000"/>
                <a:gd name="connsiteX34" fmla="*/ 3946 w 10000"/>
                <a:gd name="connsiteY34" fmla="*/ 1904 h 10000"/>
                <a:gd name="connsiteX35" fmla="*/ 4003 w 10000"/>
                <a:gd name="connsiteY35" fmla="*/ 1958 h 10000"/>
                <a:gd name="connsiteX36" fmla="*/ 3959 w 10000"/>
                <a:gd name="connsiteY36" fmla="*/ 2515 h 10000"/>
                <a:gd name="connsiteX37" fmla="*/ 4034 w 10000"/>
                <a:gd name="connsiteY37" fmla="*/ 2569 h 10000"/>
                <a:gd name="connsiteX38" fmla="*/ 4141 w 10000"/>
                <a:gd name="connsiteY38" fmla="*/ 2635 h 10000"/>
                <a:gd name="connsiteX39" fmla="*/ 4260 w 10000"/>
                <a:gd name="connsiteY39" fmla="*/ 2695 h 10000"/>
                <a:gd name="connsiteX40" fmla="*/ 4398 w 10000"/>
                <a:gd name="connsiteY40" fmla="*/ 2749 h 10000"/>
                <a:gd name="connsiteX41" fmla="*/ 4536 w 10000"/>
                <a:gd name="connsiteY41" fmla="*/ 2802 h 10000"/>
                <a:gd name="connsiteX42" fmla="*/ 4668 w 10000"/>
                <a:gd name="connsiteY42" fmla="*/ 2844 h 10000"/>
                <a:gd name="connsiteX43" fmla="*/ 4724 w 10000"/>
                <a:gd name="connsiteY43" fmla="*/ 2862 h 10000"/>
                <a:gd name="connsiteX44" fmla="*/ 4780 w 10000"/>
                <a:gd name="connsiteY44" fmla="*/ 2874 h 10000"/>
                <a:gd name="connsiteX45" fmla="*/ 4831 w 10000"/>
                <a:gd name="connsiteY45" fmla="*/ 2880 h 10000"/>
                <a:gd name="connsiteX46" fmla="*/ 4875 w 10000"/>
                <a:gd name="connsiteY46" fmla="*/ 2880 h 10000"/>
                <a:gd name="connsiteX47" fmla="*/ 4887 w 10000"/>
                <a:gd name="connsiteY47" fmla="*/ 2922 h 10000"/>
                <a:gd name="connsiteX48" fmla="*/ 4918 w 10000"/>
                <a:gd name="connsiteY48" fmla="*/ 2958 h 10000"/>
                <a:gd name="connsiteX49" fmla="*/ 4950 w 10000"/>
                <a:gd name="connsiteY49" fmla="*/ 2976 h 10000"/>
                <a:gd name="connsiteX50" fmla="*/ 4987 w 10000"/>
                <a:gd name="connsiteY50" fmla="*/ 2988 h 10000"/>
                <a:gd name="connsiteX51" fmla="*/ 5019 w 10000"/>
                <a:gd name="connsiteY51" fmla="*/ 3000 h 10000"/>
                <a:gd name="connsiteX52" fmla="*/ 5063 w 10000"/>
                <a:gd name="connsiteY52" fmla="*/ 3000 h 10000"/>
                <a:gd name="connsiteX53" fmla="*/ 5107 w 10000"/>
                <a:gd name="connsiteY53" fmla="*/ 2994 h 10000"/>
                <a:gd name="connsiteX54" fmla="*/ 5157 w 10000"/>
                <a:gd name="connsiteY54" fmla="*/ 2988 h 10000"/>
                <a:gd name="connsiteX55" fmla="*/ 5245 w 10000"/>
                <a:gd name="connsiteY55" fmla="*/ 2970 h 10000"/>
                <a:gd name="connsiteX56" fmla="*/ 5345 w 10000"/>
                <a:gd name="connsiteY56" fmla="*/ 2946 h 10000"/>
                <a:gd name="connsiteX57" fmla="*/ 5383 w 10000"/>
                <a:gd name="connsiteY57" fmla="*/ 2946 h 10000"/>
                <a:gd name="connsiteX58" fmla="*/ 5427 w 10000"/>
                <a:gd name="connsiteY58" fmla="*/ 2940 h 10000"/>
                <a:gd name="connsiteX59" fmla="*/ 5464 w 10000"/>
                <a:gd name="connsiteY59" fmla="*/ 2946 h 10000"/>
                <a:gd name="connsiteX60" fmla="*/ 5502 w 10000"/>
                <a:gd name="connsiteY60" fmla="*/ 2952 h 10000"/>
                <a:gd name="connsiteX61" fmla="*/ 5558 w 10000"/>
                <a:gd name="connsiteY61" fmla="*/ 2988 h 10000"/>
                <a:gd name="connsiteX62" fmla="*/ 5596 w 10000"/>
                <a:gd name="connsiteY62" fmla="*/ 3018 h 10000"/>
                <a:gd name="connsiteX63" fmla="*/ 5634 w 10000"/>
                <a:gd name="connsiteY63" fmla="*/ 3060 h 10000"/>
                <a:gd name="connsiteX64" fmla="*/ 5665 w 10000"/>
                <a:gd name="connsiteY64" fmla="*/ 3096 h 10000"/>
                <a:gd name="connsiteX65" fmla="*/ 5696 w 10000"/>
                <a:gd name="connsiteY65" fmla="*/ 3132 h 10000"/>
                <a:gd name="connsiteX66" fmla="*/ 5734 w 10000"/>
                <a:gd name="connsiteY66" fmla="*/ 3168 h 10000"/>
                <a:gd name="connsiteX67" fmla="*/ 5759 w 10000"/>
                <a:gd name="connsiteY67" fmla="*/ 3186 h 10000"/>
                <a:gd name="connsiteX68" fmla="*/ 5778 w 10000"/>
                <a:gd name="connsiteY68" fmla="*/ 3198 h 10000"/>
                <a:gd name="connsiteX69" fmla="*/ 5803 w 10000"/>
                <a:gd name="connsiteY69" fmla="*/ 3210 h 10000"/>
                <a:gd name="connsiteX70" fmla="*/ 5834 w 10000"/>
                <a:gd name="connsiteY70" fmla="*/ 3216 h 10000"/>
                <a:gd name="connsiteX71" fmla="*/ 5935 w 10000"/>
                <a:gd name="connsiteY71" fmla="*/ 3234 h 10000"/>
                <a:gd name="connsiteX72" fmla="*/ 6073 w 10000"/>
                <a:gd name="connsiteY72" fmla="*/ 3269 h 10000"/>
                <a:gd name="connsiteX73" fmla="*/ 6230 w 10000"/>
                <a:gd name="connsiteY73" fmla="*/ 3305 h 10000"/>
                <a:gd name="connsiteX74" fmla="*/ 6405 w 10000"/>
                <a:gd name="connsiteY74" fmla="*/ 3347 h 10000"/>
                <a:gd name="connsiteX75" fmla="*/ 6568 w 10000"/>
                <a:gd name="connsiteY75" fmla="*/ 3377 h 10000"/>
                <a:gd name="connsiteX76" fmla="*/ 6719 w 10000"/>
                <a:gd name="connsiteY76" fmla="*/ 3401 h 10000"/>
                <a:gd name="connsiteX77" fmla="*/ 6788 w 10000"/>
                <a:gd name="connsiteY77" fmla="*/ 3407 h 10000"/>
                <a:gd name="connsiteX78" fmla="*/ 6838 w 10000"/>
                <a:gd name="connsiteY78" fmla="*/ 3413 h 10000"/>
                <a:gd name="connsiteX79" fmla="*/ 6888 w 10000"/>
                <a:gd name="connsiteY79" fmla="*/ 3407 h 10000"/>
                <a:gd name="connsiteX80" fmla="*/ 6913 w 10000"/>
                <a:gd name="connsiteY80" fmla="*/ 3395 h 10000"/>
                <a:gd name="connsiteX81" fmla="*/ 6888 w 10000"/>
                <a:gd name="connsiteY81" fmla="*/ 3353 h 10000"/>
                <a:gd name="connsiteX82" fmla="*/ 6857 w 10000"/>
                <a:gd name="connsiteY82" fmla="*/ 3305 h 10000"/>
                <a:gd name="connsiteX83" fmla="*/ 6838 w 10000"/>
                <a:gd name="connsiteY83" fmla="*/ 3257 h 10000"/>
                <a:gd name="connsiteX84" fmla="*/ 6826 w 10000"/>
                <a:gd name="connsiteY84" fmla="*/ 3204 h 10000"/>
                <a:gd name="connsiteX85" fmla="*/ 6794 w 10000"/>
                <a:gd name="connsiteY85" fmla="*/ 3114 h 10000"/>
                <a:gd name="connsiteX86" fmla="*/ 6788 w 10000"/>
                <a:gd name="connsiteY86" fmla="*/ 3066 h 10000"/>
                <a:gd name="connsiteX87" fmla="*/ 6788 w 10000"/>
                <a:gd name="connsiteY87" fmla="*/ 2880 h 10000"/>
                <a:gd name="connsiteX88" fmla="*/ 6788 w 10000"/>
                <a:gd name="connsiteY88" fmla="*/ 2695 h 10000"/>
                <a:gd name="connsiteX89" fmla="*/ 6995 w 10000"/>
                <a:gd name="connsiteY89" fmla="*/ 2695 h 10000"/>
                <a:gd name="connsiteX90" fmla="*/ 7033 w 10000"/>
                <a:gd name="connsiteY90" fmla="*/ 2760 h 10000"/>
                <a:gd name="connsiteX91" fmla="*/ 7058 w 10000"/>
                <a:gd name="connsiteY91" fmla="*/ 2802 h 10000"/>
                <a:gd name="connsiteX92" fmla="*/ 7095 w 10000"/>
                <a:gd name="connsiteY92" fmla="*/ 2838 h 10000"/>
                <a:gd name="connsiteX93" fmla="*/ 7127 w 10000"/>
                <a:gd name="connsiteY93" fmla="*/ 2880 h 10000"/>
                <a:gd name="connsiteX94" fmla="*/ 7120 w 10000"/>
                <a:gd name="connsiteY94" fmla="*/ 2976 h 10000"/>
                <a:gd name="connsiteX95" fmla="*/ 7102 w 10000"/>
                <a:gd name="connsiteY95" fmla="*/ 3036 h 10000"/>
                <a:gd name="connsiteX96" fmla="*/ 7089 w 10000"/>
                <a:gd name="connsiteY96" fmla="*/ 3084 h 10000"/>
                <a:gd name="connsiteX97" fmla="*/ 7077 w 10000"/>
                <a:gd name="connsiteY97" fmla="*/ 3138 h 10000"/>
                <a:gd name="connsiteX98" fmla="*/ 7208 w 10000"/>
                <a:gd name="connsiteY98" fmla="*/ 3174 h 10000"/>
                <a:gd name="connsiteX99" fmla="*/ 7334 w 10000"/>
                <a:gd name="connsiteY99" fmla="*/ 3210 h 10000"/>
                <a:gd name="connsiteX100" fmla="*/ 7396 w 10000"/>
                <a:gd name="connsiteY100" fmla="*/ 3228 h 10000"/>
                <a:gd name="connsiteX101" fmla="*/ 7459 w 10000"/>
                <a:gd name="connsiteY101" fmla="*/ 3240 h 10000"/>
                <a:gd name="connsiteX102" fmla="*/ 7522 w 10000"/>
                <a:gd name="connsiteY102" fmla="*/ 3246 h 10000"/>
                <a:gd name="connsiteX103" fmla="*/ 7585 w 10000"/>
                <a:gd name="connsiteY103" fmla="*/ 3251 h 10000"/>
                <a:gd name="connsiteX104" fmla="*/ 7591 w 10000"/>
                <a:gd name="connsiteY104" fmla="*/ 3275 h 10000"/>
                <a:gd name="connsiteX105" fmla="*/ 7604 w 10000"/>
                <a:gd name="connsiteY105" fmla="*/ 3299 h 10000"/>
                <a:gd name="connsiteX106" fmla="*/ 7622 w 10000"/>
                <a:gd name="connsiteY106" fmla="*/ 3317 h 10000"/>
                <a:gd name="connsiteX107" fmla="*/ 7654 w 10000"/>
                <a:gd name="connsiteY107" fmla="*/ 3335 h 10000"/>
                <a:gd name="connsiteX108" fmla="*/ 7704 w 10000"/>
                <a:gd name="connsiteY108" fmla="*/ 3353 h 10000"/>
                <a:gd name="connsiteX109" fmla="*/ 7748 w 10000"/>
                <a:gd name="connsiteY109" fmla="*/ 3359 h 10000"/>
                <a:gd name="connsiteX110" fmla="*/ 7798 w 10000"/>
                <a:gd name="connsiteY110" fmla="*/ 3359 h 10000"/>
                <a:gd name="connsiteX111" fmla="*/ 7836 w 10000"/>
                <a:gd name="connsiteY111" fmla="*/ 3347 h 10000"/>
                <a:gd name="connsiteX112" fmla="*/ 7880 w 10000"/>
                <a:gd name="connsiteY112" fmla="*/ 3329 h 10000"/>
                <a:gd name="connsiteX113" fmla="*/ 7911 w 10000"/>
                <a:gd name="connsiteY113" fmla="*/ 3311 h 10000"/>
                <a:gd name="connsiteX114" fmla="*/ 7949 w 10000"/>
                <a:gd name="connsiteY114" fmla="*/ 3287 h 10000"/>
                <a:gd name="connsiteX115" fmla="*/ 7980 w 10000"/>
                <a:gd name="connsiteY115" fmla="*/ 3257 h 10000"/>
                <a:gd name="connsiteX116" fmla="*/ 8011 w 10000"/>
                <a:gd name="connsiteY116" fmla="*/ 3228 h 10000"/>
                <a:gd name="connsiteX117" fmla="*/ 8036 w 10000"/>
                <a:gd name="connsiteY117" fmla="*/ 3198 h 10000"/>
                <a:gd name="connsiteX118" fmla="*/ 8087 w 10000"/>
                <a:gd name="connsiteY118" fmla="*/ 3120 h 10000"/>
                <a:gd name="connsiteX119" fmla="*/ 8118 w 10000"/>
                <a:gd name="connsiteY119" fmla="*/ 3048 h 10000"/>
                <a:gd name="connsiteX120" fmla="*/ 8149 w 10000"/>
                <a:gd name="connsiteY120" fmla="*/ 2982 h 10000"/>
                <a:gd name="connsiteX121" fmla="*/ 8168 w 10000"/>
                <a:gd name="connsiteY121" fmla="*/ 2916 h 10000"/>
                <a:gd name="connsiteX122" fmla="*/ 8231 w 10000"/>
                <a:gd name="connsiteY122" fmla="*/ 2850 h 10000"/>
                <a:gd name="connsiteX123" fmla="*/ 8294 w 10000"/>
                <a:gd name="connsiteY123" fmla="*/ 2784 h 10000"/>
                <a:gd name="connsiteX124" fmla="*/ 8363 w 10000"/>
                <a:gd name="connsiteY124" fmla="*/ 2731 h 10000"/>
                <a:gd name="connsiteX125" fmla="*/ 8432 w 10000"/>
                <a:gd name="connsiteY125" fmla="*/ 2671 h 10000"/>
                <a:gd name="connsiteX126" fmla="*/ 8507 w 10000"/>
                <a:gd name="connsiteY126" fmla="*/ 2623 h 10000"/>
                <a:gd name="connsiteX127" fmla="*/ 8576 w 10000"/>
                <a:gd name="connsiteY127" fmla="*/ 2575 h 10000"/>
                <a:gd name="connsiteX128" fmla="*/ 8651 w 10000"/>
                <a:gd name="connsiteY128" fmla="*/ 2533 h 10000"/>
                <a:gd name="connsiteX129" fmla="*/ 8726 w 10000"/>
                <a:gd name="connsiteY129" fmla="*/ 2491 h 10000"/>
                <a:gd name="connsiteX130" fmla="*/ 8808 w 10000"/>
                <a:gd name="connsiteY130" fmla="*/ 2449 h 10000"/>
                <a:gd name="connsiteX131" fmla="*/ 8890 w 10000"/>
                <a:gd name="connsiteY131" fmla="*/ 2413 h 10000"/>
                <a:gd name="connsiteX132" fmla="*/ 8971 w 10000"/>
                <a:gd name="connsiteY132" fmla="*/ 2383 h 10000"/>
                <a:gd name="connsiteX133" fmla="*/ 9059 w 10000"/>
                <a:gd name="connsiteY133" fmla="*/ 2353 h 10000"/>
                <a:gd name="connsiteX134" fmla="*/ 9235 w 10000"/>
                <a:gd name="connsiteY134" fmla="*/ 2299 h 10000"/>
                <a:gd name="connsiteX135" fmla="*/ 9417 w 10000"/>
                <a:gd name="connsiteY135" fmla="*/ 2257 h 10000"/>
                <a:gd name="connsiteX136" fmla="*/ 9454 w 10000"/>
                <a:gd name="connsiteY136" fmla="*/ 2305 h 10000"/>
                <a:gd name="connsiteX137" fmla="*/ 9504 w 10000"/>
                <a:gd name="connsiteY137" fmla="*/ 2365 h 10000"/>
                <a:gd name="connsiteX138" fmla="*/ 9573 w 10000"/>
                <a:gd name="connsiteY138" fmla="*/ 2431 h 10000"/>
                <a:gd name="connsiteX139" fmla="*/ 9642 w 10000"/>
                <a:gd name="connsiteY139" fmla="*/ 2503 h 10000"/>
                <a:gd name="connsiteX140" fmla="*/ 9718 w 10000"/>
                <a:gd name="connsiteY140" fmla="*/ 2563 h 10000"/>
                <a:gd name="connsiteX141" fmla="*/ 9799 w 10000"/>
                <a:gd name="connsiteY141" fmla="*/ 2611 h 10000"/>
                <a:gd name="connsiteX142" fmla="*/ 9837 w 10000"/>
                <a:gd name="connsiteY142" fmla="*/ 2635 h 10000"/>
                <a:gd name="connsiteX143" fmla="*/ 9875 w 10000"/>
                <a:gd name="connsiteY143" fmla="*/ 2647 h 10000"/>
                <a:gd name="connsiteX144" fmla="*/ 9918 w 10000"/>
                <a:gd name="connsiteY144" fmla="*/ 2659 h 10000"/>
                <a:gd name="connsiteX145" fmla="*/ 9956 w 10000"/>
                <a:gd name="connsiteY145" fmla="*/ 2659 h 10000"/>
                <a:gd name="connsiteX146" fmla="*/ 10000 w 10000"/>
                <a:gd name="connsiteY146" fmla="*/ 2587 h 10000"/>
                <a:gd name="connsiteX147" fmla="*/ 9975 w 10000"/>
                <a:gd name="connsiteY147" fmla="*/ 2713 h 10000"/>
                <a:gd name="connsiteX148" fmla="*/ 9944 w 10000"/>
                <a:gd name="connsiteY148" fmla="*/ 2856 h 10000"/>
                <a:gd name="connsiteX149" fmla="*/ 9931 w 10000"/>
                <a:gd name="connsiteY149" fmla="*/ 2922 h 10000"/>
                <a:gd name="connsiteX150" fmla="*/ 9906 w 10000"/>
                <a:gd name="connsiteY150" fmla="*/ 2982 h 10000"/>
                <a:gd name="connsiteX151" fmla="*/ 9887 w 10000"/>
                <a:gd name="connsiteY151" fmla="*/ 3006 h 10000"/>
                <a:gd name="connsiteX152" fmla="*/ 9875 w 10000"/>
                <a:gd name="connsiteY152" fmla="*/ 3030 h 10000"/>
                <a:gd name="connsiteX153" fmla="*/ 9856 w 10000"/>
                <a:gd name="connsiteY153" fmla="*/ 3048 h 10000"/>
                <a:gd name="connsiteX154" fmla="*/ 9837 w 10000"/>
                <a:gd name="connsiteY154" fmla="*/ 3066 h 10000"/>
                <a:gd name="connsiteX155" fmla="*/ 9749 w 10000"/>
                <a:gd name="connsiteY155" fmla="*/ 3084 h 10000"/>
                <a:gd name="connsiteX156" fmla="*/ 9605 w 10000"/>
                <a:gd name="connsiteY156" fmla="*/ 3132 h 10000"/>
                <a:gd name="connsiteX157" fmla="*/ 9536 w 10000"/>
                <a:gd name="connsiteY157" fmla="*/ 3174 h 10000"/>
                <a:gd name="connsiteX158" fmla="*/ 9479 w 10000"/>
                <a:gd name="connsiteY158" fmla="*/ 3210 h 10000"/>
                <a:gd name="connsiteX159" fmla="*/ 9448 w 10000"/>
                <a:gd name="connsiteY159" fmla="*/ 3228 h 10000"/>
                <a:gd name="connsiteX160" fmla="*/ 9435 w 10000"/>
                <a:gd name="connsiteY160" fmla="*/ 3246 h 10000"/>
                <a:gd name="connsiteX161" fmla="*/ 9423 w 10000"/>
                <a:gd name="connsiteY161" fmla="*/ 3269 h 10000"/>
                <a:gd name="connsiteX162" fmla="*/ 9417 w 10000"/>
                <a:gd name="connsiteY162" fmla="*/ 3287 h 10000"/>
                <a:gd name="connsiteX163" fmla="*/ 9423 w 10000"/>
                <a:gd name="connsiteY163" fmla="*/ 3497 h 10000"/>
                <a:gd name="connsiteX164" fmla="*/ 9417 w 10000"/>
                <a:gd name="connsiteY164" fmla="*/ 3737 h 10000"/>
                <a:gd name="connsiteX165" fmla="*/ 9398 w 10000"/>
                <a:gd name="connsiteY165" fmla="*/ 3796 h 10000"/>
                <a:gd name="connsiteX166" fmla="*/ 9391 w 10000"/>
                <a:gd name="connsiteY166" fmla="*/ 3862 h 10000"/>
                <a:gd name="connsiteX167" fmla="*/ 9379 w 10000"/>
                <a:gd name="connsiteY167" fmla="*/ 3916 h 10000"/>
                <a:gd name="connsiteX168" fmla="*/ 9366 w 10000"/>
                <a:gd name="connsiteY168" fmla="*/ 3970 h 10000"/>
                <a:gd name="connsiteX169" fmla="*/ 9348 w 10000"/>
                <a:gd name="connsiteY169" fmla="*/ 4018 h 10000"/>
                <a:gd name="connsiteX170" fmla="*/ 9316 w 10000"/>
                <a:gd name="connsiteY170" fmla="*/ 4066 h 10000"/>
                <a:gd name="connsiteX171" fmla="*/ 9285 w 10000"/>
                <a:gd name="connsiteY171" fmla="*/ 4102 h 10000"/>
                <a:gd name="connsiteX172" fmla="*/ 9247 w 10000"/>
                <a:gd name="connsiteY172" fmla="*/ 4132 h 10000"/>
                <a:gd name="connsiteX173" fmla="*/ 9228 w 10000"/>
                <a:gd name="connsiteY173" fmla="*/ 4150 h 10000"/>
                <a:gd name="connsiteX174" fmla="*/ 9184 w 10000"/>
                <a:gd name="connsiteY174" fmla="*/ 4156 h 10000"/>
                <a:gd name="connsiteX175" fmla="*/ 9141 w 10000"/>
                <a:gd name="connsiteY175" fmla="*/ 4162 h 10000"/>
                <a:gd name="connsiteX176" fmla="*/ 9090 w 10000"/>
                <a:gd name="connsiteY176" fmla="*/ 4168 h 10000"/>
                <a:gd name="connsiteX177" fmla="*/ 9040 w 10000"/>
                <a:gd name="connsiteY177" fmla="*/ 4174 h 10000"/>
                <a:gd name="connsiteX178" fmla="*/ 8996 w 10000"/>
                <a:gd name="connsiteY178" fmla="*/ 4192 h 10000"/>
                <a:gd name="connsiteX179" fmla="*/ 8977 w 10000"/>
                <a:gd name="connsiteY179" fmla="*/ 4198 h 10000"/>
                <a:gd name="connsiteX180" fmla="*/ 8965 w 10000"/>
                <a:gd name="connsiteY180" fmla="*/ 4216 h 10000"/>
                <a:gd name="connsiteX181" fmla="*/ 8959 w 10000"/>
                <a:gd name="connsiteY181" fmla="*/ 4228 h 10000"/>
                <a:gd name="connsiteX182" fmla="*/ 8959 w 10000"/>
                <a:gd name="connsiteY182" fmla="*/ 4246 h 10000"/>
                <a:gd name="connsiteX183" fmla="*/ 8952 w 10000"/>
                <a:gd name="connsiteY183" fmla="*/ 4317 h 10000"/>
                <a:gd name="connsiteX184" fmla="*/ 8952 w 10000"/>
                <a:gd name="connsiteY184" fmla="*/ 4401 h 10000"/>
                <a:gd name="connsiteX185" fmla="*/ 8940 w 10000"/>
                <a:gd name="connsiteY185" fmla="*/ 4491 h 10000"/>
                <a:gd name="connsiteX186" fmla="*/ 8927 w 10000"/>
                <a:gd name="connsiteY186" fmla="*/ 4575 h 10000"/>
                <a:gd name="connsiteX187" fmla="*/ 8908 w 10000"/>
                <a:gd name="connsiteY187" fmla="*/ 4659 h 10000"/>
                <a:gd name="connsiteX188" fmla="*/ 8890 w 10000"/>
                <a:gd name="connsiteY188" fmla="*/ 4737 h 10000"/>
                <a:gd name="connsiteX189" fmla="*/ 8864 w 10000"/>
                <a:gd name="connsiteY189" fmla="*/ 4808 h 10000"/>
                <a:gd name="connsiteX190" fmla="*/ 8833 w 10000"/>
                <a:gd name="connsiteY190" fmla="*/ 4874 h 10000"/>
                <a:gd name="connsiteX191" fmla="*/ 8538 w 10000"/>
                <a:gd name="connsiteY191" fmla="*/ 4389 h 10000"/>
                <a:gd name="connsiteX192" fmla="*/ 8526 w 10000"/>
                <a:gd name="connsiteY192" fmla="*/ 4413 h 10000"/>
                <a:gd name="connsiteX193" fmla="*/ 8494 w 10000"/>
                <a:gd name="connsiteY193" fmla="*/ 4467 h 10000"/>
                <a:gd name="connsiteX194" fmla="*/ 8463 w 10000"/>
                <a:gd name="connsiteY194" fmla="*/ 4497 h 10000"/>
                <a:gd name="connsiteX195" fmla="*/ 8438 w 10000"/>
                <a:gd name="connsiteY195" fmla="*/ 4521 h 10000"/>
                <a:gd name="connsiteX196" fmla="*/ 8407 w 10000"/>
                <a:gd name="connsiteY196" fmla="*/ 4539 h 10000"/>
                <a:gd name="connsiteX197" fmla="*/ 8375 w 10000"/>
                <a:gd name="connsiteY197" fmla="*/ 4545 h 10000"/>
                <a:gd name="connsiteX198" fmla="*/ 8338 w 10000"/>
                <a:gd name="connsiteY198" fmla="*/ 4539 h 10000"/>
                <a:gd name="connsiteX199" fmla="*/ 8312 w 10000"/>
                <a:gd name="connsiteY199" fmla="*/ 4533 h 10000"/>
                <a:gd name="connsiteX200" fmla="*/ 8287 w 10000"/>
                <a:gd name="connsiteY200" fmla="*/ 4515 h 10000"/>
                <a:gd name="connsiteX201" fmla="*/ 8256 w 10000"/>
                <a:gd name="connsiteY201" fmla="*/ 4497 h 10000"/>
                <a:gd name="connsiteX202" fmla="*/ 8237 w 10000"/>
                <a:gd name="connsiteY202" fmla="*/ 4467 h 10000"/>
                <a:gd name="connsiteX203" fmla="*/ 8225 w 10000"/>
                <a:gd name="connsiteY203" fmla="*/ 4443 h 10000"/>
                <a:gd name="connsiteX204" fmla="*/ 8206 w 10000"/>
                <a:gd name="connsiteY204" fmla="*/ 4419 h 10000"/>
                <a:gd name="connsiteX205" fmla="*/ 8206 w 10000"/>
                <a:gd name="connsiteY205" fmla="*/ 4389 h 10000"/>
                <a:gd name="connsiteX206" fmla="*/ 8206 w 10000"/>
                <a:gd name="connsiteY206" fmla="*/ 4353 h 10000"/>
                <a:gd name="connsiteX207" fmla="*/ 8225 w 10000"/>
                <a:gd name="connsiteY207" fmla="*/ 4317 h 10000"/>
                <a:gd name="connsiteX208" fmla="*/ 8237 w 10000"/>
                <a:gd name="connsiteY208" fmla="*/ 4281 h 10000"/>
                <a:gd name="connsiteX209" fmla="*/ 8250 w 10000"/>
                <a:gd name="connsiteY209" fmla="*/ 4246 h 10000"/>
                <a:gd name="connsiteX210" fmla="*/ 8300 w 10000"/>
                <a:gd name="connsiteY210" fmla="*/ 4180 h 10000"/>
                <a:gd name="connsiteX211" fmla="*/ 8356 w 10000"/>
                <a:gd name="connsiteY211" fmla="*/ 4114 h 10000"/>
                <a:gd name="connsiteX212" fmla="*/ 8407 w 10000"/>
                <a:gd name="connsiteY212" fmla="*/ 4054 h 10000"/>
                <a:gd name="connsiteX213" fmla="*/ 8457 w 10000"/>
                <a:gd name="connsiteY213" fmla="*/ 3988 h 10000"/>
                <a:gd name="connsiteX214" fmla="*/ 8469 w 10000"/>
                <a:gd name="connsiteY214" fmla="*/ 3952 h 10000"/>
                <a:gd name="connsiteX215" fmla="*/ 8482 w 10000"/>
                <a:gd name="connsiteY215" fmla="*/ 3922 h 10000"/>
                <a:gd name="connsiteX216" fmla="*/ 8501 w 10000"/>
                <a:gd name="connsiteY216" fmla="*/ 3880 h 10000"/>
                <a:gd name="connsiteX217" fmla="*/ 8501 w 10000"/>
                <a:gd name="connsiteY217" fmla="*/ 3844 h 10000"/>
                <a:gd name="connsiteX218" fmla="*/ 7748 w 10000"/>
                <a:gd name="connsiteY218" fmla="*/ 3844 h 10000"/>
                <a:gd name="connsiteX219" fmla="*/ 7723 w 10000"/>
                <a:gd name="connsiteY219" fmla="*/ 3838 h 10000"/>
                <a:gd name="connsiteX220" fmla="*/ 7685 w 10000"/>
                <a:gd name="connsiteY220" fmla="*/ 3820 h 10000"/>
                <a:gd name="connsiteX221" fmla="*/ 7660 w 10000"/>
                <a:gd name="connsiteY221" fmla="*/ 3784 h 10000"/>
                <a:gd name="connsiteX222" fmla="*/ 7635 w 10000"/>
                <a:gd name="connsiteY222" fmla="*/ 3749 h 10000"/>
                <a:gd name="connsiteX223" fmla="*/ 7616 w 10000"/>
                <a:gd name="connsiteY223" fmla="*/ 3701 h 10000"/>
                <a:gd name="connsiteX224" fmla="*/ 7597 w 10000"/>
                <a:gd name="connsiteY224" fmla="*/ 3653 h 10000"/>
                <a:gd name="connsiteX225" fmla="*/ 7591 w 10000"/>
                <a:gd name="connsiteY225" fmla="*/ 3599 h 10000"/>
                <a:gd name="connsiteX226" fmla="*/ 7585 w 10000"/>
                <a:gd name="connsiteY226" fmla="*/ 3545 h 10000"/>
                <a:gd name="connsiteX227" fmla="*/ 7547 w 10000"/>
                <a:gd name="connsiteY227" fmla="*/ 3545 h 10000"/>
                <a:gd name="connsiteX228" fmla="*/ 7516 w 10000"/>
                <a:gd name="connsiteY228" fmla="*/ 3539 h 10000"/>
                <a:gd name="connsiteX229" fmla="*/ 7478 w 10000"/>
                <a:gd name="connsiteY229" fmla="*/ 3533 h 10000"/>
                <a:gd name="connsiteX230" fmla="*/ 7447 w 10000"/>
                <a:gd name="connsiteY230" fmla="*/ 3521 h 10000"/>
                <a:gd name="connsiteX231" fmla="*/ 7415 w 10000"/>
                <a:gd name="connsiteY231" fmla="*/ 3503 h 10000"/>
                <a:gd name="connsiteX232" fmla="*/ 7396 w 10000"/>
                <a:gd name="connsiteY232" fmla="*/ 3485 h 10000"/>
                <a:gd name="connsiteX233" fmla="*/ 7384 w 10000"/>
                <a:gd name="connsiteY233" fmla="*/ 3455 h 10000"/>
                <a:gd name="connsiteX234" fmla="*/ 7378 w 10000"/>
                <a:gd name="connsiteY234" fmla="*/ 3431 h 10000"/>
                <a:gd name="connsiteX235" fmla="*/ 7321 w 10000"/>
                <a:gd name="connsiteY235" fmla="*/ 3431 h 10000"/>
                <a:gd name="connsiteX236" fmla="*/ 7271 w 10000"/>
                <a:gd name="connsiteY236" fmla="*/ 3431 h 10000"/>
                <a:gd name="connsiteX237" fmla="*/ 7221 w 10000"/>
                <a:gd name="connsiteY237" fmla="*/ 3431 h 10000"/>
                <a:gd name="connsiteX238" fmla="*/ 7171 w 10000"/>
                <a:gd name="connsiteY238" fmla="*/ 3431 h 10000"/>
                <a:gd name="connsiteX239" fmla="*/ 7127 w 10000"/>
                <a:gd name="connsiteY239" fmla="*/ 3437 h 10000"/>
                <a:gd name="connsiteX240" fmla="*/ 7095 w 10000"/>
                <a:gd name="connsiteY240" fmla="*/ 3443 h 10000"/>
                <a:gd name="connsiteX241" fmla="*/ 7051 w 10000"/>
                <a:gd name="connsiteY241" fmla="*/ 3461 h 10000"/>
                <a:gd name="connsiteX242" fmla="*/ 7008 w 10000"/>
                <a:gd name="connsiteY242" fmla="*/ 3485 h 10000"/>
                <a:gd name="connsiteX243" fmla="*/ 6976 w 10000"/>
                <a:gd name="connsiteY243" fmla="*/ 3515 h 10000"/>
                <a:gd name="connsiteX244" fmla="*/ 6939 w 10000"/>
                <a:gd name="connsiteY244" fmla="*/ 3545 h 10000"/>
                <a:gd name="connsiteX245" fmla="*/ 6920 w 10000"/>
                <a:gd name="connsiteY245" fmla="*/ 3581 h 10000"/>
                <a:gd name="connsiteX246" fmla="*/ 6913 w 10000"/>
                <a:gd name="connsiteY246" fmla="*/ 3617 h 10000"/>
                <a:gd name="connsiteX247" fmla="*/ 6926 w 10000"/>
                <a:gd name="connsiteY247" fmla="*/ 3641 h 10000"/>
                <a:gd name="connsiteX248" fmla="*/ 6964 w 10000"/>
                <a:gd name="connsiteY248" fmla="*/ 3671 h 10000"/>
                <a:gd name="connsiteX249" fmla="*/ 7008 w 10000"/>
                <a:gd name="connsiteY249" fmla="*/ 3707 h 10000"/>
                <a:gd name="connsiteX250" fmla="*/ 7070 w 10000"/>
                <a:gd name="connsiteY250" fmla="*/ 3743 h 10000"/>
                <a:gd name="connsiteX251" fmla="*/ 7133 w 10000"/>
                <a:gd name="connsiteY251" fmla="*/ 3778 h 10000"/>
                <a:gd name="connsiteX252" fmla="*/ 7196 w 10000"/>
                <a:gd name="connsiteY252" fmla="*/ 3808 h 10000"/>
                <a:gd name="connsiteX253" fmla="*/ 7252 w 10000"/>
                <a:gd name="connsiteY253" fmla="*/ 3832 h 10000"/>
                <a:gd name="connsiteX254" fmla="*/ 7290 w 10000"/>
                <a:gd name="connsiteY254" fmla="*/ 3844 h 10000"/>
                <a:gd name="connsiteX255" fmla="*/ 7208 w 10000"/>
                <a:gd name="connsiteY255" fmla="*/ 3904 h 10000"/>
                <a:gd name="connsiteX256" fmla="*/ 7114 w 10000"/>
                <a:gd name="connsiteY256" fmla="*/ 3976 h 10000"/>
                <a:gd name="connsiteX257" fmla="*/ 7070 w 10000"/>
                <a:gd name="connsiteY257" fmla="*/ 4012 h 10000"/>
                <a:gd name="connsiteX258" fmla="*/ 7033 w 10000"/>
                <a:gd name="connsiteY258" fmla="*/ 4054 h 10000"/>
                <a:gd name="connsiteX259" fmla="*/ 7020 w 10000"/>
                <a:gd name="connsiteY259" fmla="*/ 4072 h 10000"/>
                <a:gd name="connsiteX260" fmla="*/ 7008 w 10000"/>
                <a:gd name="connsiteY260" fmla="*/ 4090 h 10000"/>
                <a:gd name="connsiteX261" fmla="*/ 7001 w 10000"/>
                <a:gd name="connsiteY261" fmla="*/ 4114 h 10000"/>
                <a:gd name="connsiteX262" fmla="*/ 6995 w 10000"/>
                <a:gd name="connsiteY262" fmla="*/ 4132 h 10000"/>
                <a:gd name="connsiteX263" fmla="*/ 7001 w 10000"/>
                <a:gd name="connsiteY263" fmla="*/ 4162 h 10000"/>
                <a:gd name="connsiteX264" fmla="*/ 7008 w 10000"/>
                <a:gd name="connsiteY264" fmla="*/ 4180 h 10000"/>
                <a:gd name="connsiteX265" fmla="*/ 7026 w 10000"/>
                <a:gd name="connsiteY265" fmla="*/ 4204 h 10000"/>
                <a:gd name="connsiteX266" fmla="*/ 7039 w 10000"/>
                <a:gd name="connsiteY266" fmla="*/ 4228 h 10000"/>
                <a:gd name="connsiteX267" fmla="*/ 7089 w 10000"/>
                <a:gd name="connsiteY267" fmla="*/ 4275 h 10000"/>
                <a:gd name="connsiteX268" fmla="*/ 7146 w 10000"/>
                <a:gd name="connsiteY268" fmla="*/ 4323 h 10000"/>
                <a:gd name="connsiteX269" fmla="*/ 7208 w 10000"/>
                <a:gd name="connsiteY269" fmla="*/ 4365 h 10000"/>
                <a:gd name="connsiteX270" fmla="*/ 7277 w 10000"/>
                <a:gd name="connsiteY270" fmla="*/ 4401 h 10000"/>
                <a:gd name="connsiteX271" fmla="*/ 7315 w 10000"/>
                <a:gd name="connsiteY271" fmla="*/ 4413 h 10000"/>
                <a:gd name="connsiteX272" fmla="*/ 7346 w 10000"/>
                <a:gd name="connsiteY272" fmla="*/ 4419 h 10000"/>
                <a:gd name="connsiteX273" fmla="*/ 7384 w 10000"/>
                <a:gd name="connsiteY273" fmla="*/ 4425 h 10000"/>
                <a:gd name="connsiteX274" fmla="*/ 7415 w 10000"/>
                <a:gd name="connsiteY274" fmla="*/ 4431 h 10000"/>
                <a:gd name="connsiteX275" fmla="*/ 7585 w 10000"/>
                <a:gd name="connsiteY275" fmla="*/ 5054 h 10000"/>
                <a:gd name="connsiteX276" fmla="*/ 7491 w 10000"/>
                <a:gd name="connsiteY276" fmla="*/ 5054 h 10000"/>
                <a:gd name="connsiteX277" fmla="*/ 7403 w 10000"/>
                <a:gd name="connsiteY277" fmla="*/ 5054 h 10000"/>
                <a:gd name="connsiteX278" fmla="*/ 7321 w 10000"/>
                <a:gd name="connsiteY278" fmla="*/ 5054 h 10000"/>
                <a:gd name="connsiteX279" fmla="*/ 7252 w 10000"/>
                <a:gd name="connsiteY279" fmla="*/ 5054 h 10000"/>
                <a:gd name="connsiteX280" fmla="*/ 7208 w 10000"/>
                <a:gd name="connsiteY280" fmla="*/ 5048 h 10000"/>
                <a:gd name="connsiteX281" fmla="*/ 7164 w 10000"/>
                <a:gd name="connsiteY281" fmla="*/ 5018 h 10000"/>
                <a:gd name="connsiteX282" fmla="*/ 7133 w 10000"/>
                <a:gd name="connsiteY282" fmla="*/ 5006 h 10000"/>
                <a:gd name="connsiteX283" fmla="*/ 7102 w 10000"/>
                <a:gd name="connsiteY283" fmla="*/ 4994 h 10000"/>
                <a:gd name="connsiteX284" fmla="*/ 7070 w 10000"/>
                <a:gd name="connsiteY284" fmla="*/ 4988 h 10000"/>
                <a:gd name="connsiteX285" fmla="*/ 7039 w 10000"/>
                <a:gd name="connsiteY285" fmla="*/ 4982 h 10000"/>
                <a:gd name="connsiteX286" fmla="*/ 7008 w 10000"/>
                <a:gd name="connsiteY286" fmla="*/ 4994 h 10000"/>
                <a:gd name="connsiteX287" fmla="*/ 6957 w 10000"/>
                <a:gd name="connsiteY287" fmla="*/ 5024 h 10000"/>
                <a:gd name="connsiteX288" fmla="*/ 6895 w 10000"/>
                <a:gd name="connsiteY288" fmla="*/ 5066 h 10000"/>
                <a:gd name="connsiteX289" fmla="*/ 6819 w 10000"/>
                <a:gd name="connsiteY289" fmla="*/ 5114 h 10000"/>
                <a:gd name="connsiteX290" fmla="*/ 6744 w 10000"/>
                <a:gd name="connsiteY290" fmla="*/ 5174 h 10000"/>
                <a:gd name="connsiteX291" fmla="*/ 6681 w 10000"/>
                <a:gd name="connsiteY291" fmla="*/ 5222 h 10000"/>
                <a:gd name="connsiteX292" fmla="*/ 6637 w 10000"/>
                <a:gd name="connsiteY292" fmla="*/ 5257 h 10000"/>
                <a:gd name="connsiteX293" fmla="*/ 6625 w 10000"/>
                <a:gd name="connsiteY293" fmla="*/ 5281 h 10000"/>
                <a:gd name="connsiteX294" fmla="*/ 6750 w 10000"/>
                <a:gd name="connsiteY294" fmla="*/ 5353 h 10000"/>
                <a:gd name="connsiteX295" fmla="*/ 6744 w 10000"/>
                <a:gd name="connsiteY295" fmla="*/ 5389 h 10000"/>
                <a:gd name="connsiteX296" fmla="*/ 6725 w 10000"/>
                <a:gd name="connsiteY296" fmla="*/ 5431 h 10000"/>
                <a:gd name="connsiteX297" fmla="*/ 6706 w 10000"/>
                <a:gd name="connsiteY297" fmla="*/ 5461 h 10000"/>
                <a:gd name="connsiteX298" fmla="*/ 6688 w 10000"/>
                <a:gd name="connsiteY298" fmla="*/ 5503 h 10000"/>
                <a:gd name="connsiteX299" fmla="*/ 6637 w 10000"/>
                <a:gd name="connsiteY299" fmla="*/ 5557 h 10000"/>
                <a:gd name="connsiteX300" fmla="*/ 6581 w 10000"/>
                <a:gd name="connsiteY300" fmla="*/ 5611 h 10000"/>
                <a:gd name="connsiteX301" fmla="*/ 6518 w 10000"/>
                <a:gd name="connsiteY301" fmla="*/ 5659 h 10000"/>
                <a:gd name="connsiteX302" fmla="*/ 6443 w 10000"/>
                <a:gd name="connsiteY302" fmla="*/ 5701 h 10000"/>
                <a:gd name="connsiteX303" fmla="*/ 6374 w 10000"/>
                <a:gd name="connsiteY303" fmla="*/ 5737 h 10000"/>
                <a:gd name="connsiteX304" fmla="*/ 6299 w 10000"/>
                <a:gd name="connsiteY304" fmla="*/ 5772 h 10000"/>
                <a:gd name="connsiteX305" fmla="*/ 6223 w 10000"/>
                <a:gd name="connsiteY305" fmla="*/ 5820 h 10000"/>
                <a:gd name="connsiteX306" fmla="*/ 6154 w 10000"/>
                <a:gd name="connsiteY306" fmla="*/ 5856 h 10000"/>
                <a:gd name="connsiteX307" fmla="*/ 6092 w 10000"/>
                <a:gd name="connsiteY307" fmla="*/ 5898 h 10000"/>
                <a:gd name="connsiteX308" fmla="*/ 6035 w 10000"/>
                <a:gd name="connsiteY308" fmla="*/ 5946 h 10000"/>
                <a:gd name="connsiteX309" fmla="*/ 6004 w 10000"/>
                <a:gd name="connsiteY309" fmla="*/ 5970 h 10000"/>
                <a:gd name="connsiteX310" fmla="*/ 5985 w 10000"/>
                <a:gd name="connsiteY310" fmla="*/ 5994 h 10000"/>
                <a:gd name="connsiteX311" fmla="*/ 5966 w 10000"/>
                <a:gd name="connsiteY311" fmla="*/ 6024 h 10000"/>
                <a:gd name="connsiteX312" fmla="*/ 5947 w 10000"/>
                <a:gd name="connsiteY312" fmla="*/ 6054 h 10000"/>
                <a:gd name="connsiteX313" fmla="*/ 5935 w 10000"/>
                <a:gd name="connsiteY313" fmla="*/ 6090 h 10000"/>
                <a:gd name="connsiteX314" fmla="*/ 5922 w 10000"/>
                <a:gd name="connsiteY314" fmla="*/ 6120 h 10000"/>
                <a:gd name="connsiteX315" fmla="*/ 5916 w 10000"/>
                <a:gd name="connsiteY315" fmla="*/ 6162 h 10000"/>
                <a:gd name="connsiteX316" fmla="*/ 5916 w 10000"/>
                <a:gd name="connsiteY316" fmla="*/ 6204 h 10000"/>
                <a:gd name="connsiteX317" fmla="*/ 5859 w 10000"/>
                <a:gd name="connsiteY317" fmla="*/ 6222 h 10000"/>
                <a:gd name="connsiteX318" fmla="*/ 5809 w 10000"/>
                <a:gd name="connsiteY318" fmla="*/ 6240 h 10000"/>
                <a:gd name="connsiteX319" fmla="*/ 5765 w 10000"/>
                <a:gd name="connsiteY319" fmla="*/ 6263 h 10000"/>
                <a:gd name="connsiteX320" fmla="*/ 5721 w 10000"/>
                <a:gd name="connsiteY320" fmla="*/ 6287 h 10000"/>
                <a:gd name="connsiteX321" fmla="*/ 5634 w 10000"/>
                <a:gd name="connsiteY321" fmla="*/ 6347 h 10000"/>
                <a:gd name="connsiteX322" fmla="*/ 5558 w 10000"/>
                <a:gd name="connsiteY322" fmla="*/ 6419 h 10000"/>
                <a:gd name="connsiteX323" fmla="*/ 5420 w 10000"/>
                <a:gd name="connsiteY323" fmla="*/ 6581 h 10000"/>
                <a:gd name="connsiteX324" fmla="*/ 5289 w 10000"/>
                <a:gd name="connsiteY324" fmla="*/ 6754 h 10000"/>
                <a:gd name="connsiteX325" fmla="*/ 5220 w 10000"/>
                <a:gd name="connsiteY325" fmla="*/ 6844 h 10000"/>
                <a:gd name="connsiteX326" fmla="*/ 5151 w 10000"/>
                <a:gd name="connsiteY326" fmla="*/ 6922 h 10000"/>
                <a:gd name="connsiteX327" fmla="*/ 5075 w 10000"/>
                <a:gd name="connsiteY327" fmla="*/ 6994 h 10000"/>
                <a:gd name="connsiteX328" fmla="*/ 4994 w 10000"/>
                <a:gd name="connsiteY328" fmla="*/ 7060 h 10000"/>
                <a:gd name="connsiteX329" fmla="*/ 4944 w 10000"/>
                <a:gd name="connsiteY329" fmla="*/ 7090 h 10000"/>
                <a:gd name="connsiteX330" fmla="*/ 4893 w 10000"/>
                <a:gd name="connsiteY330" fmla="*/ 7114 h 10000"/>
                <a:gd name="connsiteX331" fmla="*/ 4849 w 10000"/>
                <a:gd name="connsiteY331" fmla="*/ 7138 h 10000"/>
                <a:gd name="connsiteX332" fmla="*/ 4793 w 10000"/>
                <a:gd name="connsiteY332" fmla="*/ 7162 h 10000"/>
                <a:gd name="connsiteX333" fmla="*/ 4730 w 10000"/>
                <a:gd name="connsiteY333" fmla="*/ 7180 h 10000"/>
                <a:gd name="connsiteX334" fmla="*/ 4674 w 10000"/>
                <a:gd name="connsiteY334" fmla="*/ 7192 h 10000"/>
                <a:gd name="connsiteX335" fmla="*/ 4605 w 10000"/>
                <a:gd name="connsiteY335" fmla="*/ 7198 h 10000"/>
                <a:gd name="connsiteX336" fmla="*/ 4536 w 10000"/>
                <a:gd name="connsiteY336" fmla="*/ 7198 h 10000"/>
                <a:gd name="connsiteX337" fmla="*/ 4536 w 10000"/>
                <a:gd name="connsiteY337" fmla="*/ 7251 h 10000"/>
                <a:gd name="connsiteX338" fmla="*/ 4536 w 10000"/>
                <a:gd name="connsiteY338" fmla="*/ 7305 h 10000"/>
                <a:gd name="connsiteX339" fmla="*/ 4536 w 10000"/>
                <a:gd name="connsiteY339" fmla="*/ 7347 h 10000"/>
                <a:gd name="connsiteX340" fmla="*/ 4536 w 10000"/>
                <a:gd name="connsiteY340" fmla="*/ 7383 h 10000"/>
                <a:gd name="connsiteX341" fmla="*/ 4536 w 10000"/>
                <a:gd name="connsiteY341" fmla="*/ 7449 h 10000"/>
                <a:gd name="connsiteX342" fmla="*/ 4536 w 10000"/>
                <a:gd name="connsiteY342" fmla="*/ 7551 h 10000"/>
                <a:gd name="connsiteX343" fmla="*/ 4536 w 10000"/>
                <a:gd name="connsiteY343" fmla="*/ 7659 h 10000"/>
                <a:gd name="connsiteX344" fmla="*/ 4548 w 10000"/>
                <a:gd name="connsiteY344" fmla="*/ 7772 h 10000"/>
                <a:gd name="connsiteX345" fmla="*/ 4561 w 10000"/>
                <a:gd name="connsiteY345" fmla="*/ 7832 h 10000"/>
                <a:gd name="connsiteX346" fmla="*/ 4573 w 10000"/>
                <a:gd name="connsiteY346" fmla="*/ 7886 h 10000"/>
                <a:gd name="connsiteX347" fmla="*/ 4586 w 10000"/>
                <a:gd name="connsiteY347" fmla="*/ 7934 h 10000"/>
                <a:gd name="connsiteX348" fmla="*/ 4611 w 10000"/>
                <a:gd name="connsiteY348" fmla="*/ 7976 h 10000"/>
                <a:gd name="connsiteX349" fmla="*/ 4636 w 10000"/>
                <a:gd name="connsiteY349" fmla="*/ 8018 h 10000"/>
                <a:gd name="connsiteX350" fmla="*/ 4668 w 10000"/>
                <a:gd name="connsiteY350" fmla="*/ 8048 h 10000"/>
                <a:gd name="connsiteX351" fmla="*/ 4705 w 10000"/>
                <a:gd name="connsiteY351" fmla="*/ 8072 h 10000"/>
                <a:gd name="connsiteX352" fmla="*/ 4749 w 10000"/>
                <a:gd name="connsiteY352" fmla="*/ 8084 h 10000"/>
                <a:gd name="connsiteX353" fmla="*/ 4711 w 10000"/>
                <a:gd name="connsiteY353" fmla="*/ 8180 h 10000"/>
                <a:gd name="connsiteX354" fmla="*/ 4668 w 10000"/>
                <a:gd name="connsiteY354" fmla="*/ 8263 h 10000"/>
                <a:gd name="connsiteX355" fmla="*/ 4617 w 10000"/>
                <a:gd name="connsiteY355" fmla="*/ 8341 h 10000"/>
                <a:gd name="connsiteX356" fmla="*/ 4573 w 10000"/>
                <a:gd name="connsiteY356" fmla="*/ 8413 h 10000"/>
                <a:gd name="connsiteX357" fmla="*/ 4523 w 10000"/>
                <a:gd name="connsiteY357" fmla="*/ 8497 h 10000"/>
                <a:gd name="connsiteX358" fmla="*/ 4492 w 10000"/>
                <a:gd name="connsiteY358" fmla="*/ 8575 h 10000"/>
                <a:gd name="connsiteX359" fmla="*/ 4473 w 10000"/>
                <a:gd name="connsiteY359" fmla="*/ 8611 h 10000"/>
                <a:gd name="connsiteX360" fmla="*/ 4467 w 10000"/>
                <a:gd name="connsiteY360" fmla="*/ 8653 h 10000"/>
                <a:gd name="connsiteX361" fmla="*/ 4460 w 10000"/>
                <a:gd name="connsiteY361" fmla="*/ 8701 h 10000"/>
                <a:gd name="connsiteX362" fmla="*/ 4454 w 10000"/>
                <a:gd name="connsiteY362" fmla="*/ 8743 h 10000"/>
                <a:gd name="connsiteX363" fmla="*/ 4460 w 10000"/>
                <a:gd name="connsiteY363" fmla="*/ 8760 h 10000"/>
                <a:gd name="connsiteX364" fmla="*/ 4467 w 10000"/>
                <a:gd name="connsiteY364" fmla="*/ 8772 h 10000"/>
                <a:gd name="connsiteX365" fmla="*/ 4479 w 10000"/>
                <a:gd name="connsiteY365" fmla="*/ 8784 h 10000"/>
                <a:gd name="connsiteX366" fmla="*/ 4504 w 10000"/>
                <a:gd name="connsiteY366" fmla="*/ 8796 h 10000"/>
                <a:gd name="connsiteX367" fmla="*/ 4542 w 10000"/>
                <a:gd name="connsiteY367" fmla="*/ 8820 h 10000"/>
                <a:gd name="connsiteX368" fmla="*/ 4580 w 10000"/>
                <a:gd name="connsiteY368" fmla="*/ 8826 h 10000"/>
                <a:gd name="connsiteX369" fmla="*/ 4580 w 10000"/>
                <a:gd name="connsiteY369" fmla="*/ 9042 h 10000"/>
                <a:gd name="connsiteX370" fmla="*/ 4529 w 10000"/>
                <a:gd name="connsiteY370" fmla="*/ 9126 h 10000"/>
                <a:gd name="connsiteX371" fmla="*/ 4492 w 10000"/>
                <a:gd name="connsiteY371" fmla="*/ 9216 h 10000"/>
                <a:gd name="connsiteX372" fmla="*/ 4460 w 10000"/>
                <a:gd name="connsiteY372" fmla="*/ 9251 h 10000"/>
                <a:gd name="connsiteX373" fmla="*/ 4429 w 10000"/>
                <a:gd name="connsiteY373" fmla="*/ 9275 h 10000"/>
                <a:gd name="connsiteX374" fmla="*/ 4404 w 10000"/>
                <a:gd name="connsiteY374" fmla="*/ 9287 h 10000"/>
                <a:gd name="connsiteX375" fmla="*/ 4385 w 10000"/>
                <a:gd name="connsiteY375" fmla="*/ 9293 h 10000"/>
                <a:gd name="connsiteX376" fmla="*/ 4360 w 10000"/>
                <a:gd name="connsiteY376" fmla="*/ 9299 h 10000"/>
                <a:gd name="connsiteX377" fmla="*/ 4329 w 10000"/>
                <a:gd name="connsiteY377" fmla="*/ 9299 h 10000"/>
                <a:gd name="connsiteX378" fmla="*/ 4329 w 10000"/>
                <a:gd name="connsiteY378" fmla="*/ 9347 h 10000"/>
                <a:gd name="connsiteX379" fmla="*/ 4335 w 10000"/>
                <a:gd name="connsiteY379" fmla="*/ 9407 h 10000"/>
                <a:gd name="connsiteX380" fmla="*/ 4348 w 10000"/>
                <a:gd name="connsiteY380" fmla="*/ 9437 h 10000"/>
                <a:gd name="connsiteX381" fmla="*/ 4354 w 10000"/>
                <a:gd name="connsiteY381" fmla="*/ 9461 h 10000"/>
                <a:gd name="connsiteX382" fmla="*/ 4360 w 10000"/>
                <a:gd name="connsiteY382" fmla="*/ 9479 h 10000"/>
                <a:gd name="connsiteX383" fmla="*/ 4373 w 10000"/>
                <a:gd name="connsiteY383" fmla="*/ 9485 h 10000"/>
                <a:gd name="connsiteX384" fmla="*/ 4210 w 10000"/>
                <a:gd name="connsiteY384" fmla="*/ 9611 h 10000"/>
                <a:gd name="connsiteX385" fmla="*/ 4072 w 10000"/>
                <a:gd name="connsiteY385" fmla="*/ 9713 h 10000"/>
                <a:gd name="connsiteX386" fmla="*/ 4009 w 10000"/>
                <a:gd name="connsiteY386" fmla="*/ 9772 h 10000"/>
                <a:gd name="connsiteX387" fmla="*/ 3952 w 10000"/>
                <a:gd name="connsiteY387" fmla="*/ 9838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4 h 10000"/>
                <a:gd name="connsiteX393" fmla="*/ 3563 w 10000"/>
                <a:gd name="connsiteY393" fmla="*/ 9826 h 10000"/>
                <a:gd name="connsiteX394" fmla="*/ 3532 w 10000"/>
                <a:gd name="connsiteY394" fmla="*/ 9766 h 10000"/>
                <a:gd name="connsiteX395" fmla="*/ 3513 w 10000"/>
                <a:gd name="connsiteY395" fmla="*/ 9707 h 10000"/>
                <a:gd name="connsiteX396" fmla="*/ 3482 w 10000"/>
                <a:gd name="connsiteY396" fmla="*/ 9635 h 10000"/>
                <a:gd name="connsiteX397" fmla="*/ 3457 w 10000"/>
                <a:gd name="connsiteY397" fmla="*/ 9563 h 10000"/>
                <a:gd name="connsiteX398" fmla="*/ 3400 w 10000"/>
                <a:gd name="connsiteY398" fmla="*/ 9425 h 10000"/>
                <a:gd name="connsiteX399" fmla="*/ 3325 w 10000"/>
                <a:gd name="connsiteY399" fmla="*/ 9293 h 10000"/>
                <a:gd name="connsiteX400" fmla="*/ 3237 w 10000"/>
                <a:gd name="connsiteY400" fmla="*/ 9156 h 10000"/>
                <a:gd name="connsiteX401" fmla="*/ 3143 w 10000"/>
                <a:gd name="connsiteY401" fmla="*/ 9012 h 10000"/>
                <a:gd name="connsiteX402" fmla="*/ 3049 w 10000"/>
                <a:gd name="connsiteY402" fmla="*/ 8880 h 10000"/>
                <a:gd name="connsiteX403" fmla="*/ 2967 w 10000"/>
                <a:gd name="connsiteY403" fmla="*/ 8749 h 10000"/>
                <a:gd name="connsiteX404" fmla="*/ 2892 w 10000"/>
                <a:gd name="connsiteY404" fmla="*/ 8629 h 10000"/>
                <a:gd name="connsiteX405" fmla="*/ 2829 w 10000"/>
                <a:gd name="connsiteY405" fmla="*/ 8527 h 10000"/>
                <a:gd name="connsiteX406" fmla="*/ 2773 w 10000"/>
                <a:gd name="connsiteY406" fmla="*/ 8413 h 10000"/>
                <a:gd name="connsiteX407" fmla="*/ 2735 w 10000"/>
                <a:gd name="connsiteY407" fmla="*/ 8311 h 10000"/>
                <a:gd name="connsiteX408" fmla="*/ 2698 w 10000"/>
                <a:gd name="connsiteY408" fmla="*/ 8204 h 10000"/>
                <a:gd name="connsiteX409" fmla="*/ 2666 w 10000"/>
                <a:gd name="connsiteY409" fmla="*/ 8096 h 10000"/>
                <a:gd name="connsiteX410" fmla="*/ 2629 w 10000"/>
                <a:gd name="connsiteY410" fmla="*/ 7988 h 10000"/>
                <a:gd name="connsiteX411" fmla="*/ 2597 w 10000"/>
                <a:gd name="connsiteY411" fmla="*/ 7880 h 10000"/>
                <a:gd name="connsiteX412" fmla="*/ 2553 w 10000"/>
                <a:gd name="connsiteY412" fmla="*/ 7760 h 10000"/>
                <a:gd name="connsiteX413" fmla="*/ 2497 w 10000"/>
                <a:gd name="connsiteY413" fmla="*/ 7641 h 10000"/>
                <a:gd name="connsiteX414" fmla="*/ 2359 w 10000"/>
                <a:gd name="connsiteY414" fmla="*/ 7449 h 10000"/>
                <a:gd name="connsiteX415" fmla="*/ 2208 w 10000"/>
                <a:gd name="connsiteY415" fmla="*/ 7269 h 10000"/>
                <a:gd name="connsiteX416" fmla="*/ 2139 w 10000"/>
                <a:gd name="connsiteY416" fmla="*/ 7186 h 10000"/>
                <a:gd name="connsiteX417" fmla="*/ 2070 w 10000"/>
                <a:gd name="connsiteY417" fmla="*/ 7090 h 10000"/>
                <a:gd name="connsiteX418" fmla="*/ 2008 w 10000"/>
                <a:gd name="connsiteY418" fmla="*/ 7000 h 10000"/>
                <a:gd name="connsiteX419" fmla="*/ 1957 w 10000"/>
                <a:gd name="connsiteY419" fmla="*/ 6904 h 10000"/>
                <a:gd name="connsiteX420" fmla="*/ 1888 w 10000"/>
                <a:gd name="connsiteY420" fmla="*/ 6671 h 10000"/>
                <a:gd name="connsiteX421" fmla="*/ 1832 w 10000"/>
                <a:gd name="connsiteY421" fmla="*/ 6455 h 10000"/>
                <a:gd name="connsiteX422" fmla="*/ 1782 w 10000"/>
                <a:gd name="connsiteY422" fmla="*/ 6246 h 10000"/>
                <a:gd name="connsiteX423" fmla="*/ 1757 w 10000"/>
                <a:gd name="connsiteY423" fmla="*/ 6036 h 10000"/>
                <a:gd name="connsiteX424" fmla="*/ 1725 w 10000"/>
                <a:gd name="connsiteY424" fmla="*/ 5832 h 10000"/>
                <a:gd name="connsiteX425" fmla="*/ 1713 w 10000"/>
                <a:gd name="connsiteY425" fmla="*/ 5617 h 10000"/>
                <a:gd name="connsiteX426" fmla="*/ 1706 w 10000"/>
                <a:gd name="connsiteY426" fmla="*/ 5395 h 10000"/>
                <a:gd name="connsiteX427" fmla="*/ 1706 w 10000"/>
                <a:gd name="connsiteY427" fmla="*/ 5174 h 10000"/>
                <a:gd name="connsiteX428" fmla="*/ 1681 w 10000"/>
                <a:gd name="connsiteY428" fmla="*/ 5168 h 10000"/>
                <a:gd name="connsiteX429" fmla="*/ 1650 w 10000"/>
                <a:gd name="connsiteY429" fmla="*/ 5162 h 10000"/>
                <a:gd name="connsiteX430" fmla="*/ 1625 w 10000"/>
                <a:gd name="connsiteY430" fmla="*/ 5156 h 10000"/>
                <a:gd name="connsiteX431" fmla="*/ 1606 w 10000"/>
                <a:gd name="connsiteY431" fmla="*/ 5132 h 10000"/>
                <a:gd name="connsiteX432" fmla="*/ 1581 w 10000"/>
                <a:gd name="connsiteY432" fmla="*/ 5120 h 10000"/>
                <a:gd name="connsiteX433" fmla="*/ 1568 w 10000"/>
                <a:gd name="connsiteY433" fmla="*/ 5102 h 10000"/>
                <a:gd name="connsiteX434" fmla="*/ 1550 w 10000"/>
                <a:gd name="connsiteY434" fmla="*/ 5078 h 10000"/>
                <a:gd name="connsiteX435" fmla="*/ 1543 w 10000"/>
                <a:gd name="connsiteY435" fmla="*/ 5054 h 10000"/>
                <a:gd name="connsiteX436" fmla="*/ 1518 w 10000"/>
                <a:gd name="connsiteY436" fmla="*/ 5006 h 10000"/>
                <a:gd name="connsiteX437" fmla="*/ 1506 w 10000"/>
                <a:gd name="connsiteY437" fmla="*/ 4952 h 10000"/>
                <a:gd name="connsiteX438" fmla="*/ 1499 w 10000"/>
                <a:gd name="connsiteY438" fmla="*/ 4892 h 10000"/>
                <a:gd name="connsiteX439" fmla="*/ 1499 w 10000"/>
                <a:gd name="connsiteY439" fmla="*/ 4838 h 10000"/>
                <a:gd name="connsiteX440" fmla="*/ 1443 w 10000"/>
                <a:gd name="connsiteY440" fmla="*/ 4874 h 10000"/>
                <a:gd name="connsiteX441" fmla="*/ 1405 w 10000"/>
                <a:gd name="connsiteY441" fmla="*/ 4916 h 10000"/>
                <a:gd name="connsiteX442" fmla="*/ 1361 w 10000"/>
                <a:gd name="connsiteY442" fmla="*/ 4958 h 10000"/>
                <a:gd name="connsiteX443" fmla="*/ 1317 w 10000"/>
                <a:gd name="connsiteY443" fmla="*/ 5006 h 10000"/>
                <a:gd name="connsiteX444" fmla="*/ 1261 w 10000"/>
                <a:gd name="connsiteY444" fmla="*/ 5102 h 10000"/>
                <a:gd name="connsiteX445" fmla="*/ 1205 w 10000"/>
                <a:gd name="connsiteY445" fmla="*/ 5204 h 10000"/>
                <a:gd name="connsiteX446" fmla="*/ 1167 w 10000"/>
                <a:gd name="connsiteY446" fmla="*/ 5246 h 10000"/>
                <a:gd name="connsiteX447" fmla="*/ 1142 w 10000"/>
                <a:gd name="connsiteY447" fmla="*/ 5287 h 10000"/>
                <a:gd name="connsiteX448" fmla="*/ 1104 w 10000"/>
                <a:gd name="connsiteY448" fmla="*/ 5329 h 10000"/>
                <a:gd name="connsiteX449" fmla="*/ 1073 w 10000"/>
                <a:gd name="connsiteY449" fmla="*/ 5359 h 10000"/>
                <a:gd name="connsiteX450" fmla="*/ 1029 w 10000"/>
                <a:gd name="connsiteY450" fmla="*/ 5389 h 10000"/>
                <a:gd name="connsiteX451" fmla="*/ 985 w 10000"/>
                <a:gd name="connsiteY451" fmla="*/ 5407 h 10000"/>
                <a:gd name="connsiteX452" fmla="*/ 928 w 10000"/>
                <a:gd name="connsiteY452" fmla="*/ 5419 h 10000"/>
                <a:gd name="connsiteX453" fmla="*/ 872 w 10000"/>
                <a:gd name="connsiteY453" fmla="*/ 5425 h 10000"/>
                <a:gd name="connsiteX454" fmla="*/ 841 w 10000"/>
                <a:gd name="connsiteY454" fmla="*/ 5419 h 10000"/>
                <a:gd name="connsiteX455" fmla="*/ 797 w 10000"/>
                <a:gd name="connsiteY455" fmla="*/ 5407 h 10000"/>
                <a:gd name="connsiteX456" fmla="*/ 753 w 10000"/>
                <a:gd name="connsiteY456" fmla="*/ 5389 h 10000"/>
                <a:gd name="connsiteX457" fmla="*/ 709 w 10000"/>
                <a:gd name="connsiteY457" fmla="*/ 5359 h 10000"/>
                <a:gd name="connsiteX458" fmla="*/ 659 w 10000"/>
                <a:gd name="connsiteY458" fmla="*/ 5323 h 10000"/>
                <a:gd name="connsiteX459" fmla="*/ 609 w 10000"/>
                <a:gd name="connsiteY459" fmla="*/ 5287 h 10000"/>
                <a:gd name="connsiteX460" fmla="*/ 565 w 10000"/>
                <a:gd name="connsiteY460" fmla="*/ 5246 h 10000"/>
                <a:gd name="connsiteX461" fmla="*/ 514 w 10000"/>
                <a:gd name="connsiteY461" fmla="*/ 5198 h 10000"/>
                <a:gd name="connsiteX462" fmla="*/ 471 w 10000"/>
                <a:gd name="connsiteY462" fmla="*/ 5150 h 10000"/>
                <a:gd name="connsiteX463" fmla="*/ 433 w 10000"/>
                <a:gd name="connsiteY463" fmla="*/ 5096 h 10000"/>
                <a:gd name="connsiteX464" fmla="*/ 389 w 10000"/>
                <a:gd name="connsiteY464" fmla="*/ 5042 h 10000"/>
                <a:gd name="connsiteX465" fmla="*/ 358 w 10000"/>
                <a:gd name="connsiteY465" fmla="*/ 4988 h 10000"/>
                <a:gd name="connsiteX466" fmla="*/ 326 w 10000"/>
                <a:gd name="connsiteY466" fmla="*/ 4940 h 10000"/>
                <a:gd name="connsiteX467" fmla="*/ 307 w 10000"/>
                <a:gd name="connsiteY467" fmla="*/ 4892 h 10000"/>
                <a:gd name="connsiteX468" fmla="*/ 295 w 10000"/>
                <a:gd name="connsiteY468" fmla="*/ 4844 h 10000"/>
                <a:gd name="connsiteX469" fmla="*/ 289 w 10000"/>
                <a:gd name="connsiteY469" fmla="*/ 4796 h 10000"/>
                <a:gd name="connsiteX470" fmla="*/ 320 w 10000"/>
                <a:gd name="connsiteY470" fmla="*/ 4778 h 10000"/>
                <a:gd name="connsiteX471" fmla="*/ 395 w 10000"/>
                <a:gd name="connsiteY471" fmla="*/ 4743 h 10000"/>
                <a:gd name="connsiteX472" fmla="*/ 483 w 10000"/>
                <a:gd name="connsiteY472" fmla="*/ 4707 h 10000"/>
                <a:gd name="connsiteX473" fmla="*/ 533 w 10000"/>
                <a:gd name="connsiteY473" fmla="*/ 4689 h 10000"/>
                <a:gd name="connsiteX474" fmla="*/ 483 w 10000"/>
                <a:gd name="connsiteY474" fmla="*/ 4689 h 10000"/>
                <a:gd name="connsiteX475" fmla="*/ 420 w 10000"/>
                <a:gd name="connsiteY475" fmla="*/ 4683 h 10000"/>
                <a:gd name="connsiteX476" fmla="*/ 370 w 10000"/>
                <a:gd name="connsiteY476" fmla="*/ 4671 h 10000"/>
                <a:gd name="connsiteX477" fmla="*/ 320 w 10000"/>
                <a:gd name="connsiteY477" fmla="*/ 4665 h 10000"/>
                <a:gd name="connsiteX478" fmla="*/ 276 w 10000"/>
                <a:gd name="connsiteY478" fmla="*/ 4647 h 10000"/>
                <a:gd name="connsiteX479" fmla="*/ 232 w 10000"/>
                <a:gd name="connsiteY479" fmla="*/ 4635 h 10000"/>
                <a:gd name="connsiteX480" fmla="*/ 188 w 10000"/>
                <a:gd name="connsiteY480" fmla="*/ 4617 h 10000"/>
                <a:gd name="connsiteX481" fmla="*/ 157 w 10000"/>
                <a:gd name="connsiteY481" fmla="*/ 4593 h 10000"/>
                <a:gd name="connsiteX482" fmla="*/ 132 w 10000"/>
                <a:gd name="connsiteY482" fmla="*/ 4569 h 10000"/>
                <a:gd name="connsiteX483" fmla="*/ 100 w 10000"/>
                <a:gd name="connsiteY483" fmla="*/ 4545 h 10000"/>
                <a:gd name="connsiteX484" fmla="*/ 75 w 10000"/>
                <a:gd name="connsiteY484" fmla="*/ 4515 h 10000"/>
                <a:gd name="connsiteX485" fmla="*/ 50 w 10000"/>
                <a:gd name="connsiteY485" fmla="*/ 4491 h 10000"/>
                <a:gd name="connsiteX486" fmla="*/ 19 w 10000"/>
                <a:gd name="connsiteY486" fmla="*/ 4419 h 10000"/>
                <a:gd name="connsiteX487" fmla="*/ 0 w 10000"/>
                <a:gd name="connsiteY487" fmla="*/ 4353 h 10000"/>
                <a:gd name="connsiteX488" fmla="*/ 63 w 10000"/>
                <a:gd name="connsiteY488" fmla="*/ 4305 h 10000"/>
                <a:gd name="connsiteX489" fmla="*/ 132 w 10000"/>
                <a:gd name="connsiteY489" fmla="*/ 4269 h 10000"/>
                <a:gd name="connsiteX490" fmla="*/ 201 w 10000"/>
                <a:gd name="connsiteY490" fmla="*/ 4240 h 10000"/>
                <a:gd name="connsiteX491" fmla="*/ 276 w 10000"/>
                <a:gd name="connsiteY491" fmla="*/ 4216 h 10000"/>
                <a:gd name="connsiteX492" fmla="*/ 420 w 10000"/>
                <a:gd name="connsiteY492" fmla="*/ 4186 h 10000"/>
                <a:gd name="connsiteX493" fmla="*/ 565 w 10000"/>
                <a:gd name="connsiteY493" fmla="*/ 4162 h 10000"/>
                <a:gd name="connsiteX494" fmla="*/ 640 w 10000"/>
                <a:gd name="connsiteY494" fmla="*/ 4150 h 10000"/>
                <a:gd name="connsiteX495" fmla="*/ 709 w 10000"/>
                <a:gd name="connsiteY495" fmla="*/ 4126 h 10000"/>
                <a:gd name="connsiteX496" fmla="*/ 772 w 10000"/>
                <a:gd name="connsiteY496" fmla="*/ 4108 h 10000"/>
                <a:gd name="connsiteX497" fmla="*/ 834 w 10000"/>
                <a:gd name="connsiteY497" fmla="*/ 4078 h 10000"/>
                <a:gd name="connsiteX498" fmla="*/ 891 w 10000"/>
                <a:gd name="connsiteY498" fmla="*/ 4048 h 10000"/>
                <a:gd name="connsiteX499" fmla="*/ 947 w 10000"/>
                <a:gd name="connsiteY499" fmla="*/ 4000 h 10000"/>
                <a:gd name="connsiteX500" fmla="*/ 997 w 10000"/>
                <a:gd name="connsiteY500" fmla="*/ 3946 h 10000"/>
                <a:gd name="connsiteX501" fmla="*/ 1035 w 10000"/>
                <a:gd name="connsiteY501" fmla="*/ 3880 h 10000"/>
                <a:gd name="connsiteX502" fmla="*/ 1010 w 10000"/>
                <a:gd name="connsiteY502" fmla="*/ 3868 h 10000"/>
                <a:gd name="connsiteX503" fmla="*/ 985 w 10000"/>
                <a:gd name="connsiteY503" fmla="*/ 3850 h 10000"/>
                <a:gd name="connsiteX504" fmla="*/ 947 w 10000"/>
                <a:gd name="connsiteY504" fmla="*/ 3826 h 10000"/>
                <a:gd name="connsiteX505" fmla="*/ 910 w 10000"/>
                <a:gd name="connsiteY505" fmla="*/ 3790 h 10000"/>
                <a:gd name="connsiteX506" fmla="*/ 822 w 10000"/>
                <a:gd name="connsiteY506" fmla="*/ 3719 h 10000"/>
                <a:gd name="connsiteX507" fmla="*/ 740 w 10000"/>
                <a:gd name="connsiteY507" fmla="*/ 3635 h 10000"/>
                <a:gd name="connsiteX508" fmla="*/ 665 w 10000"/>
                <a:gd name="connsiteY508" fmla="*/ 3545 h 10000"/>
                <a:gd name="connsiteX509" fmla="*/ 596 w 10000"/>
                <a:gd name="connsiteY509" fmla="*/ 3449 h 10000"/>
                <a:gd name="connsiteX510" fmla="*/ 577 w 10000"/>
                <a:gd name="connsiteY510" fmla="*/ 3407 h 10000"/>
                <a:gd name="connsiteX511" fmla="*/ 558 w 10000"/>
                <a:gd name="connsiteY511" fmla="*/ 3365 h 10000"/>
                <a:gd name="connsiteX512" fmla="*/ 540 w 10000"/>
                <a:gd name="connsiteY512" fmla="*/ 3323 h 10000"/>
                <a:gd name="connsiteX513" fmla="*/ 533 w 10000"/>
                <a:gd name="connsiteY513" fmla="*/ 3287 h 10000"/>
                <a:gd name="connsiteX514" fmla="*/ 508 w 10000"/>
                <a:gd name="connsiteY514" fmla="*/ 3281 h 10000"/>
                <a:gd name="connsiteX515" fmla="*/ 483 w 10000"/>
                <a:gd name="connsiteY515" fmla="*/ 3275 h 10000"/>
                <a:gd name="connsiteX516" fmla="*/ 458 w 10000"/>
                <a:gd name="connsiteY516" fmla="*/ 3263 h 10000"/>
                <a:gd name="connsiteX517" fmla="*/ 439 w 10000"/>
                <a:gd name="connsiteY517" fmla="*/ 3240 h 10000"/>
                <a:gd name="connsiteX518" fmla="*/ 402 w 10000"/>
                <a:gd name="connsiteY518" fmla="*/ 3198 h 10000"/>
                <a:gd name="connsiteX519" fmla="*/ 370 w 10000"/>
                <a:gd name="connsiteY519" fmla="*/ 3138 h 10000"/>
                <a:gd name="connsiteX520" fmla="*/ 370 w 10000"/>
                <a:gd name="connsiteY520" fmla="*/ 2994 h 10000"/>
                <a:gd name="connsiteX521" fmla="*/ 458 w 10000"/>
                <a:gd name="connsiteY521" fmla="*/ 2988 h 10000"/>
                <a:gd name="connsiteX522" fmla="*/ 540 w 10000"/>
                <a:gd name="connsiteY522" fmla="*/ 2982 h 10000"/>
                <a:gd name="connsiteX523" fmla="*/ 615 w 10000"/>
                <a:gd name="connsiteY523" fmla="*/ 2970 h 10000"/>
                <a:gd name="connsiteX524" fmla="*/ 684 w 10000"/>
                <a:gd name="connsiteY524" fmla="*/ 2946 h 10000"/>
                <a:gd name="connsiteX525" fmla="*/ 747 w 10000"/>
                <a:gd name="connsiteY525" fmla="*/ 2928 h 10000"/>
                <a:gd name="connsiteX526" fmla="*/ 809 w 10000"/>
                <a:gd name="connsiteY526" fmla="*/ 2898 h 10000"/>
                <a:gd name="connsiteX527" fmla="*/ 866 w 10000"/>
                <a:gd name="connsiteY527" fmla="*/ 2868 h 10000"/>
                <a:gd name="connsiteX528" fmla="*/ 922 w 10000"/>
                <a:gd name="connsiteY528" fmla="*/ 2832 h 10000"/>
                <a:gd name="connsiteX529" fmla="*/ 966 w 10000"/>
                <a:gd name="connsiteY529" fmla="*/ 2790 h 10000"/>
                <a:gd name="connsiteX530" fmla="*/ 1016 w 10000"/>
                <a:gd name="connsiteY530" fmla="*/ 2749 h 10000"/>
                <a:gd name="connsiteX531" fmla="*/ 1060 w 10000"/>
                <a:gd name="connsiteY531" fmla="*/ 2707 h 10000"/>
                <a:gd name="connsiteX532" fmla="*/ 1098 w 10000"/>
                <a:gd name="connsiteY532" fmla="*/ 2659 h 10000"/>
                <a:gd name="connsiteX533" fmla="*/ 1167 w 10000"/>
                <a:gd name="connsiteY533" fmla="*/ 2563 h 10000"/>
                <a:gd name="connsiteX534" fmla="*/ 1236 w 10000"/>
                <a:gd name="connsiteY534" fmla="*/ 2455 h 10000"/>
                <a:gd name="connsiteX535" fmla="*/ 1355 w 10000"/>
                <a:gd name="connsiteY535" fmla="*/ 2240 h 10000"/>
                <a:gd name="connsiteX536" fmla="*/ 1474 w 10000"/>
                <a:gd name="connsiteY536" fmla="*/ 2024 h 10000"/>
                <a:gd name="connsiteX537" fmla="*/ 1543 w 10000"/>
                <a:gd name="connsiteY537" fmla="*/ 1928 h 10000"/>
                <a:gd name="connsiteX538" fmla="*/ 1612 w 10000"/>
                <a:gd name="connsiteY538" fmla="*/ 1844 h 10000"/>
                <a:gd name="connsiteX539" fmla="*/ 1650 w 10000"/>
                <a:gd name="connsiteY539" fmla="*/ 1796 h 10000"/>
                <a:gd name="connsiteX540" fmla="*/ 1694 w 10000"/>
                <a:gd name="connsiteY540" fmla="*/ 1760 h 10000"/>
                <a:gd name="connsiteX541" fmla="*/ 1738 w 10000"/>
                <a:gd name="connsiteY541" fmla="*/ 1731 h 10000"/>
                <a:gd name="connsiteX542" fmla="*/ 1788 w 10000"/>
                <a:gd name="connsiteY542" fmla="*/ 1701 h 10000"/>
                <a:gd name="connsiteX543" fmla="*/ 1750 w 10000"/>
                <a:gd name="connsiteY543" fmla="*/ 1629 h 10000"/>
                <a:gd name="connsiteX544" fmla="*/ 1719 w 10000"/>
                <a:gd name="connsiteY544" fmla="*/ 1563 h 10000"/>
                <a:gd name="connsiteX545" fmla="*/ 1713 w 10000"/>
                <a:gd name="connsiteY545" fmla="*/ 1533 h 10000"/>
                <a:gd name="connsiteX546" fmla="*/ 1706 w 10000"/>
                <a:gd name="connsiteY546" fmla="*/ 1503 h 10000"/>
                <a:gd name="connsiteX547" fmla="*/ 1706 w 10000"/>
                <a:gd name="connsiteY547" fmla="*/ 1467 h 10000"/>
                <a:gd name="connsiteX548" fmla="*/ 1706 w 10000"/>
                <a:gd name="connsiteY548" fmla="*/ 1437 h 10000"/>
                <a:gd name="connsiteX549" fmla="*/ 1713 w 10000"/>
                <a:gd name="connsiteY549" fmla="*/ 1407 h 10000"/>
                <a:gd name="connsiteX550" fmla="*/ 1719 w 10000"/>
                <a:gd name="connsiteY550" fmla="*/ 1377 h 10000"/>
                <a:gd name="connsiteX551" fmla="*/ 1731 w 10000"/>
                <a:gd name="connsiteY551" fmla="*/ 1353 h 10000"/>
                <a:gd name="connsiteX552" fmla="*/ 1757 w 10000"/>
                <a:gd name="connsiteY552" fmla="*/ 1329 h 10000"/>
                <a:gd name="connsiteX553" fmla="*/ 1775 w 10000"/>
                <a:gd name="connsiteY553" fmla="*/ 1311 h 10000"/>
                <a:gd name="connsiteX554" fmla="*/ 1801 w 10000"/>
                <a:gd name="connsiteY554" fmla="*/ 1293 h 10000"/>
                <a:gd name="connsiteX555" fmla="*/ 1838 w 10000"/>
                <a:gd name="connsiteY555" fmla="*/ 1275 h 10000"/>
                <a:gd name="connsiteX556" fmla="*/ 1870 w 10000"/>
                <a:gd name="connsiteY556" fmla="*/ 1257 h 10000"/>
                <a:gd name="connsiteX557" fmla="*/ 1688 w 10000"/>
                <a:gd name="connsiteY557" fmla="*/ 1096 h 10000"/>
                <a:gd name="connsiteX558" fmla="*/ 1550 w 10000"/>
                <a:gd name="connsiteY558" fmla="*/ 976 h 10000"/>
                <a:gd name="connsiteX559" fmla="*/ 1487 w 10000"/>
                <a:gd name="connsiteY559" fmla="*/ 916 h 10000"/>
                <a:gd name="connsiteX560" fmla="*/ 1424 w 10000"/>
                <a:gd name="connsiteY560" fmla="*/ 850 h 10000"/>
                <a:gd name="connsiteX561" fmla="*/ 1361 w 10000"/>
                <a:gd name="connsiteY561" fmla="*/ 766 h 10000"/>
                <a:gd name="connsiteX562" fmla="*/ 1286 w 10000"/>
                <a:gd name="connsiteY562" fmla="*/ 665 h 10000"/>
                <a:gd name="connsiteX563" fmla="*/ 1286 w 10000"/>
                <a:gd name="connsiteY563" fmla="*/ 407 h 10000"/>
                <a:gd name="connsiteX564" fmla="*/ 1437 w 10000"/>
                <a:gd name="connsiteY564" fmla="*/ 407 h 10000"/>
                <a:gd name="connsiteX565" fmla="*/ 1606 w 10000"/>
                <a:gd name="connsiteY565" fmla="*/ 395 h 10000"/>
                <a:gd name="connsiteX566" fmla="*/ 1694 w 10000"/>
                <a:gd name="connsiteY566" fmla="*/ 389 h 10000"/>
                <a:gd name="connsiteX567" fmla="*/ 1775 w 10000"/>
                <a:gd name="connsiteY567" fmla="*/ 377 h 10000"/>
                <a:gd name="connsiteX568" fmla="*/ 1863 w 10000"/>
                <a:gd name="connsiteY568" fmla="*/ 359 h 10000"/>
                <a:gd name="connsiteX569" fmla="*/ 1945 w 10000"/>
                <a:gd name="connsiteY569" fmla="*/ 341 h 10000"/>
                <a:gd name="connsiteX570" fmla="*/ 2020 w 10000"/>
                <a:gd name="connsiteY570" fmla="*/ 323 h 10000"/>
                <a:gd name="connsiteX571" fmla="*/ 2102 w 10000"/>
                <a:gd name="connsiteY571" fmla="*/ 293 h 10000"/>
                <a:gd name="connsiteX572" fmla="*/ 2177 w 10000"/>
                <a:gd name="connsiteY572" fmla="*/ 263 h 10000"/>
                <a:gd name="connsiteX573" fmla="*/ 2240 w 10000"/>
                <a:gd name="connsiteY573" fmla="*/ 222 h 10000"/>
                <a:gd name="connsiteX574" fmla="*/ 2296 w 10000"/>
                <a:gd name="connsiteY574" fmla="*/ 180 h 10000"/>
                <a:gd name="connsiteX575" fmla="*/ 2415 w 10000"/>
                <a:gd name="connsiteY575" fmla="*/ 17 h 10000"/>
                <a:gd name="connsiteX576" fmla="*/ 2390 w 10000"/>
                <a:gd name="connsiteY576" fmla="*/ 66 h 10000"/>
                <a:gd name="connsiteX577" fmla="*/ 2415 w 10000"/>
                <a:gd name="connsiteY577" fmla="*/ 0 h 10000"/>
                <a:gd name="connsiteX0" fmla="*/ 2415 w 10000"/>
                <a:gd name="connsiteY0" fmla="*/ 0 h 10000"/>
                <a:gd name="connsiteX1" fmla="*/ 2509 w 10000"/>
                <a:gd name="connsiteY1" fmla="*/ 96 h 10000"/>
                <a:gd name="connsiteX2" fmla="*/ 2818 w 10000"/>
                <a:gd name="connsiteY2" fmla="*/ 62 h 10000"/>
                <a:gd name="connsiteX3" fmla="*/ 2776 w 10000"/>
                <a:gd name="connsiteY3" fmla="*/ 144 h 10000"/>
                <a:gd name="connsiteX4" fmla="*/ 2817 w 10000"/>
                <a:gd name="connsiteY4" fmla="*/ 151 h 10000"/>
                <a:gd name="connsiteX5" fmla="*/ 3052 w 10000"/>
                <a:gd name="connsiteY5" fmla="*/ 159 h 10000"/>
                <a:gd name="connsiteX6" fmla="*/ 3121 w 10000"/>
                <a:gd name="connsiteY6" fmla="*/ 264 h 10000"/>
                <a:gd name="connsiteX7" fmla="*/ 3086 w 10000"/>
                <a:gd name="connsiteY7" fmla="*/ 485 h 10000"/>
                <a:gd name="connsiteX8" fmla="*/ 3152 w 10000"/>
                <a:gd name="connsiteY8" fmla="*/ 521 h 10000"/>
                <a:gd name="connsiteX9" fmla="*/ 3093 w 10000"/>
                <a:gd name="connsiteY9" fmla="*/ 551 h 10000"/>
                <a:gd name="connsiteX10" fmla="*/ 2992 w 10000"/>
                <a:gd name="connsiteY10" fmla="*/ 641 h 10000"/>
                <a:gd name="connsiteX11" fmla="*/ 3043 w 10000"/>
                <a:gd name="connsiteY11" fmla="*/ 665 h 10000"/>
                <a:gd name="connsiteX12" fmla="*/ 3087 w 10000"/>
                <a:gd name="connsiteY12" fmla="*/ 707 h 10000"/>
                <a:gd name="connsiteX13" fmla="*/ 3130 w 10000"/>
                <a:gd name="connsiteY13" fmla="*/ 754 h 10000"/>
                <a:gd name="connsiteX14" fmla="*/ 3174 w 10000"/>
                <a:gd name="connsiteY14" fmla="*/ 802 h 10000"/>
                <a:gd name="connsiteX15" fmla="*/ 3212 w 10000"/>
                <a:gd name="connsiteY15" fmla="*/ 862 h 10000"/>
                <a:gd name="connsiteX16" fmla="*/ 3256 w 10000"/>
                <a:gd name="connsiteY16" fmla="*/ 916 h 10000"/>
                <a:gd name="connsiteX17" fmla="*/ 3281 w 10000"/>
                <a:gd name="connsiteY17" fmla="*/ 976 h 10000"/>
                <a:gd name="connsiteX18" fmla="*/ 3312 w 10000"/>
                <a:gd name="connsiteY18" fmla="*/ 1042 h 10000"/>
                <a:gd name="connsiteX19" fmla="*/ 3331 w 10000"/>
                <a:gd name="connsiteY19" fmla="*/ 1108 h 10000"/>
                <a:gd name="connsiteX20" fmla="*/ 3043 w 10000"/>
                <a:gd name="connsiteY20" fmla="*/ 1108 h 10000"/>
                <a:gd name="connsiteX21" fmla="*/ 3043 w 10000"/>
                <a:gd name="connsiteY21" fmla="*/ 1293 h 10000"/>
                <a:gd name="connsiteX22" fmla="*/ 3074 w 10000"/>
                <a:gd name="connsiteY22" fmla="*/ 1371 h 10000"/>
                <a:gd name="connsiteX23" fmla="*/ 3118 w 10000"/>
                <a:gd name="connsiteY23" fmla="*/ 1437 h 10000"/>
                <a:gd name="connsiteX24" fmla="*/ 3168 w 10000"/>
                <a:gd name="connsiteY24" fmla="*/ 1497 h 10000"/>
                <a:gd name="connsiteX25" fmla="*/ 3225 w 10000"/>
                <a:gd name="connsiteY25" fmla="*/ 1539 h 10000"/>
                <a:gd name="connsiteX26" fmla="*/ 3281 w 10000"/>
                <a:gd name="connsiteY26" fmla="*/ 1581 h 10000"/>
                <a:gd name="connsiteX27" fmla="*/ 3350 w 10000"/>
                <a:gd name="connsiteY27" fmla="*/ 1611 h 10000"/>
                <a:gd name="connsiteX28" fmla="*/ 3413 w 10000"/>
                <a:gd name="connsiteY28" fmla="*/ 1641 h 10000"/>
                <a:gd name="connsiteX29" fmla="*/ 3488 w 10000"/>
                <a:gd name="connsiteY29" fmla="*/ 1665 h 10000"/>
                <a:gd name="connsiteX30" fmla="*/ 3626 w 10000"/>
                <a:gd name="connsiteY30" fmla="*/ 1719 h 10000"/>
                <a:gd name="connsiteX31" fmla="*/ 3764 w 10000"/>
                <a:gd name="connsiteY31" fmla="*/ 1772 h 10000"/>
                <a:gd name="connsiteX32" fmla="*/ 3827 w 10000"/>
                <a:gd name="connsiteY32" fmla="*/ 1808 h 10000"/>
                <a:gd name="connsiteX33" fmla="*/ 3890 w 10000"/>
                <a:gd name="connsiteY33" fmla="*/ 1856 h 10000"/>
                <a:gd name="connsiteX34" fmla="*/ 3946 w 10000"/>
                <a:gd name="connsiteY34" fmla="*/ 1904 h 10000"/>
                <a:gd name="connsiteX35" fmla="*/ 4003 w 10000"/>
                <a:gd name="connsiteY35" fmla="*/ 1958 h 10000"/>
                <a:gd name="connsiteX36" fmla="*/ 3959 w 10000"/>
                <a:gd name="connsiteY36" fmla="*/ 2515 h 10000"/>
                <a:gd name="connsiteX37" fmla="*/ 4034 w 10000"/>
                <a:gd name="connsiteY37" fmla="*/ 2569 h 10000"/>
                <a:gd name="connsiteX38" fmla="*/ 4141 w 10000"/>
                <a:gd name="connsiteY38" fmla="*/ 2635 h 10000"/>
                <a:gd name="connsiteX39" fmla="*/ 4260 w 10000"/>
                <a:gd name="connsiteY39" fmla="*/ 2695 h 10000"/>
                <a:gd name="connsiteX40" fmla="*/ 4398 w 10000"/>
                <a:gd name="connsiteY40" fmla="*/ 2749 h 10000"/>
                <a:gd name="connsiteX41" fmla="*/ 4536 w 10000"/>
                <a:gd name="connsiteY41" fmla="*/ 2802 h 10000"/>
                <a:gd name="connsiteX42" fmla="*/ 4668 w 10000"/>
                <a:gd name="connsiteY42" fmla="*/ 2844 h 10000"/>
                <a:gd name="connsiteX43" fmla="*/ 4724 w 10000"/>
                <a:gd name="connsiteY43" fmla="*/ 2862 h 10000"/>
                <a:gd name="connsiteX44" fmla="*/ 4780 w 10000"/>
                <a:gd name="connsiteY44" fmla="*/ 2874 h 10000"/>
                <a:gd name="connsiteX45" fmla="*/ 4831 w 10000"/>
                <a:gd name="connsiteY45" fmla="*/ 2880 h 10000"/>
                <a:gd name="connsiteX46" fmla="*/ 4875 w 10000"/>
                <a:gd name="connsiteY46" fmla="*/ 2880 h 10000"/>
                <a:gd name="connsiteX47" fmla="*/ 4887 w 10000"/>
                <a:gd name="connsiteY47" fmla="*/ 2922 h 10000"/>
                <a:gd name="connsiteX48" fmla="*/ 4918 w 10000"/>
                <a:gd name="connsiteY48" fmla="*/ 2958 h 10000"/>
                <a:gd name="connsiteX49" fmla="*/ 4950 w 10000"/>
                <a:gd name="connsiteY49" fmla="*/ 2976 h 10000"/>
                <a:gd name="connsiteX50" fmla="*/ 4987 w 10000"/>
                <a:gd name="connsiteY50" fmla="*/ 2988 h 10000"/>
                <a:gd name="connsiteX51" fmla="*/ 5019 w 10000"/>
                <a:gd name="connsiteY51" fmla="*/ 3000 h 10000"/>
                <a:gd name="connsiteX52" fmla="*/ 5063 w 10000"/>
                <a:gd name="connsiteY52" fmla="*/ 3000 h 10000"/>
                <a:gd name="connsiteX53" fmla="*/ 5107 w 10000"/>
                <a:gd name="connsiteY53" fmla="*/ 2994 h 10000"/>
                <a:gd name="connsiteX54" fmla="*/ 5157 w 10000"/>
                <a:gd name="connsiteY54" fmla="*/ 2988 h 10000"/>
                <a:gd name="connsiteX55" fmla="*/ 5245 w 10000"/>
                <a:gd name="connsiteY55" fmla="*/ 2970 h 10000"/>
                <a:gd name="connsiteX56" fmla="*/ 5345 w 10000"/>
                <a:gd name="connsiteY56" fmla="*/ 2946 h 10000"/>
                <a:gd name="connsiteX57" fmla="*/ 5383 w 10000"/>
                <a:gd name="connsiteY57" fmla="*/ 2946 h 10000"/>
                <a:gd name="connsiteX58" fmla="*/ 5427 w 10000"/>
                <a:gd name="connsiteY58" fmla="*/ 2940 h 10000"/>
                <a:gd name="connsiteX59" fmla="*/ 5464 w 10000"/>
                <a:gd name="connsiteY59" fmla="*/ 2946 h 10000"/>
                <a:gd name="connsiteX60" fmla="*/ 5502 w 10000"/>
                <a:gd name="connsiteY60" fmla="*/ 2952 h 10000"/>
                <a:gd name="connsiteX61" fmla="*/ 5558 w 10000"/>
                <a:gd name="connsiteY61" fmla="*/ 2988 h 10000"/>
                <a:gd name="connsiteX62" fmla="*/ 5596 w 10000"/>
                <a:gd name="connsiteY62" fmla="*/ 3018 h 10000"/>
                <a:gd name="connsiteX63" fmla="*/ 5634 w 10000"/>
                <a:gd name="connsiteY63" fmla="*/ 3060 h 10000"/>
                <a:gd name="connsiteX64" fmla="*/ 5665 w 10000"/>
                <a:gd name="connsiteY64" fmla="*/ 3096 h 10000"/>
                <a:gd name="connsiteX65" fmla="*/ 5696 w 10000"/>
                <a:gd name="connsiteY65" fmla="*/ 3132 h 10000"/>
                <a:gd name="connsiteX66" fmla="*/ 5734 w 10000"/>
                <a:gd name="connsiteY66" fmla="*/ 3168 h 10000"/>
                <a:gd name="connsiteX67" fmla="*/ 5759 w 10000"/>
                <a:gd name="connsiteY67" fmla="*/ 3186 h 10000"/>
                <a:gd name="connsiteX68" fmla="*/ 5778 w 10000"/>
                <a:gd name="connsiteY68" fmla="*/ 3198 h 10000"/>
                <a:gd name="connsiteX69" fmla="*/ 5803 w 10000"/>
                <a:gd name="connsiteY69" fmla="*/ 3210 h 10000"/>
                <a:gd name="connsiteX70" fmla="*/ 5834 w 10000"/>
                <a:gd name="connsiteY70" fmla="*/ 3216 h 10000"/>
                <a:gd name="connsiteX71" fmla="*/ 5935 w 10000"/>
                <a:gd name="connsiteY71" fmla="*/ 3234 h 10000"/>
                <a:gd name="connsiteX72" fmla="*/ 6073 w 10000"/>
                <a:gd name="connsiteY72" fmla="*/ 3269 h 10000"/>
                <a:gd name="connsiteX73" fmla="*/ 6230 w 10000"/>
                <a:gd name="connsiteY73" fmla="*/ 3305 h 10000"/>
                <a:gd name="connsiteX74" fmla="*/ 6405 w 10000"/>
                <a:gd name="connsiteY74" fmla="*/ 3347 h 10000"/>
                <a:gd name="connsiteX75" fmla="*/ 6568 w 10000"/>
                <a:gd name="connsiteY75" fmla="*/ 3377 h 10000"/>
                <a:gd name="connsiteX76" fmla="*/ 6719 w 10000"/>
                <a:gd name="connsiteY76" fmla="*/ 3401 h 10000"/>
                <a:gd name="connsiteX77" fmla="*/ 6788 w 10000"/>
                <a:gd name="connsiteY77" fmla="*/ 3407 h 10000"/>
                <a:gd name="connsiteX78" fmla="*/ 6838 w 10000"/>
                <a:gd name="connsiteY78" fmla="*/ 3413 h 10000"/>
                <a:gd name="connsiteX79" fmla="*/ 6888 w 10000"/>
                <a:gd name="connsiteY79" fmla="*/ 3407 h 10000"/>
                <a:gd name="connsiteX80" fmla="*/ 6913 w 10000"/>
                <a:gd name="connsiteY80" fmla="*/ 3395 h 10000"/>
                <a:gd name="connsiteX81" fmla="*/ 6888 w 10000"/>
                <a:gd name="connsiteY81" fmla="*/ 3353 h 10000"/>
                <a:gd name="connsiteX82" fmla="*/ 6857 w 10000"/>
                <a:gd name="connsiteY82" fmla="*/ 3305 h 10000"/>
                <a:gd name="connsiteX83" fmla="*/ 6838 w 10000"/>
                <a:gd name="connsiteY83" fmla="*/ 3257 h 10000"/>
                <a:gd name="connsiteX84" fmla="*/ 6826 w 10000"/>
                <a:gd name="connsiteY84" fmla="*/ 3204 h 10000"/>
                <a:gd name="connsiteX85" fmla="*/ 6794 w 10000"/>
                <a:gd name="connsiteY85" fmla="*/ 3114 h 10000"/>
                <a:gd name="connsiteX86" fmla="*/ 6788 w 10000"/>
                <a:gd name="connsiteY86" fmla="*/ 3066 h 10000"/>
                <a:gd name="connsiteX87" fmla="*/ 6788 w 10000"/>
                <a:gd name="connsiteY87" fmla="*/ 2880 h 10000"/>
                <a:gd name="connsiteX88" fmla="*/ 6788 w 10000"/>
                <a:gd name="connsiteY88" fmla="*/ 2695 h 10000"/>
                <a:gd name="connsiteX89" fmla="*/ 6995 w 10000"/>
                <a:gd name="connsiteY89" fmla="*/ 2695 h 10000"/>
                <a:gd name="connsiteX90" fmla="*/ 7033 w 10000"/>
                <a:gd name="connsiteY90" fmla="*/ 2760 h 10000"/>
                <a:gd name="connsiteX91" fmla="*/ 7058 w 10000"/>
                <a:gd name="connsiteY91" fmla="*/ 2802 h 10000"/>
                <a:gd name="connsiteX92" fmla="*/ 7095 w 10000"/>
                <a:gd name="connsiteY92" fmla="*/ 2838 h 10000"/>
                <a:gd name="connsiteX93" fmla="*/ 7127 w 10000"/>
                <a:gd name="connsiteY93" fmla="*/ 2880 h 10000"/>
                <a:gd name="connsiteX94" fmla="*/ 7120 w 10000"/>
                <a:gd name="connsiteY94" fmla="*/ 2976 h 10000"/>
                <a:gd name="connsiteX95" fmla="*/ 7102 w 10000"/>
                <a:gd name="connsiteY95" fmla="*/ 3036 h 10000"/>
                <a:gd name="connsiteX96" fmla="*/ 7089 w 10000"/>
                <a:gd name="connsiteY96" fmla="*/ 3084 h 10000"/>
                <a:gd name="connsiteX97" fmla="*/ 7077 w 10000"/>
                <a:gd name="connsiteY97" fmla="*/ 3138 h 10000"/>
                <a:gd name="connsiteX98" fmla="*/ 7208 w 10000"/>
                <a:gd name="connsiteY98" fmla="*/ 3174 h 10000"/>
                <a:gd name="connsiteX99" fmla="*/ 7334 w 10000"/>
                <a:gd name="connsiteY99" fmla="*/ 3210 h 10000"/>
                <a:gd name="connsiteX100" fmla="*/ 7396 w 10000"/>
                <a:gd name="connsiteY100" fmla="*/ 3228 h 10000"/>
                <a:gd name="connsiteX101" fmla="*/ 7459 w 10000"/>
                <a:gd name="connsiteY101" fmla="*/ 3240 h 10000"/>
                <a:gd name="connsiteX102" fmla="*/ 7522 w 10000"/>
                <a:gd name="connsiteY102" fmla="*/ 3246 h 10000"/>
                <a:gd name="connsiteX103" fmla="*/ 7585 w 10000"/>
                <a:gd name="connsiteY103" fmla="*/ 3251 h 10000"/>
                <a:gd name="connsiteX104" fmla="*/ 7591 w 10000"/>
                <a:gd name="connsiteY104" fmla="*/ 3275 h 10000"/>
                <a:gd name="connsiteX105" fmla="*/ 7604 w 10000"/>
                <a:gd name="connsiteY105" fmla="*/ 3299 h 10000"/>
                <a:gd name="connsiteX106" fmla="*/ 7622 w 10000"/>
                <a:gd name="connsiteY106" fmla="*/ 3317 h 10000"/>
                <a:gd name="connsiteX107" fmla="*/ 7654 w 10000"/>
                <a:gd name="connsiteY107" fmla="*/ 3335 h 10000"/>
                <a:gd name="connsiteX108" fmla="*/ 7704 w 10000"/>
                <a:gd name="connsiteY108" fmla="*/ 3353 h 10000"/>
                <a:gd name="connsiteX109" fmla="*/ 7748 w 10000"/>
                <a:gd name="connsiteY109" fmla="*/ 3359 h 10000"/>
                <a:gd name="connsiteX110" fmla="*/ 7798 w 10000"/>
                <a:gd name="connsiteY110" fmla="*/ 3359 h 10000"/>
                <a:gd name="connsiteX111" fmla="*/ 7836 w 10000"/>
                <a:gd name="connsiteY111" fmla="*/ 3347 h 10000"/>
                <a:gd name="connsiteX112" fmla="*/ 7880 w 10000"/>
                <a:gd name="connsiteY112" fmla="*/ 3329 h 10000"/>
                <a:gd name="connsiteX113" fmla="*/ 7911 w 10000"/>
                <a:gd name="connsiteY113" fmla="*/ 3311 h 10000"/>
                <a:gd name="connsiteX114" fmla="*/ 7949 w 10000"/>
                <a:gd name="connsiteY114" fmla="*/ 3287 h 10000"/>
                <a:gd name="connsiteX115" fmla="*/ 7980 w 10000"/>
                <a:gd name="connsiteY115" fmla="*/ 3257 h 10000"/>
                <a:gd name="connsiteX116" fmla="*/ 8011 w 10000"/>
                <a:gd name="connsiteY116" fmla="*/ 3228 h 10000"/>
                <a:gd name="connsiteX117" fmla="*/ 8036 w 10000"/>
                <a:gd name="connsiteY117" fmla="*/ 3198 h 10000"/>
                <a:gd name="connsiteX118" fmla="*/ 8087 w 10000"/>
                <a:gd name="connsiteY118" fmla="*/ 3120 h 10000"/>
                <a:gd name="connsiteX119" fmla="*/ 8118 w 10000"/>
                <a:gd name="connsiteY119" fmla="*/ 3048 h 10000"/>
                <a:gd name="connsiteX120" fmla="*/ 8149 w 10000"/>
                <a:gd name="connsiteY120" fmla="*/ 2982 h 10000"/>
                <a:gd name="connsiteX121" fmla="*/ 8168 w 10000"/>
                <a:gd name="connsiteY121" fmla="*/ 2916 h 10000"/>
                <a:gd name="connsiteX122" fmla="*/ 8231 w 10000"/>
                <a:gd name="connsiteY122" fmla="*/ 2850 h 10000"/>
                <a:gd name="connsiteX123" fmla="*/ 8294 w 10000"/>
                <a:gd name="connsiteY123" fmla="*/ 2784 h 10000"/>
                <a:gd name="connsiteX124" fmla="*/ 8363 w 10000"/>
                <a:gd name="connsiteY124" fmla="*/ 2731 h 10000"/>
                <a:gd name="connsiteX125" fmla="*/ 8432 w 10000"/>
                <a:gd name="connsiteY125" fmla="*/ 2671 h 10000"/>
                <a:gd name="connsiteX126" fmla="*/ 8507 w 10000"/>
                <a:gd name="connsiteY126" fmla="*/ 2623 h 10000"/>
                <a:gd name="connsiteX127" fmla="*/ 8576 w 10000"/>
                <a:gd name="connsiteY127" fmla="*/ 2575 h 10000"/>
                <a:gd name="connsiteX128" fmla="*/ 8651 w 10000"/>
                <a:gd name="connsiteY128" fmla="*/ 2533 h 10000"/>
                <a:gd name="connsiteX129" fmla="*/ 8726 w 10000"/>
                <a:gd name="connsiteY129" fmla="*/ 2491 h 10000"/>
                <a:gd name="connsiteX130" fmla="*/ 8808 w 10000"/>
                <a:gd name="connsiteY130" fmla="*/ 2449 h 10000"/>
                <a:gd name="connsiteX131" fmla="*/ 8890 w 10000"/>
                <a:gd name="connsiteY131" fmla="*/ 2413 h 10000"/>
                <a:gd name="connsiteX132" fmla="*/ 8971 w 10000"/>
                <a:gd name="connsiteY132" fmla="*/ 2383 h 10000"/>
                <a:gd name="connsiteX133" fmla="*/ 9059 w 10000"/>
                <a:gd name="connsiteY133" fmla="*/ 2353 h 10000"/>
                <a:gd name="connsiteX134" fmla="*/ 9235 w 10000"/>
                <a:gd name="connsiteY134" fmla="*/ 2299 h 10000"/>
                <a:gd name="connsiteX135" fmla="*/ 9417 w 10000"/>
                <a:gd name="connsiteY135" fmla="*/ 2257 h 10000"/>
                <a:gd name="connsiteX136" fmla="*/ 9454 w 10000"/>
                <a:gd name="connsiteY136" fmla="*/ 2305 h 10000"/>
                <a:gd name="connsiteX137" fmla="*/ 9504 w 10000"/>
                <a:gd name="connsiteY137" fmla="*/ 2365 h 10000"/>
                <a:gd name="connsiteX138" fmla="*/ 9573 w 10000"/>
                <a:gd name="connsiteY138" fmla="*/ 2431 h 10000"/>
                <a:gd name="connsiteX139" fmla="*/ 9642 w 10000"/>
                <a:gd name="connsiteY139" fmla="*/ 2503 h 10000"/>
                <a:gd name="connsiteX140" fmla="*/ 9718 w 10000"/>
                <a:gd name="connsiteY140" fmla="*/ 2563 h 10000"/>
                <a:gd name="connsiteX141" fmla="*/ 9799 w 10000"/>
                <a:gd name="connsiteY141" fmla="*/ 2611 h 10000"/>
                <a:gd name="connsiteX142" fmla="*/ 9837 w 10000"/>
                <a:gd name="connsiteY142" fmla="*/ 2635 h 10000"/>
                <a:gd name="connsiteX143" fmla="*/ 9875 w 10000"/>
                <a:gd name="connsiteY143" fmla="*/ 2647 h 10000"/>
                <a:gd name="connsiteX144" fmla="*/ 9918 w 10000"/>
                <a:gd name="connsiteY144" fmla="*/ 2659 h 10000"/>
                <a:gd name="connsiteX145" fmla="*/ 9956 w 10000"/>
                <a:gd name="connsiteY145" fmla="*/ 2659 h 10000"/>
                <a:gd name="connsiteX146" fmla="*/ 10000 w 10000"/>
                <a:gd name="connsiteY146" fmla="*/ 2587 h 10000"/>
                <a:gd name="connsiteX147" fmla="*/ 9975 w 10000"/>
                <a:gd name="connsiteY147" fmla="*/ 2713 h 10000"/>
                <a:gd name="connsiteX148" fmla="*/ 9944 w 10000"/>
                <a:gd name="connsiteY148" fmla="*/ 2856 h 10000"/>
                <a:gd name="connsiteX149" fmla="*/ 9931 w 10000"/>
                <a:gd name="connsiteY149" fmla="*/ 2922 h 10000"/>
                <a:gd name="connsiteX150" fmla="*/ 9906 w 10000"/>
                <a:gd name="connsiteY150" fmla="*/ 2982 h 10000"/>
                <a:gd name="connsiteX151" fmla="*/ 9887 w 10000"/>
                <a:gd name="connsiteY151" fmla="*/ 3006 h 10000"/>
                <a:gd name="connsiteX152" fmla="*/ 9875 w 10000"/>
                <a:gd name="connsiteY152" fmla="*/ 3030 h 10000"/>
                <a:gd name="connsiteX153" fmla="*/ 9856 w 10000"/>
                <a:gd name="connsiteY153" fmla="*/ 3048 h 10000"/>
                <a:gd name="connsiteX154" fmla="*/ 9837 w 10000"/>
                <a:gd name="connsiteY154" fmla="*/ 3066 h 10000"/>
                <a:gd name="connsiteX155" fmla="*/ 9749 w 10000"/>
                <a:gd name="connsiteY155" fmla="*/ 3084 h 10000"/>
                <a:gd name="connsiteX156" fmla="*/ 9605 w 10000"/>
                <a:gd name="connsiteY156" fmla="*/ 3132 h 10000"/>
                <a:gd name="connsiteX157" fmla="*/ 9536 w 10000"/>
                <a:gd name="connsiteY157" fmla="*/ 3174 h 10000"/>
                <a:gd name="connsiteX158" fmla="*/ 9479 w 10000"/>
                <a:gd name="connsiteY158" fmla="*/ 3210 h 10000"/>
                <a:gd name="connsiteX159" fmla="*/ 9448 w 10000"/>
                <a:gd name="connsiteY159" fmla="*/ 3228 h 10000"/>
                <a:gd name="connsiteX160" fmla="*/ 9435 w 10000"/>
                <a:gd name="connsiteY160" fmla="*/ 3246 h 10000"/>
                <a:gd name="connsiteX161" fmla="*/ 9423 w 10000"/>
                <a:gd name="connsiteY161" fmla="*/ 3269 h 10000"/>
                <a:gd name="connsiteX162" fmla="*/ 9417 w 10000"/>
                <a:gd name="connsiteY162" fmla="*/ 3287 h 10000"/>
                <a:gd name="connsiteX163" fmla="*/ 9423 w 10000"/>
                <a:gd name="connsiteY163" fmla="*/ 3497 h 10000"/>
                <a:gd name="connsiteX164" fmla="*/ 9417 w 10000"/>
                <a:gd name="connsiteY164" fmla="*/ 3737 h 10000"/>
                <a:gd name="connsiteX165" fmla="*/ 9398 w 10000"/>
                <a:gd name="connsiteY165" fmla="*/ 3796 h 10000"/>
                <a:gd name="connsiteX166" fmla="*/ 9391 w 10000"/>
                <a:gd name="connsiteY166" fmla="*/ 3862 h 10000"/>
                <a:gd name="connsiteX167" fmla="*/ 9379 w 10000"/>
                <a:gd name="connsiteY167" fmla="*/ 3916 h 10000"/>
                <a:gd name="connsiteX168" fmla="*/ 9366 w 10000"/>
                <a:gd name="connsiteY168" fmla="*/ 3970 h 10000"/>
                <a:gd name="connsiteX169" fmla="*/ 9348 w 10000"/>
                <a:gd name="connsiteY169" fmla="*/ 4018 h 10000"/>
                <a:gd name="connsiteX170" fmla="*/ 9316 w 10000"/>
                <a:gd name="connsiteY170" fmla="*/ 4066 h 10000"/>
                <a:gd name="connsiteX171" fmla="*/ 9285 w 10000"/>
                <a:gd name="connsiteY171" fmla="*/ 4102 h 10000"/>
                <a:gd name="connsiteX172" fmla="*/ 9247 w 10000"/>
                <a:gd name="connsiteY172" fmla="*/ 4132 h 10000"/>
                <a:gd name="connsiteX173" fmla="*/ 9228 w 10000"/>
                <a:gd name="connsiteY173" fmla="*/ 4150 h 10000"/>
                <a:gd name="connsiteX174" fmla="*/ 9184 w 10000"/>
                <a:gd name="connsiteY174" fmla="*/ 4156 h 10000"/>
                <a:gd name="connsiteX175" fmla="*/ 9141 w 10000"/>
                <a:gd name="connsiteY175" fmla="*/ 4162 h 10000"/>
                <a:gd name="connsiteX176" fmla="*/ 9090 w 10000"/>
                <a:gd name="connsiteY176" fmla="*/ 4168 h 10000"/>
                <a:gd name="connsiteX177" fmla="*/ 9040 w 10000"/>
                <a:gd name="connsiteY177" fmla="*/ 4174 h 10000"/>
                <a:gd name="connsiteX178" fmla="*/ 8996 w 10000"/>
                <a:gd name="connsiteY178" fmla="*/ 4192 h 10000"/>
                <a:gd name="connsiteX179" fmla="*/ 8977 w 10000"/>
                <a:gd name="connsiteY179" fmla="*/ 4198 h 10000"/>
                <a:gd name="connsiteX180" fmla="*/ 8965 w 10000"/>
                <a:gd name="connsiteY180" fmla="*/ 4216 h 10000"/>
                <a:gd name="connsiteX181" fmla="*/ 8959 w 10000"/>
                <a:gd name="connsiteY181" fmla="*/ 4228 h 10000"/>
                <a:gd name="connsiteX182" fmla="*/ 8959 w 10000"/>
                <a:gd name="connsiteY182" fmla="*/ 4246 h 10000"/>
                <a:gd name="connsiteX183" fmla="*/ 8952 w 10000"/>
                <a:gd name="connsiteY183" fmla="*/ 4317 h 10000"/>
                <a:gd name="connsiteX184" fmla="*/ 8952 w 10000"/>
                <a:gd name="connsiteY184" fmla="*/ 4401 h 10000"/>
                <a:gd name="connsiteX185" fmla="*/ 8940 w 10000"/>
                <a:gd name="connsiteY185" fmla="*/ 4491 h 10000"/>
                <a:gd name="connsiteX186" fmla="*/ 8927 w 10000"/>
                <a:gd name="connsiteY186" fmla="*/ 4575 h 10000"/>
                <a:gd name="connsiteX187" fmla="*/ 8908 w 10000"/>
                <a:gd name="connsiteY187" fmla="*/ 4659 h 10000"/>
                <a:gd name="connsiteX188" fmla="*/ 8890 w 10000"/>
                <a:gd name="connsiteY188" fmla="*/ 4737 h 10000"/>
                <a:gd name="connsiteX189" fmla="*/ 8864 w 10000"/>
                <a:gd name="connsiteY189" fmla="*/ 4808 h 10000"/>
                <a:gd name="connsiteX190" fmla="*/ 8833 w 10000"/>
                <a:gd name="connsiteY190" fmla="*/ 4874 h 10000"/>
                <a:gd name="connsiteX191" fmla="*/ 8538 w 10000"/>
                <a:gd name="connsiteY191" fmla="*/ 4389 h 10000"/>
                <a:gd name="connsiteX192" fmla="*/ 8526 w 10000"/>
                <a:gd name="connsiteY192" fmla="*/ 4413 h 10000"/>
                <a:gd name="connsiteX193" fmla="*/ 8494 w 10000"/>
                <a:gd name="connsiteY193" fmla="*/ 4467 h 10000"/>
                <a:gd name="connsiteX194" fmla="*/ 8463 w 10000"/>
                <a:gd name="connsiteY194" fmla="*/ 4497 h 10000"/>
                <a:gd name="connsiteX195" fmla="*/ 8438 w 10000"/>
                <a:gd name="connsiteY195" fmla="*/ 4521 h 10000"/>
                <a:gd name="connsiteX196" fmla="*/ 8407 w 10000"/>
                <a:gd name="connsiteY196" fmla="*/ 4539 h 10000"/>
                <a:gd name="connsiteX197" fmla="*/ 8375 w 10000"/>
                <a:gd name="connsiteY197" fmla="*/ 4545 h 10000"/>
                <a:gd name="connsiteX198" fmla="*/ 8338 w 10000"/>
                <a:gd name="connsiteY198" fmla="*/ 4539 h 10000"/>
                <a:gd name="connsiteX199" fmla="*/ 8312 w 10000"/>
                <a:gd name="connsiteY199" fmla="*/ 4533 h 10000"/>
                <a:gd name="connsiteX200" fmla="*/ 8287 w 10000"/>
                <a:gd name="connsiteY200" fmla="*/ 4515 h 10000"/>
                <a:gd name="connsiteX201" fmla="*/ 8256 w 10000"/>
                <a:gd name="connsiteY201" fmla="*/ 4497 h 10000"/>
                <a:gd name="connsiteX202" fmla="*/ 8237 w 10000"/>
                <a:gd name="connsiteY202" fmla="*/ 4467 h 10000"/>
                <a:gd name="connsiteX203" fmla="*/ 8225 w 10000"/>
                <a:gd name="connsiteY203" fmla="*/ 4443 h 10000"/>
                <a:gd name="connsiteX204" fmla="*/ 8206 w 10000"/>
                <a:gd name="connsiteY204" fmla="*/ 4419 h 10000"/>
                <a:gd name="connsiteX205" fmla="*/ 8206 w 10000"/>
                <a:gd name="connsiteY205" fmla="*/ 4389 h 10000"/>
                <a:gd name="connsiteX206" fmla="*/ 8206 w 10000"/>
                <a:gd name="connsiteY206" fmla="*/ 4353 h 10000"/>
                <a:gd name="connsiteX207" fmla="*/ 8225 w 10000"/>
                <a:gd name="connsiteY207" fmla="*/ 4317 h 10000"/>
                <a:gd name="connsiteX208" fmla="*/ 8237 w 10000"/>
                <a:gd name="connsiteY208" fmla="*/ 4281 h 10000"/>
                <a:gd name="connsiteX209" fmla="*/ 8250 w 10000"/>
                <a:gd name="connsiteY209" fmla="*/ 4246 h 10000"/>
                <a:gd name="connsiteX210" fmla="*/ 8300 w 10000"/>
                <a:gd name="connsiteY210" fmla="*/ 4180 h 10000"/>
                <a:gd name="connsiteX211" fmla="*/ 8356 w 10000"/>
                <a:gd name="connsiteY211" fmla="*/ 4114 h 10000"/>
                <a:gd name="connsiteX212" fmla="*/ 8407 w 10000"/>
                <a:gd name="connsiteY212" fmla="*/ 4054 h 10000"/>
                <a:gd name="connsiteX213" fmla="*/ 8457 w 10000"/>
                <a:gd name="connsiteY213" fmla="*/ 3988 h 10000"/>
                <a:gd name="connsiteX214" fmla="*/ 8469 w 10000"/>
                <a:gd name="connsiteY214" fmla="*/ 3952 h 10000"/>
                <a:gd name="connsiteX215" fmla="*/ 8482 w 10000"/>
                <a:gd name="connsiteY215" fmla="*/ 3922 h 10000"/>
                <a:gd name="connsiteX216" fmla="*/ 8501 w 10000"/>
                <a:gd name="connsiteY216" fmla="*/ 3880 h 10000"/>
                <a:gd name="connsiteX217" fmla="*/ 8501 w 10000"/>
                <a:gd name="connsiteY217" fmla="*/ 3844 h 10000"/>
                <a:gd name="connsiteX218" fmla="*/ 7748 w 10000"/>
                <a:gd name="connsiteY218" fmla="*/ 3844 h 10000"/>
                <a:gd name="connsiteX219" fmla="*/ 7723 w 10000"/>
                <a:gd name="connsiteY219" fmla="*/ 3838 h 10000"/>
                <a:gd name="connsiteX220" fmla="*/ 7685 w 10000"/>
                <a:gd name="connsiteY220" fmla="*/ 3820 h 10000"/>
                <a:gd name="connsiteX221" fmla="*/ 7660 w 10000"/>
                <a:gd name="connsiteY221" fmla="*/ 3784 h 10000"/>
                <a:gd name="connsiteX222" fmla="*/ 7635 w 10000"/>
                <a:gd name="connsiteY222" fmla="*/ 3749 h 10000"/>
                <a:gd name="connsiteX223" fmla="*/ 7616 w 10000"/>
                <a:gd name="connsiteY223" fmla="*/ 3701 h 10000"/>
                <a:gd name="connsiteX224" fmla="*/ 7597 w 10000"/>
                <a:gd name="connsiteY224" fmla="*/ 3653 h 10000"/>
                <a:gd name="connsiteX225" fmla="*/ 7591 w 10000"/>
                <a:gd name="connsiteY225" fmla="*/ 3599 h 10000"/>
                <a:gd name="connsiteX226" fmla="*/ 7585 w 10000"/>
                <a:gd name="connsiteY226" fmla="*/ 3545 h 10000"/>
                <a:gd name="connsiteX227" fmla="*/ 7547 w 10000"/>
                <a:gd name="connsiteY227" fmla="*/ 3545 h 10000"/>
                <a:gd name="connsiteX228" fmla="*/ 7516 w 10000"/>
                <a:gd name="connsiteY228" fmla="*/ 3539 h 10000"/>
                <a:gd name="connsiteX229" fmla="*/ 7478 w 10000"/>
                <a:gd name="connsiteY229" fmla="*/ 3533 h 10000"/>
                <a:gd name="connsiteX230" fmla="*/ 7447 w 10000"/>
                <a:gd name="connsiteY230" fmla="*/ 3521 h 10000"/>
                <a:gd name="connsiteX231" fmla="*/ 7415 w 10000"/>
                <a:gd name="connsiteY231" fmla="*/ 3503 h 10000"/>
                <a:gd name="connsiteX232" fmla="*/ 7396 w 10000"/>
                <a:gd name="connsiteY232" fmla="*/ 3485 h 10000"/>
                <a:gd name="connsiteX233" fmla="*/ 7384 w 10000"/>
                <a:gd name="connsiteY233" fmla="*/ 3455 h 10000"/>
                <a:gd name="connsiteX234" fmla="*/ 7378 w 10000"/>
                <a:gd name="connsiteY234" fmla="*/ 3431 h 10000"/>
                <a:gd name="connsiteX235" fmla="*/ 7321 w 10000"/>
                <a:gd name="connsiteY235" fmla="*/ 3431 h 10000"/>
                <a:gd name="connsiteX236" fmla="*/ 7271 w 10000"/>
                <a:gd name="connsiteY236" fmla="*/ 3431 h 10000"/>
                <a:gd name="connsiteX237" fmla="*/ 7221 w 10000"/>
                <a:gd name="connsiteY237" fmla="*/ 3431 h 10000"/>
                <a:gd name="connsiteX238" fmla="*/ 7171 w 10000"/>
                <a:gd name="connsiteY238" fmla="*/ 3431 h 10000"/>
                <a:gd name="connsiteX239" fmla="*/ 7127 w 10000"/>
                <a:gd name="connsiteY239" fmla="*/ 3437 h 10000"/>
                <a:gd name="connsiteX240" fmla="*/ 7095 w 10000"/>
                <a:gd name="connsiteY240" fmla="*/ 3443 h 10000"/>
                <a:gd name="connsiteX241" fmla="*/ 7051 w 10000"/>
                <a:gd name="connsiteY241" fmla="*/ 3461 h 10000"/>
                <a:gd name="connsiteX242" fmla="*/ 7008 w 10000"/>
                <a:gd name="connsiteY242" fmla="*/ 3485 h 10000"/>
                <a:gd name="connsiteX243" fmla="*/ 6976 w 10000"/>
                <a:gd name="connsiteY243" fmla="*/ 3515 h 10000"/>
                <a:gd name="connsiteX244" fmla="*/ 6939 w 10000"/>
                <a:gd name="connsiteY244" fmla="*/ 3545 h 10000"/>
                <a:gd name="connsiteX245" fmla="*/ 6920 w 10000"/>
                <a:gd name="connsiteY245" fmla="*/ 3581 h 10000"/>
                <a:gd name="connsiteX246" fmla="*/ 6913 w 10000"/>
                <a:gd name="connsiteY246" fmla="*/ 3617 h 10000"/>
                <a:gd name="connsiteX247" fmla="*/ 6926 w 10000"/>
                <a:gd name="connsiteY247" fmla="*/ 3641 h 10000"/>
                <a:gd name="connsiteX248" fmla="*/ 6964 w 10000"/>
                <a:gd name="connsiteY248" fmla="*/ 3671 h 10000"/>
                <a:gd name="connsiteX249" fmla="*/ 7008 w 10000"/>
                <a:gd name="connsiteY249" fmla="*/ 3707 h 10000"/>
                <a:gd name="connsiteX250" fmla="*/ 7070 w 10000"/>
                <a:gd name="connsiteY250" fmla="*/ 3743 h 10000"/>
                <a:gd name="connsiteX251" fmla="*/ 7133 w 10000"/>
                <a:gd name="connsiteY251" fmla="*/ 3778 h 10000"/>
                <a:gd name="connsiteX252" fmla="*/ 7196 w 10000"/>
                <a:gd name="connsiteY252" fmla="*/ 3808 h 10000"/>
                <a:gd name="connsiteX253" fmla="*/ 7252 w 10000"/>
                <a:gd name="connsiteY253" fmla="*/ 3832 h 10000"/>
                <a:gd name="connsiteX254" fmla="*/ 7290 w 10000"/>
                <a:gd name="connsiteY254" fmla="*/ 3844 h 10000"/>
                <a:gd name="connsiteX255" fmla="*/ 7208 w 10000"/>
                <a:gd name="connsiteY255" fmla="*/ 3904 h 10000"/>
                <a:gd name="connsiteX256" fmla="*/ 7114 w 10000"/>
                <a:gd name="connsiteY256" fmla="*/ 3976 h 10000"/>
                <a:gd name="connsiteX257" fmla="*/ 7070 w 10000"/>
                <a:gd name="connsiteY257" fmla="*/ 4012 h 10000"/>
                <a:gd name="connsiteX258" fmla="*/ 7033 w 10000"/>
                <a:gd name="connsiteY258" fmla="*/ 4054 h 10000"/>
                <a:gd name="connsiteX259" fmla="*/ 7020 w 10000"/>
                <a:gd name="connsiteY259" fmla="*/ 4072 h 10000"/>
                <a:gd name="connsiteX260" fmla="*/ 7008 w 10000"/>
                <a:gd name="connsiteY260" fmla="*/ 4090 h 10000"/>
                <a:gd name="connsiteX261" fmla="*/ 7001 w 10000"/>
                <a:gd name="connsiteY261" fmla="*/ 4114 h 10000"/>
                <a:gd name="connsiteX262" fmla="*/ 6995 w 10000"/>
                <a:gd name="connsiteY262" fmla="*/ 4132 h 10000"/>
                <a:gd name="connsiteX263" fmla="*/ 7001 w 10000"/>
                <a:gd name="connsiteY263" fmla="*/ 4162 h 10000"/>
                <a:gd name="connsiteX264" fmla="*/ 7008 w 10000"/>
                <a:gd name="connsiteY264" fmla="*/ 4180 h 10000"/>
                <a:gd name="connsiteX265" fmla="*/ 7026 w 10000"/>
                <a:gd name="connsiteY265" fmla="*/ 4204 h 10000"/>
                <a:gd name="connsiteX266" fmla="*/ 7039 w 10000"/>
                <a:gd name="connsiteY266" fmla="*/ 4228 h 10000"/>
                <a:gd name="connsiteX267" fmla="*/ 7089 w 10000"/>
                <a:gd name="connsiteY267" fmla="*/ 4275 h 10000"/>
                <a:gd name="connsiteX268" fmla="*/ 7146 w 10000"/>
                <a:gd name="connsiteY268" fmla="*/ 4323 h 10000"/>
                <a:gd name="connsiteX269" fmla="*/ 7208 w 10000"/>
                <a:gd name="connsiteY269" fmla="*/ 4365 h 10000"/>
                <a:gd name="connsiteX270" fmla="*/ 7277 w 10000"/>
                <a:gd name="connsiteY270" fmla="*/ 4401 h 10000"/>
                <a:gd name="connsiteX271" fmla="*/ 7315 w 10000"/>
                <a:gd name="connsiteY271" fmla="*/ 4413 h 10000"/>
                <a:gd name="connsiteX272" fmla="*/ 7346 w 10000"/>
                <a:gd name="connsiteY272" fmla="*/ 4419 h 10000"/>
                <a:gd name="connsiteX273" fmla="*/ 7384 w 10000"/>
                <a:gd name="connsiteY273" fmla="*/ 4425 h 10000"/>
                <a:gd name="connsiteX274" fmla="*/ 7415 w 10000"/>
                <a:gd name="connsiteY274" fmla="*/ 4431 h 10000"/>
                <a:gd name="connsiteX275" fmla="*/ 7585 w 10000"/>
                <a:gd name="connsiteY275" fmla="*/ 5054 h 10000"/>
                <a:gd name="connsiteX276" fmla="*/ 7491 w 10000"/>
                <a:gd name="connsiteY276" fmla="*/ 5054 h 10000"/>
                <a:gd name="connsiteX277" fmla="*/ 7403 w 10000"/>
                <a:gd name="connsiteY277" fmla="*/ 5054 h 10000"/>
                <a:gd name="connsiteX278" fmla="*/ 7321 w 10000"/>
                <a:gd name="connsiteY278" fmla="*/ 5054 h 10000"/>
                <a:gd name="connsiteX279" fmla="*/ 7252 w 10000"/>
                <a:gd name="connsiteY279" fmla="*/ 5054 h 10000"/>
                <a:gd name="connsiteX280" fmla="*/ 7208 w 10000"/>
                <a:gd name="connsiteY280" fmla="*/ 5048 h 10000"/>
                <a:gd name="connsiteX281" fmla="*/ 7164 w 10000"/>
                <a:gd name="connsiteY281" fmla="*/ 5018 h 10000"/>
                <a:gd name="connsiteX282" fmla="*/ 7133 w 10000"/>
                <a:gd name="connsiteY282" fmla="*/ 5006 h 10000"/>
                <a:gd name="connsiteX283" fmla="*/ 7102 w 10000"/>
                <a:gd name="connsiteY283" fmla="*/ 4994 h 10000"/>
                <a:gd name="connsiteX284" fmla="*/ 7070 w 10000"/>
                <a:gd name="connsiteY284" fmla="*/ 4988 h 10000"/>
                <a:gd name="connsiteX285" fmla="*/ 7039 w 10000"/>
                <a:gd name="connsiteY285" fmla="*/ 4982 h 10000"/>
                <a:gd name="connsiteX286" fmla="*/ 7008 w 10000"/>
                <a:gd name="connsiteY286" fmla="*/ 4994 h 10000"/>
                <a:gd name="connsiteX287" fmla="*/ 6957 w 10000"/>
                <a:gd name="connsiteY287" fmla="*/ 5024 h 10000"/>
                <a:gd name="connsiteX288" fmla="*/ 6895 w 10000"/>
                <a:gd name="connsiteY288" fmla="*/ 5066 h 10000"/>
                <a:gd name="connsiteX289" fmla="*/ 6819 w 10000"/>
                <a:gd name="connsiteY289" fmla="*/ 5114 h 10000"/>
                <a:gd name="connsiteX290" fmla="*/ 6744 w 10000"/>
                <a:gd name="connsiteY290" fmla="*/ 5174 h 10000"/>
                <a:gd name="connsiteX291" fmla="*/ 6681 w 10000"/>
                <a:gd name="connsiteY291" fmla="*/ 5222 h 10000"/>
                <a:gd name="connsiteX292" fmla="*/ 6637 w 10000"/>
                <a:gd name="connsiteY292" fmla="*/ 5257 h 10000"/>
                <a:gd name="connsiteX293" fmla="*/ 6625 w 10000"/>
                <a:gd name="connsiteY293" fmla="*/ 5281 h 10000"/>
                <a:gd name="connsiteX294" fmla="*/ 6750 w 10000"/>
                <a:gd name="connsiteY294" fmla="*/ 5353 h 10000"/>
                <a:gd name="connsiteX295" fmla="*/ 6744 w 10000"/>
                <a:gd name="connsiteY295" fmla="*/ 5389 h 10000"/>
                <a:gd name="connsiteX296" fmla="*/ 6725 w 10000"/>
                <a:gd name="connsiteY296" fmla="*/ 5431 h 10000"/>
                <a:gd name="connsiteX297" fmla="*/ 6706 w 10000"/>
                <a:gd name="connsiteY297" fmla="*/ 5461 h 10000"/>
                <a:gd name="connsiteX298" fmla="*/ 6688 w 10000"/>
                <a:gd name="connsiteY298" fmla="*/ 5503 h 10000"/>
                <a:gd name="connsiteX299" fmla="*/ 6637 w 10000"/>
                <a:gd name="connsiteY299" fmla="*/ 5557 h 10000"/>
                <a:gd name="connsiteX300" fmla="*/ 6581 w 10000"/>
                <a:gd name="connsiteY300" fmla="*/ 5611 h 10000"/>
                <a:gd name="connsiteX301" fmla="*/ 6518 w 10000"/>
                <a:gd name="connsiteY301" fmla="*/ 5659 h 10000"/>
                <a:gd name="connsiteX302" fmla="*/ 6443 w 10000"/>
                <a:gd name="connsiteY302" fmla="*/ 5701 h 10000"/>
                <a:gd name="connsiteX303" fmla="*/ 6374 w 10000"/>
                <a:gd name="connsiteY303" fmla="*/ 5737 h 10000"/>
                <a:gd name="connsiteX304" fmla="*/ 6299 w 10000"/>
                <a:gd name="connsiteY304" fmla="*/ 5772 h 10000"/>
                <a:gd name="connsiteX305" fmla="*/ 6223 w 10000"/>
                <a:gd name="connsiteY305" fmla="*/ 5820 h 10000"/>
                <a:gd name="connsiteX306" fmla="*/ 6154 w 10000"/>
                <a:gd name="connsiteY306" fmla="*/ 5856 h 10000"/>
                <a:gd name="connsiteX307" fmla="*/ 6092 w 10000"/>
                <a:gd name="connsiteY307" fmla="*/ 5898 h 10000"/>
                <a:gd name="connsiteX308" fmla="*/ 6035 w 10000"/>
                <a:gd name="connsiteY308" fmla="*/ 5946 h 10000"/>
                <a:gd name="connsiteX309" fmla="*/ 6004 w 10000"/>
                <a:gd name="connsiteY309" fmla="*/ 5970 h 10000"/>
                <a:gd name="connsiteX310" fmla="*/ 5985 w 10000"/>
                <a:gd name="connsiteY310" fmla="*/ 5994 h 10000"/>
                <a:gd name="connsiteX311" fmla="*/ 5966 w 10000"/>
                <a:gd name="connsiteY311" fmla="*/ 6024 h 10000"/>
                <a:gd name="connsiteX312" fmla="*/ 5947 w 10000"/>
                <a:gd name="connsiteY312" fmla="*/ 6054 h 10000"/>
                <a:gd name="connsiteX313" fmla="*/ 5935 w 10000"/>
                <a:gd name="connsiteY313" fmla="*/ 6090 h 10000"/>
                <a:gd name="connsiteX314" fmla="*/ 5922 w 10000"/>
                <a:gd name="connsiteY314" fmla="*/ 6120 h 10000"/>
                <a:gd name="connsiteX315" fmla="*/ 5916 w 10000"/>
                <a:gd name="connsiteY315" fmla="*/ 6162 h 10000"/>
                <a:gd name="connsiteX316" fmla="*/ 5916 w 10000"/>
                <a:gd name="connsiteY316" fmla="*/ 6204 h 10000"/>
                <a:gd name="connsiteX317" fmla="*/ 5859 w 10000"/>
                <a:gd name="connsiteY317" fmla="*/ 6222 h 10000"/>
                <a:gd name="connsiteX318" fmla="*/ 5809 w 10000"/>
                <a:gd name="connsiteY318" fmla="*/ 6240 h 10000"/>
                <a:gd name="connsiteX319" fmla="*/ 5765 w 10000"/>
                <a:gd name="connsiteY319" fmla="*/ 6263 h 10000"/>
                <a:gd name="connsiteX320" fmla="*/ 5721 w 10000"/>
                <a:gd name="connsiteY320" fmla="*/ 6287 h 10000"/>
                <a:gd name="connsiteX321" fmla="*/ 5634 w 10000"/>
                <a:gd name="connsiteY321" fmla="*/ 6347 h 10000"/>
                <a:gd name="connsiteX322" fmla="*/ 5558 w 10000"/>
                <a:gd name="connsiteY322" fmla="*/ 6419 h 10000"/>
                <a:gd name="connsiteX323" fmla="*/ 5420 w 10000"/>
                <a:gd name="connsiteY323" fmla="*/ 6581 h 10000"/>
                <a:gd name="connsiteX324" fmla="*/ 5289 w 10000"/>
                <a:gd name="connsiteY324" fmla="*/ 6754 h 10000"/>
                <a:gd name="connsiteX325" fmla="*/ 5220 w 10000"/>
                <a:gd name="connsiteY325" fmla="*/ 6844 h 10000"/>
                <a:gd name="connsiteX326" fmla="*/ 5151 w 10000"/>
                <a:gd name="connsiteY326" fmla="*/ 6922 h 10000"/>
                <a:gd name="connsiteX327" fmla="*/ 5075 w 10000"/>
                <a:gd name="connsiteY327" fmla="*/ 6994 h 10000"/>
                <a:gd name="connsiteX328" fmla="*/ 4994 w 10000"/>
                <a:gd name="connsiteY328" fmla="*/ 7060 h 10000"/>
                <a:gd name="connsiteX329" fmla="*/ 4944 w 10000"/>
                <a:gd name="connsiteY329" fmla="*/ 7090 h 10000"/>
                <a:gd name="connsiteX330" fmla="*/ 4893 w 10000"/>
                <a:gd name="connsiteY330" fmla="*/ 7114 h 10000"/>
                <a:gd name="connsiteX331" fmla="*/ 4849 w 10000"/>
                <a:gd name="connsiteY331" fmla="*/ 7138 h 10000"/>
                <a:gd name="connsiteX332" fmla="*/ 4793 w 10000"/>
                <a:gd name="connsiteY332" fmla="*/ 7162 h 10000"/>
                <a:gd name="connsiteX333" fmla="*/ 4730 w 10000"/>
                <a:gd name="connsiteY333" fmla="*/ 7180 h 10000"/>
                <a:gd name="connsiteX334" fmla="*/ 4674 w 10000"/>
                <a:gd name="connsiteY334" fmla="*/ 7192 h 10000"/>
                <a:gd name="connsiteX335" fmla="*/ 4605 w 10000"/>
                <a:gd name="connsiteY335" fmla="*/ 7198 h 10000"/>
                <a:gd name="connsiteX336" fmla="*/ 4536 w 10000"/>
                <a:gd name="connsiteY336" fmla="*/ 7198 h 10000"/>
                <a:gd name="connsiteX337" fmla="*/ 4536 w 10000"/>
                <a:gd name="connsiteY337" fmla="*/ 7251 h 10000"/>
                <a:gd name="connsiteX338" fmla="*/ 4536 w 10000"/>
                <a:gd name="connsiteY338" fmla="*/ 7305 h 10000"/>
                <a:gd name="connsiteX339" fmla="*/ 4536 w 10000"/>
                <a:gd name="connsiteY339" fmla="*/ 7347 h 10000"/>
                <a:gd name="connsiteX340" fmla="*/ 4536 w 10000"/>
                <a:gd name="connsiteY340" fmla="*/ 7383 h 10000"/>
                <a:gd name="connsiteX341" fmla="*/ 4536 w 10000"/>
                <a:gd name="connsiteY341" fmla="*/ 7449 h 10000"/>
                <a:gd name="connsiteX342" fmla="*/ 4536 w 10000"/>
                <a:gd name="connsiteY342" fmla="*/ 7551 h 10000"/>
                <a:gd name="connsiteX343" fmla="*/ 4536 w 10000"/>
                <a:gd name="connsiteY343" fmla="*/ 7659 h 10000"/>
                <a:gd name="connsiteX344" fmla="*/ 4548 w 10000"/>
                <a:gd name="connsiteY344" fmla="*/ 7772 h 10000"/>
                <a:gd name="connsiteX345" fmla="*/ 4561 w 10000"/>
                <a:gd name="connsiteY345" fmla="*/ 7832 h 10000"/>
                <a:gd name="connsiteX346" fmla="*/ 4573 w 10000"/>
                <a:gd name="connsiteY346" fmla="*/ 7886 h 10000"/>
                <a:gd name="connsiteX347" fmla="*/ 4586 w 10000"/>
                <a:gd name="connsiteY347" fmla="*/ 7934 h 10000"/>
                <a:gd name="connsiteX348" fmla="*/ 4611 w 10000"/>
                <a:gd name="connsiteY348" fmla="*/ 7976 h 10000"/>
                <a:gd name="connsiteX349" fmla="*/ 4636 w 10000"/>
                <a:gd name="connsiteY349" fmla="*/ 8018 h 10000"/>
                <a:gd name="connsiteX350" fmla="*/ 4668 w 10000"/>
                <a:gd name="connsiteY350" fmla="*/ 8048 h 10000"/>
                <a:gd name="connsiteX351" fmla="*/ 4705 w 10000"/>
                <a:gd name="connsiteY351" fmla="*/ 8072 h 10000"/>
                <a:gd name="connsiteX352" fmla="*/ 4749 w 10000"/>
                <a:gd name="connsiteY352" fmla="*/ 8084 h 10000"/>
                <a:gd name="connsiteX353" fmla="*/ 4711 w 10000"/>
                <a:gd name="connsiteY353" fmla="*/ 8180 h 10000"/>
                <a:gd name="connsiteX354" fmla="*/ 4668 w 10000"/>
                <a:gd name="connsiteY354" fmla="*/ 8263 h 10000"/>
                <a:gd name="connsiteX355" fmla="*/ 4617 w 10000"/>
                <a:gd name="connsiteY355" fmla="*/ 8341 h 10000"/>
                <a:gd name="connsiteX356" fmla="*/ 4573 w 10000"/>
                <a:gd name="connsiteY356" fmla="*/ 8413 h 10000"/>
                <a:gd name="connsiteX357" fmla="*/ 4523 w 10000"/>
                <a:gd name="connsiteY357" fmla="*/ 8497 h 10000"/>
                <a:gd name="connsiteX358" fmla="*/ 4492 w 10000"/>
                <a:gd name="connsiteY358" fmla="*/ 8575 h 10000"/>
                <a:gd name="connsiteX359" fmla="*/ 4473 w 10000"/>
                <a:gd name="connsiteY359" fmla="*/ 8611 h 10000"/>
                <a:gd name="connsiteX360" fmla="*/ 4467 w 10000"/>
                <a:gd name="connsiteY360" fmla="*/ 8653 h 10000"/>
                <a:gd name="connsiteX361" fmla="*/ 4460 w 10000"/>
                <a:gd name="connsiteY361" fmla="*/ 8701 h 10000"/>
                <a:gd name="connsiteX362" fmla="*/ 4454 w 10000"/>
                <a:gd name="connsiteY362" fmla="*/ 8743 h 10000"/>
                <a:gd name="connsiteX363" fmla="*/ 4460 w 10000"/>
                <a:gd name="connsiteY363" fmla="*/ 8760 h 10000"/>
                <a:gd name="connsiteX364" fmla="*/ 4467 w 10000"/>
                <a:gd name="connsiteY364" fmla="*/ 8772 h 10000"/>
                <a:gd name="connsiteX365" fmla="*/ 4479 w 10000"/>
                <a:gd name="connsiteY365" fmla="*/ 8784 h 10000"/>
                <a:gd name="connsiteX366" fmla="*/ 4504 w 10000"/>
                <a:gd name="connsiteY366" fmla="*/ 8796 h 10000"/>
                <a:gd name="connsiteX367" fmla="*/ 4542 w 10000"/>
                <a:gd name="connsiteY367" fmla="*/ 8820 h 10000"/>
                <a:gd name="connsiteX368" fmla="*/ 4580 w 10000"/>
                <a:gd name="connsiteY368" fmla="*/ 8826 h 10000"/>
                <a:gd name="connsiteX369" fmla="*/ 4580 w 10000"/>
                <a:gd name="connsiteY369" fmla="*/ 9042 h 10000"/>
                <a:gd name="connsiteX370" fmla="*/ 4529 w 10000"/>
                <a:gd name="connsiteY370" fmla="*/ 9126 h 10000"/>
                <a:gd name="connsiteX371" fmla="*/ 4492 w 10000"/>
                <a:gd name="connsiteY371" fmla="*/ 9216 h 10000"/>
                <a:gd name="connsiteX372" fmla="*/ 4460 w 10000"/>
                <a:gd name="connsiteY372" fmla="*/ 9251 h 10000"/>
                <a:gd name="connsiteX373" fmla="*/ 4429 w 10000"/>
                <a:gd name="connsiteY373" fmla="*/ 9275 h 10000"/>
                <a:gd name="connsiteX374" fmla="*/ 4404 w 10000"/>
                <a:gd name="connsiteY374" fmla="*/ 9287 h 10000"/>
                <a:gd name="connsiteX375" fmla="*/ 4385 w 10000"/>
                <a:gd name="connsiteY375" fmla="*/ 9293 h 10000"/>
                <a:gd name="connsiteX376" fmla="*/ 4360 w 10000"/>
                <a:gd name="connsiteY376" fmla="*/ 9299 h 10000"/>
                <a:gd name="connsiteX377" fmla="*/ 4329 w 10000"/>
                <a:gd name="connsiteY377" fmla="*/ 9299 h 10000"/>
                <a:gd name="connsiteX378" fmla="*/ 4329 w 10000"/>
                <a:gd name="connsiteY378" fmla="*/ 9347 h 10000"/>
                <a:gd name="connsiteX379" fmla="*/ 4335 w 10000"/>
                <a:gd name="connsiteY379" fmla="*/ 9407 h 10000"/>
                <a:gd name="connsiteX380" fmla="*/ 4348 w 10000"/>
                <a:gd name="connsiteY380" fmla="*/ 9437 h 10000"/>
                <a:gd name="connsiteX381" fmla="*/ 4354 w 10000"/>
                <a:gd name="connsiteY381" fmla="*/ 9461 h 10000"/>
                <a:gd name="connsiteX382" fmla="*/ 4360 w 10000"/>
                <a:gd name="connsiteY382" fmla="*/ 9479 h 10000"/>
                <a:gd name="connsiteX383" fmla="*/ 4373 w 10000"/>
                <a:gd name="connsiteY383" fmla="*/ 9485 h 10000"/>
                <a:gd name="connsiteX384" fmla="*/ 4210 w 10000"/>
                <a:gd name="connsiteY384" fmla="*/ 9611 h 10000"/>
                <a:gd name="connsiteX385" fmla="*/ 4072 w 10000"/>
                <a:gd name="connsiteY385" fmla="*/ 9713 h 10000"/>
                <a:gd name="connsiteX386" fmla="*/ 4009 w 10000"/>
                <a:gd name="connsiteY386" fmla="*/ 9772 h 10000"/>
                <a:gd name="connsiteX387" fmla="*/ 3952 w 10000"/>
                <a:gd name="connsiteY387" fmla="*/ 9838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4 h 10000"/>
                <a:gd name="connsiteX393" fmla="*/ 3563 w 10000"/>
                <a:gd name="connsiteY393" fmla="*/ 9826 h 10000"/>
                <a:gd name="connsiteX394" fmla="*/ 3532 w 10000"/>
                <a:gd name="connsiteY394" fmla="*/ 9766 h 10000"/>
                <a:gd name="connsiteX395" fmla="*/ 3513 w 10000"/>
                <a:gd name="connsiteY395" fmla="*/ 9707 h 10000"/>
                <a:gd name="connsiteX396" fmla="*/ 3482 w 10000"/>
                <a:gd name="connsiteY396" fmla="*/ 9635 h 10000"/>
                <a:gd name="connsiteX397" fmla="*/ 3457 w 10000"/>
                <a:gd name="connsiteY397" fmla="*/ 9563 h 10000"/>
                <a:gd name="connsiteX398" fmla="*/ 3400 w 10000"/>
                <a:gd name="connsiteY398" fmla="*/ 9425 h 10000"/>
                <a:gd name="connsiteX399" fmla="*/ 3325 w 10000"/>
                <a:gd name="connsiteY399" fmla="*/ 9293 h 10000"/>
                <a:gd name="connsiteX400" fmla="*/ 3237 w 10000"/>
                <a:gd name="connsiteY400" fmla="*/ 9156 h 10000"/>
                <a:gd name="connsiteX401" fmla="*/ 3143 w 10000"/>
                <a:gd name="connsiteY401" fmla="*/ 9012 h 10000"/>
                <a:gd name="connsiteX402" fmla="*/ 3049 w 10000"/>
                <a:gd name="connsiteY402" fmla="*/ 8880 h 10000"/>
                <a:gd name="connsiteX403" fmla="*/ 2967 w 10000"/>
                <a:gd name="connsiteY403" fmla="*/ 8749 h 10000"/>
                <a:gd name="connsiteX404" fmla="*/ 2892 w 10000"/>
                <a:gd name="connsiteY404" fmla="*/ 8629 h 10000"/>
                <a:gd name="connsiteX405" fmla="*/ 2829 w 10000"/>
                <a:gd name="connsiteY405" fmla="*/ 8527 h 10000"/>
                <a:gd name="connsiteX406" fmla="*/ 2773 w 10000"/>
                <a:gd name="connsiteY406" fmla="*/ 8413 h 10000"/>
                <a:gd name="connsiteX407" fmla="*/ 2735 w 10000"/>
                <a:gd name="connsiteY407" fmla="*/ 8311 h 10000"/>
                <a:gd name="connsiteX408" fmla="*/ 2698 w 10000"/>
                <a:gd name="connsiteY408" fmla="*/ 8204 h 10000"/>
                <a:gd name="connsiteX409" fmla="*/ 2666 w 10000"/>
                <a:gd name="connsiteY409" fmla="*/ 8096 h 10000"/>
                <a:gd name="connsiteX410" fmla="*/ 2629 w 10000"/>
                <a:gd name="connsiteY410" fmla="*/ 7988 h 10000"/>
                <a:gd name="connsiteX411" fmla="*/ 2597 w 10000"/>
                <a:gd name="connsiteY411" fmla="*/ 7880 h 10000"/>
                <a:gd name="connsiteX412" fmla="*/ 2553 w 10000"/>
                <a:gd name="connsiteY412" fmla="*/ 7760 h 10000"/>
                <a:gd name="connsiteX413" fmla="*/ 2497 w 10000"/>
                <a:gd name="connsiteY413" fmla="*/ 7641 h 10000"/>
                <a:gd name="connsiteX414" fmla="*/ 2359 w 10000"/>
                <a:gd name="connsiteY414" fmla="*/ 7449 h 10000"/>
                <a:gd name="connsiteX415" fmla="*/ 2208 w 10000"/>
                <a:gd name="connsiteY415" fmla="*/ 7269 h 10000"/>
                <a:gd name="connsiteX416" fmla="*/ 2139 w 10000"/>
                <a:gd name="connsiteY416" fmla="*/ 7186 h 10000"/>
                <a:gd name="connsiteX417" fmla="*/ 2070 w 10000"/>
                <a:gd name="connsiteY417" fmla="*/ 7090 h 10000"/>
                <a:gd name="connsiteX418" fmla="*/ 2008 w 10000"/>
                <a:gd name="connsiteY418" fmla="*/ 7000 h 10000"/>
                <a:gd name="connsiteX419" fmla="*/ 1957 w 10000"/>
                <a:gd name="connsiteY419" fmla="*/ 6904 h 10000"/>
                <a:gd name="connsiteX420" fmla="*/ 1888 w 10000"/>
                <a:gd name="connsiteY420" fmla="*/ 6671 h 10000"/>
                <a:gd name="connsiteX421" fmla="*/ 1832 w 10000"/>
                <a:gd name="connsiteY421" fmla="*/ 6455 h 10000"/>
                <a:gd name="connsiteX422" fmla="*/ 1782 w 10000"/>
                <a:gd name="connsiteY422" fmla="*/ 6246 h 10000"/>
                <a:gd name="connsiteX423" fmla="*/ 1757 w 10000"/>
                <a:gd name="connsiteY423" fmla="*/ 6036 h 10000"/>
                <a:gd name="connsiteX424" fmla="*/ 1725 w 10000"/>
                <a:gd name="connsiteY424" fmla="*/ 5832 h 10000"/>
                <a:gd name="connsiteX425" fmla="*/ 1713 w 10000"/>
                <a:gd name="connsiteY425" fmla="*/ 5617 h 10000"/>
                <a:gd name="connsiteX426" fmla="*/ 1706 w 10000"/>
                <a:gd name="connsiteY426" fmla="*/ 5395 h 10000"/>
                <a:gd name="connsiteX427" fmla="*/ 1706 w 10000"/>
                <a:gd name="connsiteY427" fmla="*/ 5174 h 10000"/>
                <a:gd name="connsiteX428" fmla="*/ 1681 w 10000"/>
                <a:gd name="connsiteY428" fmla="*/ 5168 h 10000"/>
                <a:gd name="connsiteX429" fmla="*/ 1650 w 10000"/>
                <a:gd name="connsiteY429" fmla="*/ 5162 h 10000"/>
                <a:gd name="connsiteX430" fmla="*/ 1625 w 10000"/>
                <a:gd name="connsiteY430" fmla="*/ 5156 h 10000"/>
                <a:gd name="connsiteX431" fmla="*/ 1606 w 10000"/>
                <a:gd name="connsiteY431" fmla="*/ 5132 h 10000"/>
                <a:gd name="connsiteX432" fmla="*/ 1581 w 10000"/>
                <a:gd name="connsiteY432" fmla="*/ 5120 h 10000"/>
                <a:gd name="connsiteX433" fmla="*/ 1568 w 10000"/>
                <a:gd name="connsiteY433" fmla="*/ 5102 h 10000"/>
                <a:gd name="connsiteX434" fmla="*/ 1550 w 10000"/>
                <a:gd name="connsiteY434" fmla="*/ 5078 h 10000"/>
                <a:gd name="connsiteX435" fmla="*/ 1543 w 10000"/>
                <a:gd name="connsiteY435" fmla="*/ 5054 h 10000"/>
                <a:gd name="connsiteX436" fmla="*/ 1518 w 10000"/>
                <a:gd name="connsiteY436" fmla="*/ 5006 h 10000"/>
                <a:gd name="connsiteX437" fmla="*/ 1506 w 10000"/>
                <a:gd name="connsiteY437" fmla="*/ 4952 h 10000"/>
                <a:gd name="connsiteX438" fmla="*/ 1499 w 10000"/>
                <a:gd name="connsiteY438" fmla="*/ 4892 h 10000"/>
                <a:gd name="connsiteX439" fmla="*/ 1499 w 10000"/>
                <a:gd name="connsiteY439" fmla="*/ 4838 h 10000"/>
                <a:gd name="connsiteX440" fmla="*/ 1443 w 10000"/>
                <a:gd name="connsiteY440" fmla="*/ 4874 h 10000"/>
                <a:gd name="connsiteX441" fmla="*/ 1405 w 10000"/>
                <a:gd name="connsiteY441" fmla="*/ 4916 h 10000"/>
                <a:gd name="connsiteX442" fmla="*/ 1361 w 10000"/>
                <a:gd name="connsiteY442" fmla="*/ 4958 h 10000"/>
                <a:gd name="connsiteX443" fmla="*/ 1317 w 10000"/>
                <a:gd name="connsiteY443" fmla="*/ 5006 h 10000"/>
                <a:gd name="connsiteX444" fmla="*/ 1261 w 10000"/>
                <a:gd name="connsiteY444" fmla="*/ 5102 h 10000"/>
                <a:gd name="connsiteX445" fmla="*/ 1205 w 10000"/>
                <a:gd name="connsiteY445" fmla="*/ 5204 h 10000"/>
                <a:gd name="connsiteX446" fmla="*/ 1167 w 10000"/>
                <a:gd name="connsiteY446" fmla="*/ 5246 h 10000"/>
                <a:gd name="connsiteX447" fmla="*/ 1142 w 10000"/>
                <a:gd name="connsiteY447" fmla="*/ 5287 h 10000"/>
                <a:gd name="connsiteX448" fmla="*/ 1104 w 10000"/>
                <a:gd name="connsiteY448" fmla="*/ 5329 h 10000"/>
                <a:gd name="connsiteX449" fmla="*/ 1073 w 10000"/>
                <a:gd name="connsiteY449" fmla="*/ 5359 h 10000"/>
                <a:gd name="connsiteX450" fmla="*/ 1029 w 10000"/>
                <a:gd name="connsiteY450" fmla="*/ 5389 h 10000"/>
                <a:gd name="connsiteX451" fmla="*/ 985 w 10000"/>
                <a:gd name="connsiteY451" fmla="*/ 5407 h 10000"/>
                <a:gd name="connsiteX452" fmla="*/ 928 w 10000"/>
                <a:gd name="connsiteY452" fmla="*/ 5419 h 10000"/>
                <a:gd name="connsiteX453" fmla="*/ 872 w 10000"/>
                <a:gd name="connsiteY453" fmla="*/ 5425 h 10000"/>
                <a:gd name="connsiteX454" fmla="*/ 841 w 10000"/>
                <a:gd name="connsiteY454" fmla="*/ 5419 h 10000"/>
                <a:gd name="connsiteX455" fmla="*/ 797 w 10000"/>
                <a:gd name="connsiteY455" fmla="*/ 5407 h 10000"/>
                <a:gd name="connsiteX456" fmla="*/ 753 w 10000"/>
                <a:gd name="connsiteY456" fmla="*/ 5389 h 10000"/>
                <a:gd name="connsiteX457" fmla="*/ 709 w 10000"/>
                <a:gd name="connsiteY457" fmla="*/ 5359 h 10000"/>
                <a:gd name="connsiteX458" fmla="*/ 659 w 10000"/>
                <a:gd name="connsiteY458" fmla="*/ 5323 h 10000"/>
                <a:gd name="connsiteX459" fmla="*/ 609 w 10000"/>
                <a:gd name="connsiteY459" fmla="*/ 5287 h 10000"/>
                <a:gd name="connsiteX460" fmla="*/ 565 w 10000"/>
                <a:gd name="connsiteY460" fmla="*/ 5246 h 10000"/>
                <a:gd name="connsiteX461" fmla="*/ 514 w 10000"/>
                <a:gd name="connsiteY461" fmla="*/ 5198 h 10000"/>
                <a:gd name="connsiteX462" fmla="*/ 471 w 10000"/>
                <a:gd name="connsiteY462" fmla="*/ 5150 h 10000"/>
                <a:gd name="connsiteX463" fmla="*/ 433 w 10000"/>
                <a:gd name="connsiteY463" fmla="*/ 5096 h 10000"/>
                <a:gd name="connsiteX464" fmla="*/ 389 w 10000"/>
                <a:gd name="connsiteY464" fmla="*/ 5042 h 10000"/>
                <a:gd name="connsiteX465" fmla="*/ 358 w 10000"/>
                <a:gd name="connsiteY465" fmla="*/ 4988 h 10000"/>
                <a:gd name="connsiteX466" fmla="*/ 326 w 10000"/>
                <a:gd name="connsiteY466" fmla="*/ 4940 h 10000"/>
                <a:gd name="connsiteX467" fmla="*/ 307 w 10000"/>
                <a:gd name="connsiteY467" fmla="*/ 4892 h 10000"/>
                <a:gd name="connsiteX468" fmla="*/ 295 w 10000"/>
                <a:gd name="connsiteY468" fmla="*/ 4844 h 10000"/>
                <a:gd name="connsiteX469" fmla="*/ 289 w 10000"/>
                <a:gd name="connsiteY469" fmla="*/ 4796 h 10000"/>
                <a:gd name="connsiteX470" fmla="*/ 320 w 10000"/>
                <a:gd name="connsiteY470" fmla="*/ 4778 h 10000"/>
                <a:gd name="connsiteX471" fmla="*/ 395 w 10000"/>
                <a:gd name="connsiteY471" fmla="*/ 4743 h 10000"/>
                <a:gd name="connsiteX472" fmla="*/ 483 w 10000"/>
                <a:gd name="connsiteY472" fmla="*/ 4707 h 10000"/>
                <a:gd name="connsiteX473" fmla="*/ 533 w 10000"/>
                <a:gd name="connsiteY473" fmla="*/ 4689 h 10000"/>
                <a:gd name="connsiteX474" fmla="*/ 483 w 10000"/>
                <a:gd name="connsiteY474" fmla="*/ 4689 h 10000"/>
                <a:gd name="connsiteX475" fmla="*/ 420 w 10000"/>
                <a:gd name="connsiteY475" fmla="*/ 4683 h 10000"/>
                <a:gd name="connsiteX476" fmla="*/ 370 w 10000"/>
                <a:gd name="connsiteY476" fmla="*/ 4671 h 10000"/>
                <a:gd name="connsiteX477" fmla="*/ 320 w 10000"/>
                <a:gd name="connsiteY477" fmla="*/ 4665 h 10000"/>
                <a:gd name="connsiteX478" fmla="*/ 276 w 10000"/>
                <a:gd name="connsiteY478" fmla="*/ 4647 h 10000"/>
                <a:gd name="connsiteX479" fmla="*/ 232 w 10000"/>
                <a:gd name="connsiteY479" fmla="*/ 4635 h 10000"/>
                <a:gd name="connsiteX480" fmla="*/ 188 w 10000"/>
                <a:gd name="connsiteY480" fmla="*/ 4617 h 10000"/>
                <a:gd name="connsiteX481" fmla="*/ 157 w 10000"/>
                <a:gd name="connsiteY481" fmla="*/ 4593 h 10000"/>
                <a:gd name="connsiteX482" fmla="*/ 132 w 10000"/>
                <a:gd name="connsiteY482" fmla="*/ 4569 h 10000"/>
                <a:gd name="connsiteX483" fmla="*/ 100 w 10000"/>
                <a:gd name="connsiteY483" fmla="*/ 4545 h 10000"/>
                <a:gd name="connsiteX484" fmla="*/ 75 w 10000"/>
                <a:gd name="connsiteY484" fmla="*/ 4515 h 10000"/>
                <a:gd name="connsiteX485" fmla="*/ 50 w 10000"/>
                <a:gd name="connsiteY485" fmla="*/ 4491 h 10000"/>
                <a:gd name="connsiteX486" fmla="*/ 19 w 10000"/>
                <a:gd name="connsiteY486" fmla="*/ 4419 h 10000"/>
                <a:gd name="connsiteX487" fmla="*/ 0 w 10000"/>
                <a:gd name="connsiteY487" fmla="*/ 4353 h 10000"/>
                <a:gd name="connsiteX488" fmla="*/ 63 w 10000"/>
                <a:gd name="connsiteY488" fmla="*/ 4305 h 10000"/>
                <a:gd name="connsiteX489" fmla="*/ 132 w 10000"/>
                <a:gd name="connsiteY489" fmla="*/ 4269 h 10000"/>
                <a:gd name="connsiteX490" fmla="*/ 201 w 10000"/>
                <a:gd name="connsiteY490" fmla="*/ 4240 h 10000"/>
                <a:gd name="connsiteX491" fmla="*/ 276 w 10000"/>
                <a:gd name="connsiteY491" fmla="*/ 4216 h 10000"/>
                <a:gd name="connsiteX492" fmla="*/ 420 w 10000"/>
                <a:gd name="connsiteY492" fmla="*/ 4186 h 10000"/>
                <a:gd name="connsiteX493" fmla="*/ 565 w 10000"/>
                <a:gd name="connsiteY493" fmla="*/ 4162 h 10000"/>
                <a:gd name="connsiteX494" fmla="*/ 640 w 10000"/>
                <a:gd name="connsiteY494" fmla="*/ 4150 h 10000"/>
                <a:gd name="connsiteX495" fmla="*/ 709 w 10000"/>
                <a:gd name="connsiteY495" fmla="*/ 4126 h 10000"/>
                <a:gd name="connsiteX496" fmla="*/ 772 w 10000"/>
                <a:gd name="connsiteY496" fmla="*/ 4108 h 10000"/>
                <a:gd name="connsiteX497" fmla="*/ 834 w 10000"/>
                <a:gd name="connsiteY497" fmla="*/ 4078 h 10000"/>
                <a:gd name="connsiteX498" fmla="*/ 891 w 10000"/>
                <a:gd name="connsiteY498" fmla="*/ 4048 h 10000"/>
                <a:gd name="connsiteX499" fmla="*/ 947 w 10000"/>
                <a:gd name="connsiteY499" fmla="*/ 4000 h 10000"/>
                <a:gd name="connsiteX500" fmla="*/ 997 w 10000"/>
                <a:gd name="connsiteY500" fmla="*/ 3946 h 10000"/>
                <a:gd name="connsiteX501" fmla="*/ 1035 w 10000"/>
                <a:gd name="connsiteY501" fmla="*/ 3880 h 10000"/>
                <a:gd name="connsiteX502" fmla="*/ 1010 w 10000"/>
                <a:gd name="connsiteY502" fmla="*/ 3868 h 10000"/>
                <a:gd name="connsiteX503" fmla="*/ 985 w 10000"/>
                <a:gd name="connsiteY503" fmla="*/ 3850 h 10000"/>
                <a:gd name="connsiteX504" fmla="*/ 947 w 10000"/>
                <a:gd name="connsiteY504" fmla="*/ 3826 h 10000"/>
                <a:gd name="connsiteX505" fmla="*/ 910 w 10000"/>
                <a:gd name="connsiteY505" fmla="*/ 3790 h 10000"/>
                <a:gd name="connsiteX506" fmla="*/ 822 w 10000"/>
                <a:gd name="connsiteY506" fmla="*/ 3719 h 10000"/>
                <a:gd name="connsiteX507" fmla="*/ 740 w 10000"/>
                <a:gd name="connsiteY507" fmla="*/ 3635 h 10000"/>
                <a:gd name="connsiteX508" fmla="*/ 665 w 10000"/>
                <a:gd name="connsiteY508" fmla="*/ 3545 h 10000"/>
                <a:gd name="connsiteX509" fmla="*/ 596 w 10000"/>
                <a:gd name="connsiteY509" fmla="*/ 3449 h 10000"/>
                <a:gd name="connsiteX510" fmla="*/ 577 w 10000"/>
                <a:gd name="connsiteY510" fmla="*/ 3407 h 10000"/>
                <a:gd name="connsiteX511" fmla="*/ 558 w 10000"/>
                <a:gd name="connsiteY511" fmla="*/ 3365 h 10000"/>
                <a:gd name="connsiteX512" fmla="*/ 540 w 10000"/>
                <a:gd name="connsiteY512" fmla="*/ 3323 h 10000"/>
                <a:gd name="connsiteX513" fmla="*/ 533 w 10000"/>
                <a:gd name="connsiteY513" fmla="*/ 3287 h 10000"/>
                <a:gd name="connsiteX514" fmla="*/ 508 w 10000"/>
                <a:gd name="connsiteY514" fmla="*/ 3281 h 10000"/>
                <a:gd name="connsiteX515" fmla="*/ 483 w 10000"/>
                <a:gd name="connsiteY515" fmla="*/ 3275 h 10000"/>
                <a:gd name="connsiteX516" fmla="*/ 458 w 10000"/>
                <a:gd name="connsiteY516" fmla="*/ 3263 h 10000"/>
                <a:gd name="connsiteX517" fmla="*/ 439 w 10000"/>
                <a:gd name="connsiteY517" fmla="*/ 3240 h 10000"/>
                <a:gd name="connsiteX518" fmla="*/ 402 w 10000"/>
                <a:gd name="connsiteY518" fmla="*/ 3198 h 10000"/>
                <a:gd name="connsiteX519" fmla="*/ 370 w 10000"/>
                <a:gd name="connsiteY519" fmla="*/ 3138 h 10000"/>
                <a:gd name="connsiteX520" fmla="*/ 370 w 10000"/>
                <a:gd name="connsiteY520" fmla="*/ 2994 h 10000"/>
                <a:gd name="connsiteX521" fmla="*/ 458 w 10000"/>
                <a:gd name="connsiteY521" fmla="*/ 2988 h 10000"/>
                <a:gd name="connsiteX522" fmla="*/ 540 w 10000"/>
                <a:gd name="connsiteY522" fmla="*/ 2982 h 10000"/>
                <a:gd name="connsiteX523" fmla="*/ 615 w 10000"/>
                <a:gd name="connsiteY523" fmla="*/ 2970 h 10000"/>
                <a:gd name="connsiteX524" fmla="*/ 684 w 10000"/>
                <a:gd name="connsiteY524" fmla="*/ 2946 h 10000"/>
                <a:gd name="connsiteX525" fmla="*/ 747 w 10000"/>
                <a:gd name="connsiteY525" fmla="*/ 2928 h 10000"/>
                <a:gd name="connsiteX526" fmla="*/ 809 w 10000"/>
                <a:gd name="connsiteY526" fmla="*/ 2898 h 10000"/>
                <a:gd name="connsiteX527" fmla="*/ 866 w 10000"/>
                <a:gd name="connsiteY527" fmla="*/ 2868 h 10000"/>
                <a:gd name="connsiteX528" fmla="*/ 922 w 10000"/>
                <a:gd name="connsiteY528" fmla="*/ 2832 h 10000"/>
                <a:gd name="connsiteX529" fmla="*/ 966 w 10000"/>
                <a:gd name="connsiteY529" fmla="*/ 2790 h 10000"/>
                <a:gd name="connsiteX530" fmla="*/ 1016 w 10000"/>
                <a:gd name="connsiteY530" fmla="*/ 2749 h 10000"/>
                <a:gd name="connsiteX531" fmla="*/ 1060 w 10000"/>
                <a:gd name="connsiteY531" fmla="*/ 2707 h 10000"/>
                <a:gd name="connsiteX532" fmla="*/ 1098 w 10000"/>
                <a:gd name="connsiteY532" fmla="*/ 2659 h 10000"/>
                <a:gd name="connsiteX533" fmla="*/ 1167 w 10000"/>
                <a:gd name="connsiteY533" fmla="*/ 2563 h 10000"/>
                <a:gd name="connsiteX534" fmla="*/ 1236 w 10000"/>
                <a:gd name="connsiteY534" fmla="*/ 2455 h 10000"/>
                <a:gd name="connsiteX535" fmla="*/ 1355 w 10000"/>
                <a:gd name="connsiteY535" fmla="*/ 2240 h 10000"/>
                <a:gd name="connsiteX536" fmla="*/ 1474 w 10000"/>
                <a:gd name="connsiteY536" fmla="*/ 2024 h 10000"/>
                <a:gd name="connsiteX537" fmla="*/ 1543 w 10000"/>
                <a:gd name="connsiteY537" fmla="*/ 1928 h 10000"/>
                <a:gd name="connsiteX538" fmla="*/ 1612 w 10000"/>
                <a:gd name="connsiteY538" fmla="*/ 1844 h 10000"/>
                <a:gd name="connsiteX539" fmla="*/ 1650 w 10000"/>
                <a:gd name="connsiteY539" fmla="*/ 1796 h 10000"/>
                <a:gd name="connsiteX540" fmla="*/ 1694 w 10000"/>
                <a:gd name="connsiteY540" fmla="*/ 1760 h 10000"/>
                <a:gd name="connsiteX541" fmla="*/ 1738 w 10000"/>
                <a:gd name="connsiteY541" fmla="*/ 1731 h 10000"/>
                <a:gd name="connsiteX542" fmla="*/ 1788 w 10000"/>
                <a:gd name="connsiteY542" fmla="*/ 1701 h 10000"/>
                <a:gd name="connsiteX543" fmla="*/ 1750 w 10000"/>
                <a:gd name="connsiteY543" fmla="*/ 1629 h 10000"/>
                <a:gd name="connsiteX544" fmla="*/ 1719 w 10000"/>
                <a:gd name="connsiteY544" fmla="*/ 1563 h 10000"/>
                <a:gd name="connsiteX545" fmla="*/ 1713 w 10000"/>
                <a:gd name="connsiteY545" fmla="*/ 1533 h 10000"/>
                <a:gd name="connsiteX546" fmla="*/ 1706 w 10000"/>
                <a:gd name="connsiteY546" fmla="*/ 1503 h 10000"/>
                <a:gd name="connsiteX547" fmla="*/ 1706 w 10000"/>
                <a:gd name="connsiteY547" fmla="*/ 1467 h 10000"/>
                <a:gd name="connsiteX548" fmla="*/ 1706 w 10000"/>
                <a:gd name="connsiteY548" fmla="*/ 1437 h 10000"/>
                <a:gd name="connsiteX549" fmla="*/ 1713 w 10000"/>
                <a:gd name="connsiteY549" fmla="*/ 1407 h 10000"/>
                <a:gd name="connsiteX550" fmla="*/ 1719 w 10000"/>
                <a:gd name="connsiteY550" fmla="*/ 1377 h 10000"/>
                <a:gd name="connsiteX551" fmla="*/ 1731 w 10000"/>
                <a:gd name="connsiteY551" fmla="*/ 1353 h 10000"/>
                <a:gd name="connsiteX552" fmla="*/ 1757 w 10000"/>
                <a:gd name="connsiteY552" fmla="*/ 1329 h 10000"/>
                <a:gd name="connsiteX553" fmla="*/ 1775 w 10000"/>
                <a:gd name="connsiteY553" fmla="*/ 1311 h 10000"/>
                <a:gd name="connsiteX554" fmla="*/ 1801 w 10000"/>
                <a:gd name="connsiteY554" fmla="*/ 1293 h 10000"/>
                <a:gd name="connsiteX555" fmla="*/ 1838 w 10000"/>
                <a:gd name="connsiteY555" fmla="*/ 1275 h 10000"/>
                <a:gd name="connsiteX556" fmla="*/ 1870 w 10000"/>
                <a:gd name="connsiteY556" fmla="*/ 1257 h 10000"/>
                <a:gd name="connsiteX557" fmla="*/ 1688 w 10000"/>
                <a:gd name="connsiteY557" fmla="*/ 1096 h 10000"/>
                <a:gd name="connsiteX558" fmla="*/ 1550 w 10000"/>
                <a:gd name="connsiteY558" fmla="*/ 976 h 10000"/>
                <a:gd name="connsiteX559" fmla="*/ 1487 w 10000"/>
                <a:gd name="connsiteY559" fmla="*/ 916 h 10000"/>
                <a:gd name="connsiteX560" fmla="*/ 1424 w 10000"/>
                <a:gd name="connsiteY560" fmla="*/ 850 h 10000"/>
                <a:gd name="connsiteX561" fmla="*/ 1361 w 10000"/>
                <a:gd name="connsiteY561" fmla="*/ 766 h 10000"/>
                <a:gd name="connsiteX562" fmla="*/ 1286 w 10000"/>
                <a:gd name="connsiteY562" fmla="*/ 665 h 10000"/>
                <a:gd name="connsiteX563" fmla="*/ 1286 w 10000"/>
                <a:gd name="connsiteY563" fmla="*/ 407 h 10000"/>
                <a:gd name="connsiteX564" fmla="*/ 1437 w 10000"/>
                <a:gd name="connsiteY564" fmla="*/ 407 h 10000"/>
                <a:gd name="connsiteX565" fmla="*/ 1606 w 10000"/>
                <a:gd name="connsiteY565" fmla="*/ 395 h 10000"/>
                <a:gd name="connsiteX566" fmla="*/ 1694 w 10000"/>
                <a:gd name="connsiteY566" fmla="*/ 389 h 10000"/>
                <a:gd name="connsiteX567" fmla="*/ 1775 w 10000"/>
                <a:gd name="connsiteY567" fmla="*/ 377 h 10000"/>
                <a:gd name="connsiteX568" fmla="*/ 1863 w 10000"/>
                <a:gd name="connsiteY568" fmla="*/ 359 h 10000"/>
                <a:gd name="connsiteX569" fmla="*/ 1945 w 10000"/>
                <a:gd name="connsiteY569" fmla="*/ 341 h 10000"/>
                <a:gd name="connsiteX570" fmla="*/ 2020 w 10000"/>
                <a:gd name="connsiteY570" fmla="*/ 323 h 10000"/>
                <a:gd name="connsiteX571" fmla="*/ 2102 w 10000"/>
                <a:gd name="connsiteY571" fmla="*/ 293 h 10000"/>
                <a:gd name="connsiteX572" fmla="*/ 2177 w 10000"/>
                <a:gd name="connsiteY572" fmla="*/ 263 h 10000"/>
                <a:gd name="connsiteX573" fmla="*/ 2240 w 10000"/>
                <a:gd name="connsiteY573" fmla="*/ 222 h 10000"/>
                <a:gd name="connsiteX574" fmla="*/ 2296 w 10000"/>
                <a:gd name="connsiteY574" fmla="*/ 180 h 10000"/>
                <a:gd name="connsiteX575" fmla="*/ 2415 w 10000"/>
                <a:gd name="connsiteY575" fmla="*/ 17 h 10000"/>
                <a:gd name="connsiteX576" fmla="*/ 2390 w 10000"/>
                <a:gd name="connsiteY576" fmla="*/ 66 h 10000"/>
                <a:gd name="connsiteX577" fmla="*/ 2415 w 10000"/>
                <a:gd name="connsiteY577" fmla="*/ 0 h 10000"/>
                <a:gd name="connsiteX0" fmla="*/ 2415 w 10000"/>
                <a:gd name="connsiteY0" fmla="*/ 0 h 10000"/>
                <a:gd name="connsiteX1" fmla="*/ 2509 w 10000"/>
                <a:gd name="connsiteY1" fmla="*/ 96 h 10000"/>
                <a:gd name="connsiteX2" fmla="*/ 2818 w 10000"/>
                <a:gd name="connsiteY2" fmla="*/ 62 h 10000"/>
                <a:gd name="connsiteX3" fmla="*/ 2776 w 10000"/>
                <a:gd name="connsiteY3" fmla="*/ 144 h 10000"/>
                <a:gd name="connsiteX4" fmla="*/ 2817 w 10000"/>
                <a:gd name="connsiteY4" fmla="*/ 124 h 10000"/>
                <a:gd name="connsiteX5" fmla="*/ 3052 w 10000"/>
                <a:gd name="connsiteY5" fmla="*/ 159 h 10000"/>
                <a:gd name="connsiteX6" fmla="*/ 3121 w 10000"/>
                <a:gd name="connsiteY6" fmla="*/ 264 h 10000"/>
                <a:gd name="connsiteX7" fmla="*/ 3086 w 10000"/>
                <a:gd name="connsiteY7" fmla="*/ 485 h 10000"/>
                <a:gd name="connsiteX8" fmla="*/ 3152 w 10000"/>
                <a:gd name="connsiteY8" fmla="*/ 521 h 10000"/>
                <a:gd name="connsiteX9" fmla="*/ 3093 w 10000"/>
                <a:gd name="connsiteY9" fmla="*/ 551 h 10000"/>
                <a:gd name="connsiteX10" fmla="*/ 2992 w 10000"/>
                <a:gd name="connsiteY10" fmla="*/ 641 h 10000"/>
                <a:gd name="connsiteX11" fmla="*/ 3043 w 10000"/>
                <a:gd name="connsiteY11" fmla="*/ 665 h 10000"/>
                <a:gd name="connsiteX12" fmla="*/ 3087 w 10000"/>
                <a:gd name="connsiteY12" fmla="*/ 707 h 10000"/>
                <a:gd name="connsiteX13" fmla="*/ 3130 w 10000"/>
                <a:gd name="connsiteY13" fmla="*/ 754 h 10000"/>
                <a:gd name="connsiteX14" fmla="*/ 3174 w 10000"/>
                <a:gd name="connsiteY14" fmla="*/ 802 h 10000"/>
                <a:gd name="connsiteX15" fmla="*/ 3212 w 10000"/>
                <a:gd name="connsiteY15" fmla="*/ 862 h 10000"/>
                <a:gd name="connsiteX16" fmla="*/ 3256 w 10000"/>
                <a:gd name="connsiteY16" fmla="*/ 916 h 10000"/>
                <a:gd name="connsiteX17" fmla="*/ 3281 w 10000"/>
                <a:gd name="connsiteY17" fmla="*/ 976 h 10000"/>
                <a:gd name="connsiteX18" fmla="*/ 3312 w 10000"/>
                <a:gd name="connsiteY18" fmla="*/ 1042 h 10000"/>
                <a:gd name="connsiteX19" fmla="*/ 3331 w 10000"/>
                <a:gd name="connsiteY19" fmla="*/ 1108 h 10000"/>
                <a:gd name="connsiteX20" fmla="*/ 3043 w 10000"/>
                <a:gd name="connsiteY20" fmla="*/ 1108 h 10000"/>
                <a:gd name="connsiteX21" fmla="*/ 3043 w 10000"/>
                <a:gd name="connsiteY21" fmla="*/ 1293 h 10000"/>
                <a:gd name="connsiteX22" fmla="*/ 3074 w 10000"/>
                <a:gd name="connsiteY22" fmla="*/ 1371 h 10000"/>
                <a:gd name="connsiteX23" fmla="*/ 3118 w 10000"/>
                <a:gd name="connsiteY23" fmla="*/ 1437 h 10000"/>
                <a:gd name="connsiteX24" fmla="*/ 3168 w 10000"/>
                <a:gd name="connsiteY24" fmla="*/ 1497 h 10000"/>
                <a:gd name="connsiteX25" fmla="*/ 3225 w 10000"/>
                <a:gd name="connsiteY25" fmla="*/ 1539 h 10000"/>
                <a:gd name="connsiteX26" fmla="*/ 3281 w 10000"/>
                <a:gd name="connsiteY26" fmla="*/ 1581 h 10000"/>
                <a:gd name="connsiteX27" fmla="*/ 3350 w 10000"/>
                <a:gd name="connsiteY27" fmla="*/ 1611 h 10000"/>
                <a:gd name="connsiteX28" fmla="*/ 3413 w 10000"/>
                <a:gd name="connsiteY28" fmla="*/ 1641 h 10000"/>
                <a:gd name="connsiteX29" fmla="*/ 3488 w 10000"/>
                <a:gd name="connsiteY29" fmla="*/ 1665 h 10000"/>
                <a:gd name="connsiteX30" fmla="*/ 3626 w 10000"/>
                <a:gd name="connsiteY30" fmla="*/ 1719 h 10000"/>
                <a:gd name="connsiteX31" fmla="*/ 3764 w 10000"/>
                <a:gd name="connsiteY31" fmla="*/ 1772 h 10000"/>
                <a:gd name="connsiteX32" fmla="*/ 3827 w 10000"/>
                <a:gd name="connsiteY32" fmla="*/ 1808 h 10000"/>
                <a:gd name="connsiteX33" fmla="*/ 3890 w 10000"/>
                <a:gd name="connsiteY33" fmla="*/ 1856 h 10000"/>
                <a:gd name="connsiteX34" fmla="*/ 3946 w 10000"/>
                <a:gd name="connsiteY34" fmla="*/ 1904 h 10000"/>
                <a:gd name="connsiteX35" fmla="*/ 4003 w 10000"/>
                <a:gd name="connsiteY35" fmla="*/ 1958 h 10000"/>
                <a:gd name="connsiteX36" fmla="*/ 3959 w 10000"/>
                <a:gd name="connsiteY36" fmla="*/ 2515 h 10000"/>
                <a:gd name="connsiteX37" fmla="*/ 4034 w 10000"/>
                <a:gd name="connsiteY37" fmla="*/ 2569 h 10000"/>
                <a:gd name="connsiteX38" fmla="*/ 4141 w 10000"/>
                <a:gd name="connsiteY38" fmla="*/ 2635 h 10000"/>
                <a:gd name="connsiteX39" fmla="*/ 4260 w 10000"/>
                <a:gd name="connsiteY39" fmla="*/ 2695 h 10000"/>
                <a:gd name="connsiteX40" fmla="*/ 4398 w 10000"/>
                <a:gd name="connsiteY40" fmla="*/ 2749 h 10000"/>
                <a:gd name="connsiteX41" fmla="*/ 4536 w 10000"/>
                <a:gd name="connsiteY41" fmla="*/ 2802 h 10000"/>
                <a:gd name="connsiteX42" fmla="*/ 4668 w 10000"/>
                <a:gd name="connsiteY42" fmla="*/ 2844 h 10000"/>
                <a:gd name="connsiteX43" fmla="*/ 4724 w 10000"/>
                <a:gd name="connsiteY43" fmla="*/ 2862 h 10000"/>
                <a:gd name="connsiteX44" fmla="*/ 4780 w 10000"/>
                <a:gd name="connsiteY44" fmla="*/ 2874 h 10000"/>
                <a:gd name="connsiteX45" fmla="*/ 4831 w 10000"/>
                <a:gd name="connsiteY45" fmla="*/ 2880 h 10000"/>
                <a:gd name="connsiteX46" fmla="*/ 4875 w 10000"/>
                <a:gd name="connsiteY46" fmla="*/ 2880 h 10000"/>
                <a:gd name="connsiteX47" fmla="*/ 4887 w 10000"/>
                <a:gd name="connsiteY47" fmla="*/ 2922 h 10000"/>
                <a:gd name="connsiteX48" fmla="*/ 4918 w 10000"/>
                <a:gd name="connsiteY48" fmla="*/ 2958 h 10000"/>
                <a:gd name="connsiteX49" fmla="*/ 4950 w 10000"/>
                <a:gd name="connsiteY49" fmla="*/ 2976 h 10000"/>
                <a:gd name="connsiteX50" fmla="*/ 4987 w 10000"/>
                <a:gd name="connsiteY50" fmla="*/ 2988 h 10000"/>
                <a:gd name="connsiteX51" fmla="*/ 5019 w 10000"/>
                <a:gd name="connsiteY51" fmla="*/ 3000 h 10000"/>
                <a:gd name="connsiteX52" fmla="*/ 5063 w 10000"/>
                <a:gd name="connsiteY52" fmla="*/ 3000 h 10000"/>
                <a:gd name="connsiteX53" fmla="*/ 5107 w 10000"/>
                <a:gd name="connsiteY53" fmla="*/ 2994 h 10000"/>
                <a:gd name="connsiteX54" fmla="*/ 5157 w 10000"/>
                <a:gd name="connsiteY54" fmla="*/ 2988 h 10000"/>
                <a:gd name="connsiteX55" fmla="*/ 5245 w 10000"/>
                <a:gd name="connsiteY55" fmla="*/ 2970 h 10000"/>
                <a:gd name="connsiteX56" fmla="*/ 5345 w 10000"/>
                <a:gd name="connsiteY56" fmla="*/ 2946 h 10000"/>
                <a:gd name="connsiteX57" fmla="*/ 5383 w 10000"/>
                <a:gd name="connsiteY57" fmla="*/ 2946 h 10000"/>
                <a:gd name="connsiteX58" fmla="*/ 5427 w 10000"/>
                <a:gd name="connsiteY58" fmla="*/ 2940 h 10000"/>
                <a:gd name="connsiteX59" fmla="*/ 5464 w 10000"/>
                <a:gd name="connsiteY59" fmla="*/ 2946 h 10000"/>
                <a:gd name="connsiteX60" fmla="*/ 5502 w 10000"/>
                <a:gd name="connsiteY60" fmla="*/ 2952 h 10000"/>
                <a:gd name="connsiteX61" fmla="*/ 5558 w 10000"/>
                <a:gd name="connsiteY61" fmla="*/ 2988 h 10000"/>
                <a:gd name="connsiteX62" fmla="*/ 5596 w 10000"/>
                <a:gd name="connsiteY62" fmla="*/ 3018 h 10000"/>
                <a:gd name="connsiteX63" fmla="*/ 5634 w 10000"/>
                <a:gd name="connsiteY63" fmla="*/ 3060 h 10000"/>
                <a:gd name="connsiteX64" fmla="*/ 5665 w 10000"/>
                <a:gd name="connsiteY64" fmla="*/ 3096 h 10000"/>
                <a:gd name="connsiteX65" fmla="*/ 5696 w 10000"/>
                <a:gd name="connsiteY65" fmla="*/ 3132 h 10000"/>
                <a:gd name="connsiteX66" fmla="*/ 5734 w 10000"/>
                <a:gd name="connsiteY66" fmla="*/ 3168 h 10000"/>
                <a:gd name="connsiteX67" fmla="*/ 5759 w 10000"/>
                <a:gd name="connsiteY67" fmla="*/ 3186 h 10000"/>
                <a:gd name="connsiteX68" fmla="*/ 5778 w 10000"/>
                <a:gd name="connsiteY68" fmla="*/ 3198 h 10000"/>
                <a:gd name="connsiteX69" fmla="*/ 5803 w 10000"/>
                <a:gd name="connsiteY69" fmla="*/ 3210 h 10000"/>
                <a:gd name="connsiteX70" fmla="*/ 5834 w 10000"/>
                <a:gd name="connsiteY70" fmla="*/ 3216 h 10000"/>
                <a:gd name="connsiteX71" fmla="*/ 5935 w 10000"/>
                <a:gd name="connsiteY71" fmla="*/ 3234 h 10000"/>
                <a:gd name="connsiteX72" fmla="*/ 6073 w 10000"/>
                <a:gd name="connsiteY72" fmla="*/ 3269 h 10000"/>
                <a:gd name="connsiteX73" fmla="*/ 6230 w 10000"/>
                <a:gd name="connsiteY73" fmla="*/ 3305 h 10000"/>
                <a:gd name="connsiteX74" fmla="*/ 6405 w 10000"/>
                <a:gd name="connsiteY74" fmla="*/ 3347 h 10000"/>
                <a:gd name="connsiteX75" fmla="*/ 6568 w 10000"/>
                <a:gd name="connsiteY75" fmla="*/ 3377 h 10000"/>
                <a:gd name="connsiteX76" fmla="*/ 6719 w 10000"/>
                <a:gd name="connsiteY76" fmla="*/ 3401 h 10000"/>
                <a:gd name="connsiteX77" fmla="*/ 6788 w 10000"/>
                <a:gd name="connsiteY77" fmla="*/ 3407 h 10000"/>
                <a:gd name="connsiteX78" fmla="*/ 6838 w 10000"/>
                <a:gd name="connsiteY78" fmla="*/ 3413 h 10000"/>
                <a:gd name="connsiteX79" fmla="*/ 6888 w 10000"/>
                <a:gd name="connsiteY79" fmla="*/ 3407 h 10000"/>
                <a:gd name="connsiteX80" fmla="*/ 6913 w 10000"/>
                <a:gd name="connsiteY80" fmla="*/ 3395 h 10000"/>
                <a:gd name="connsiteX81" fmla="*/ 6888 w 10000"/>
                <a:gd name="connsiteY81" fmla="*/ 3353 h 10000"/>
                <a:gd name="connsiteX82" fmla="*/ 6857 w 10000"/>
                <a:gd name="connsiteY82" fmla="*/ 3305 h 10000"/>
                <a:gd name="connsiteX83" fmla="*/ 6838 w 10000"/>
                <a:gd name="connsiteY83" fmla="*/ 3257 h 10000"/>
                <a:gd name="connsiteX84" fmla="*/ 6826 w 10000"/>
                <a:gd name="connsiteY84" fmla="*/ 3204 h 10000"/>
                <a:gd name="connsiteX85" fmla="*/ 6794 w 10000"/>
                <a:gd name="connsiteY85" fmla="*/ 3114 h 10000"/>
                <a:gd name="connsiteX86" fmla="*/ 6788 w 10000"/>
                <a:gd name="connsiteY86" fmla="*/ 3066 h 10000"/>
                <a:gd name="connsiteX87" fmla="*/ 6788 w 10000"/>
                <a:gd name="connsiteY87" fmla="*/ 2880 h 10000"/>
                <a:gd name="connsiteX88" fmla="*/ 6788 w 10000"/>
                <a:gd name="connsiteY88" fmla="*/ 2695 h 10000"/>
                <a:gd name="connsiteX89" fmla="*/ 6995 w 10000"/>
                <a:gd name="connsiteY89" fmla="*/ 2695 h 10000"/>
                <a:gd name="connsiteX90" fmla="*/ 7033 w 10000"/>
                <a:gd name="connsiteY90" fmla="*/ 2760 h 10000"/>
                <a:gd name="connsiteX91" fmla="*/ 7058 w 10000"/>
                <a:gd name="connsiteY91" fmla="*/ 2802 h 10000"/>
                <a:gd name="connsiteX92" fmla="*/ 7095 w 10000"/>
                <a:gd name="connsiteY92" fmla="*/ 2838 h 10000"/>
                <a:gd name="connsiteX93" fmla="*/ 7127 w 10000"/>
                <a:gd name="connsiteY93" fmla="*/ 2880 h 10000"/>
                <a:gd name="connsiteX94" fmla="*/ 7120 w 10000"/>
                <a:gd name="connsiteY94" fmla="*/ 2976 h 10000"/>
                <a:gd name="connsiteX95" fmla="*/ 7102 w 10000"/>
                <a:gd name="connsiteY95" fmla="*/ 3036 h 10000"/>
                <a:gd name="connsiteX96" fmla="*/ 7089 w 10000"/>
                <a:gd name="connsiteY96" fmla="*/ 3084 h 10000"/>
                <a:gd name="connsiteX97" fmla="*/ 7077 w 10000"/>
                <a:gd name="connsiteY97" fmla="*/ 3138 h 10000"/>
                <a:gd name="connsiteX98" fmla="*/ 7208 w 10000"/>
                <a:gd name="connsiteY98" fmla="*/ 3174 h 10000"/>
                <a:gd name="connsiteX99" fmla="*/ 7334 w 10000"/>
                <a:gd name="connsiteY99" fmla="*/ 3210 h 10000"/>
                <a:gd name="connsiteX100" fmla="*/ 7396 w 10000"/>
                <a:gd name="connsiteY100" fmla="*/ 3228 h 10000"/>
                <a:gd name="connsiteX101" fmla="*/ 7459 w 10000"/>
                <a:gd name="connsiteY101" fmla="*/ 3240 h 10000"/>
                <a:gd name="connsiteX102" fmla="*/ 7522 w 10000"/>
                <a:gd name="connsiteY102" fmla="*/ 3246 h 10000"/>
                <a:gd name="connsiteX103" fmla="*/ 7585 w 10000"/>
                <a:gd name="connsiteY103" fmla="*/ 3251 h 10000"/>
                <a:gd name="connsiteX104" fmla="*/ 7591 w 10000"/>
                <a:gd name="connsiteY104" fmla="*/ 3275 h 10000"/>
                <a:gd name="connsiteX105" fmla="*/ 7604 w 10000"/>
                <a:gd name="connsiteY105" fmla="*/ 3299 h 10000"/>
                <a:gd name="connsiteX106" fmla="*/ 7622 w 10000"/>
                <a:gd name="connsiteY106" fmla="*/ 3317 h 10000"/>
                <a:gd name="connsiteX107" fmla="*/ 7654 w 10000"/>
                <a:gd name="connsiteY107" fmla="*/ 3335 h 10000"/>
                <a:gd name="connsiteX108" fmla="*/ 7704 w 10000"/>
                <a:gd name="connsiteY108" fmla="*/ 3353 h 10000"/>
                <a:gd name="connsiteX109" fmla="*/ 7748 w 10000"/>
                <a:gd name="connsiteY109" fmla="*/ 3359 h 10000"/>
                <a:gd name="connsiteX110" fmla="*/ 7798 w 10000"/>
                <a:gd name="connsiteY110" fmla="*/ 3359 h 10000"/>
                <a:gd name="connsiteX111" fmla="*/ 7836 w 10000"/>
                <a:gd name="connsiteY111" fmla="*/ 3347 h 10000"/>
                <a:gd name="connsiteX112" fmla="*/ 7880 w 10000"/>
                <a:gd name="connsiteY112" fmla="*/ 3329 h 10000"/>
                <a:gd name="connsiteX113" fmla="*/ 7911 w 10000"/>
                <a:gd name="connsiteY113" fmla="*/ 3311 h 10000"/>
                <a:gd name="connsiteX114" fmla="*/ 7949 w 10000"/>
                <a:gd name="connsiteY114" fmla="*/ 3287 h 10000"/>
                <a:gd name="connsiteX115" fmla="*/ 7980 w 10000"/>
                <a:gd name="connsiteY115" fmla="*/ 3257 h 10000"/>
                <a:gd name="connsiteX116" fmla="*/ 8011 w 10000"/>
                <a:gd name="connsiteY116" fmla="*/ 3228 h 10000"/>
                <a:gd name="connsiteX117" fmla="*/ 8036 w 10000"/>
                <a:gd name="connsiteY117" fmla="*/ 3198 h 10000"/>
                <a:gd name="connsiteX118" fmla="*/ 8087 w 10000"/>
                <a:gd name="connsiteY118" fmla="*/ 3120 h 10000"/>
                <a:gd name="connsiteX119" fmla="*/ 8118 w 10000"/>
                <a:gd name="connsiteY119" fmla="*/ 3048 h 10000"/>
                <a:gd name="connsiteX120" fmla="*/ 8149 w 10000"/>
                <a:gd name="connsiteY120" fmla="*/ 2982 h 10000"/>
                <a:gd name="connsiteX121" fmla="*/ 8168 w 10000"/>
                <a:gd name="connsiteY121" fmla="*/ 2916 h 10000"/>
                <a:gd name="connsiteX122" fmla="*/ 8231 w 10000"/>
                <a:gd name="connsiteY122" fmla="*/ 2850 h 10000"/>
                <a:gd name="connsiteX123" fmla="*/ 8294 w 10000"/>
                <a:gd name="connsiteY123" fmla="*/ 2784 h 10000"/>
                <a:gd name="connsiteX124" fmla="*/ 8363 w 10000"/>
                <a:gd name="connsiteY124" fmla="*/ 2731 h 10000"/>
                <a:gd name="connsiteX125" fmla="*/ 8432 w 10000"/>
                <a:gd name="connsiteY125" fmla="*/ 2671 h 10000"/>
                <a:gd name="connsiteX126" fmla="*/ 8507 w 10000"/>
                <a:gd name="connsiteY126" fmla="*/ 2623 h 10000"/>
                <a:gd name="connsiteX127" fmla="*/ 8576 w 10000"/>
                <a:gd name="connsiteY127" fmla="*/ 2575 h 10000"/>
                <a:gd name="connsiteX128" fmla="*/ 8651 w 10000"/>
                <a:gd name="connsiteY128" fmla="*/ 2533 h 10000"/>
                <a:gd name="connsiteX129" fmla="*/ 8726 w 10000"/>
                <a:gd name="connsiteY129" fmla="*/ 2491 h 10000"/>
                <a:gd name="connsiteX130" fmla="*/ 8808 w 10000"/>
                <a:gd name="connsiteY130" fmla="*/ 2449 h 10000"/>
                <a:gd name="connsiteX131" fmla="*/ 8890 w 10000"/>
                <a:gd name="connsiteY131" fmla="*/ 2413 h 10000"/>
                <a:gd name="connsiteX132" fmla="*/ 8971 w 10000"/>
                <a:gd name="connsiteY132" fmla="*/ 2383 h 10000"/>
                <a:gd name="connsiteX133" fmla="*/ 9059 w 10000"/>
                <a:gd name="connsiteY133" fmla="*/ 2353 h 10000"/>
                <a:gd name="connsiteX134" fmla="*/ 9235 w 10000"/>
                <a:gd name="connsiteY134" fmla="*/ 2299 h 10000"/>
                <a:gd name="connsiteX135" fmla="*/ 9417 w 10000"/>
                <a:gd name="connsiteY135" fmla="*/ 2257 h 10000"/>
                <a:gd name="connsiteX136" fmla="*/ 9454 w 10000"/>
                <a:gd name="connsiteY136" fmla="*/ 2305 h 10000"/>
                <a:gd name="connsiteX137" fmla="*/ 9504 w 10000"/>
                <a:gd name="connsiteY137" fmla="*/ 2365 h 10000"/>
                <a:gd name="connsiteX138" fmla="*/ 9573 w 10000"/>
                <a:gd name="connsiteY138" fmla="*/ 2431 h 10000"/>
                <a:gd name="connsiteX139" fmla="*/ 9642 w 10000"/>
                <a:gd name="connsiteY139" fmla="*/ 2503 h 10000"/>
                <a:gd name="connsiteX140" fmla="*/ 9718 w 10000"/>
                <a:gd name="connsiteY140" fmla="*/ 2563 h 10000"/>
                <a:gd name="connsiteX141" fmla="*/ 9799 w 10000"/>
                <a:gd name="connsiteY141" fmla="*/ 2611 h 10000"/>
                <a:gd name="connsiteX142" fmla="*/ 9837 w 10000"/>
                <a:gd name="connsiteY142" fmla="*/ 2635 h 10000"/>
                <a:gd name="connsiteX143" fmla="*/ 9875 w 10000"/>
                <a:gd name="connsiteY143" fmla="*/ 2647 h 10000"/>
                <a:gd name="connsiteX144" fmla="*/ 9918 w 10000"/>
                <a:gd name="connsiteY144" fmla="*/ 2659 h 10000"/>
                <a:gd name="connsiteX145" fmla="*/ 9956 w 10000"/>
                <a:gd name="connsiteY145" fmla="*/ 2659 h 10000"/>
                <a:gd name="connsiteX146" fmla="*/ 10000 w 10000"/>
                <a:gd name="connsiteY146" fmla="*/ 2587 h 10000"/>
                <a:gd name="connsiteX147" fmla="*/ 9975 w 10000"/>
                <a:gd name="connsiteY147" fmla="*/ 2713 h 10000"/>
                <a:gd name="connsiteX148" fmla="*/ 9944 w 10000"/>
                <a:gd name="connsiteY148" fmla="*/ 2856 h 10000"/>
                <a:gd name="connsiteX149" fmla="*/ 9931 w 10000"/>
                <a:gd name="connsiteY149" fmla="*/ 2922 h 10000"/>
                <a:gd name="connsiteX150" fmla="*/ 9906 w 10000"/>
                <a:gd name="connsiteY150" fmla="*/ 2982 h 10000"/>
                <a:gd name="connsiteX151" fmla="*/ 9887 w 10000"/>
                <a:gd name="connsiteY151" fmla="*/ 3006 h 10000"/>
                <a:gd name="connsiteX152" fmla="*/ 9875 w 10000"/>
                <a:gd name="connsiteY152" fmla="*/ 3030 h 10000"/>
                <a:gd name="connsiteX153" fmla="*/ 9856 w 10000"/>
                <a:gd name="connsiteY153" fmla="*/ 3048 h 10000"/>
                <a:gd name="connsiteX154" fmla="*/ 9837 w 10000"/>
                <a:gd name="connsiteY154" fmla="*/ 3066 h 10000"/>
                <a:gd name="connsiteX155" fmla="*/ 9749 w 10000"/>
                <a:gd name="connsiteY155" fmla="*/ 3084 h 10000"/>
                <a:gd name="connsiteX156" fmla="*/ 9605 w 10000"/>
                <a:gd name="connsiteY156" fmla="*/ 3132 h 10000"/>
                <a:gd name="connsiteX157" fmla="*/ 9536 w 10000"/>
                <a:gd name="connsiteY157" fmla="*/ 3174 h 10000"/>
                <a:gd name="connsiteX158" fmla="*/ 9479 w 10000"/>
                <a:gd name="connsiteY158" fmla="*/ 3210 h 10000"/>
                <a:gd name="connsiteX159" fmla="*/ 9448 w 10000"/>
                <a:gd name="connsiteY159" fmla="*/ 3228 h 10000"/>
                <a:gd name="connsiteX160" fmla="*/ 9435 w 10000"/>
                <a:gd name="connsiteY160" fmla="*/ 3246 h 10000"/>
                <a:gd name="connsiteX161" fmla="*/ 9423 w 10000"/>
                <a:gd name="connsiteY161" fmla="*/ 3269 h 10000"/>
                <a:gd name="connsiteX162" fmla="*/ 9417 w 10000"/>
                <a:gd name="connsiteY162" fmla="*/ 3287 h 10000"/>
                <a:gd name="connsiteX163" fmla="*/ 9423 w 10000"/>
                <a:gd name="connsiteY163" fmla="*/ 3497 h 10000"/>
                <a:gd name="connsiteX164" fmla="*/ 9417 w 10000"/>
                <a:gd name="connsiteY164" fmla="*/ 3737 h 10000"/>
                <a:gd name="connsiteX165" fmla="*/ 9398 w 10000"/>
                <a:gd name="connsiteY165" fmla="*/ 3796 h 10000"/>
                <a:gd name="connsiteX166" fmla="*/ 9391 w 10000"/>
                <a:gd name="connsiteY166" fmla="*/ 3862 h 10000"/>
                <a:gd name="connsiteX167" fmla="*/ 9379 w 10000"/>
                <a:gd name="connsiteY167" fmla="*/ 3916 h 10000"/>
                <a:gd name="connsiteX168" fmla="*/ 9366 w 10000"/>
                <a:gd name="connsiteY168" fmla="*/ 3970 h 10000"/>
                <a:gd name="connsiteX169" fmla="*/ 9348 w 10000"/>
                <a:gd name="connsiteY169" fmla="*/ 4018 h 10000"/>
                <a:gd name="connsiteX170" fmla="*/ 9316 w 10000"/>
                <a:gd name="connsiteY170" fmla="*/ 4066 h 10000"/>
                <a:gd name="connsiteX171" fmla="*/ 9285 w 10000"/>
                <a:gd name="connsiteY171" fmla="*/ 4102 h 10000"/>
                <a:gd name="connsiteX172" fmla="*/ 9247 w 10000"/>
                <a:gd name="connsiteY172" fmla="*/ 4132 h 10000"/>
                <a:gd name="connsiteX173" fmla="*/ 9228 w 10000"/>
                <a:gd name="connsiteY173" fmla="*/ 4150 h 10000"/>
                <a:gd name="connsiteX174" fmla="*/ 9184 w 10000"/>
                <a:gd name="connsiteY174" fmla="*/ 4156 h 10000"/>
                <a:gd name="connsiteX175" fmla="*/ 9141 w 10000"/>
                <a:gd name="connsiteY175" fmla="*/ 4162 h 10000"/>
                <a:gd name="connsiteX176" fmla="*/ 9090 w 10000"/>
                <a:gd name="connsiteY176" fmla="*/ 4168 h 10000"/>
                <a:gd name="connsiteX177" fmla="*/ 9040 w 10000"/>
                <a:gd name="connsiteY177" fmla="*/ 4174 h 10000"/>
                <a:gd name="connsiteX178" fmla="*/ 8996 w 10000"/>
                <a:gd name="connsiteY178" fmla="*/ 4192 h 10000"/>
                <a:gd name="connsiteX179" fmla="*/ 8977 w 10000"/>
                <a:gd name="connsiteY179" fmla="*/ 4198 h 10000"/>
                <a:gd name="connsiteX180" fmla="*/ 8965 w 10000"/>
                <a:gd name="connsiteY180" fmla="*/ 4216 h 10000"/>
                <a:gd name="connsiteX181" fmla="*/ 8959 w 10000"/>
                <a:gd name="connsiteY181" fmla="*/ 4228 h 10000"/>
                <a:gd name="connsiteX182" fmla="*/ 8959 w 10000"/>
                <a:gd name="connsiteY182" fmla="*/ 4246 h 10000"/>
                <a:gd name="connsiteX183" fmla="*/ 8952 w 10000"/>
                <a:gd name="connsiteY183" fmla="*/ 4317 h 10000"/>
                <a:gd name="connsiteX184" fmla="*/ 8952 w 10000"/>
                <a:gd name="connsiteY184" fmla="*/ 4401 h 10000"/>
                <a:gd name="connsiteX185" fmla="*/ 8940 w 10000"/>
                <a:gd name="connsiteY185" fmla="*/ 4491 h 10000"/>
                <a:gd name="connsiteX186" fmla="*/ 8927 w 10000"/>
                <a:gd name="connsiteY186" fmla="*/ 4575 h 10000"/>
                <a:gd name="connsiteX187" fmla="*/ 8908 w 10000"/>
                <a:gd name="connsiteY187" fmla="*/ 4659 h 10000"/>
                <a:gd name="connsiteX188" fmla="*/ 8890 w 10000"/>
                <a:gd name="connsiteY188" fmla="*/ 4737 h 10000"/>
                <a:gd name="connsiteX189" fmla="*/ 8864 w 10000"/>
                <a:gd name="connsiteY189" fmla="*/ 4808 h 10000"/>
                <a:gd name="connsiteX190" fmla="*/ 8833 w 10000"/>
                <a:gd name="connsiteY190" fmla="*/ 4874 h 10000"/>
                <a:gd name="connsiteX191" fmla="*/ 8538 w 10000"/>
                <a:gd name="connsiteY191" fmla="*/ 4389 h 10000"/>
                <a:gd name="connsiteX192" fmla="*/ 8526 w 10000"/>
                <a:gd name="connsiteY192" fmla="*/ 4413 h 10000"/>
                <a:gd name="connsiteX193" fmla="*/ 8494 w 10000"/>
                <a:gd name="connsiteY193" fmla="*/ 4467 h 10000"/>
                <a:gd name="connsiteX194" fmla="*/ 8463 w 10000"/>
                <a:gd name="connsiteY194" fmla="*/ 4497 h 10000"/>
                <a:gd name="connsiteX195" fmla="*/ 8438 w 10000"/>
                <a:gd name="connsiteY195" fmla="*/ 4521 h 10000"/>
                <a:gd name="connsiteX196" fmla="*/ 8407 w 10000"/>
                <a:gd name="connsiteY196" fmla="*/ 4539 h 10000"/>
                <a:gd name="connsiteX197" fmla="*/ 8375 w 10000"/>
                <a:gd name="connsiteY197" fmla="*/ 4545 h 10000"/>
                <a:gd name="connsiteX198" fmla="*/ 8338 w 10000"/>
                <a:gd name="connsiteY198" fmla="*/ 4539 h 10000"/>
                <a:gd name="connsiteX199" fmla="*/ 8312 w 10000"/>
                <a:gd name="connsiteY199" fmla="*/ 4533 h 10000"/>
                <a:gd name="connsiteX200" fmla="*/ 8287 w 10000"/>
                <a:gd name="connsiteY200" fmla="*/ 4515 h 10000"/>
                <a:gd name="connsiteX201" fmla="*/ 8256 w 10000"/>
                <a:gd name="connsiteY201" fmla="*/ 4497 h 10000"/>
                <a:gd name="connsiteX202" fmla="*/ 8237 w 10000"/>
                <a:gd name="connsiteY202" fmla="*/ 4467 h 10000"/>
                <a:gd name="connsiteX203" fmla="*/ 8225 w 10000"/>
                <a:gd name="connsiteY203" fmla="*/ 4443 h 10000"/>
                <a:gd name="connsiteX204" fmla="*/ 8206 w 10000"/>
                <a:gd name="connsiteY204" fmla="*/ 4419 h 10000"/>
                <a:gd name="connsiteX205" fmla="*/ 8206 w 10000"/>
                <a:gd name="connsiteY205" fmla="*/ 4389 h 10000"/>
                <a:gd name="connsiteX206" fmla="*/ 8206 w 10000"/>
                <a:gd name="connsiteY206" fmla="*/ 4353 h 10000"/>
                <a:gd name="connsiteX207" fmla="*/ 8225 w 10000"/>
                <a:gd name="connsiteY207" fmla="*/ 4317 h 10000"/>
                <a:gd name="connsiteX208" fmla="*/ 8237 w 10000"/>
                <a:gd name="connsiteY208" fmla="*/ 4281 h 10000"/>
                <a:gd name="connsiteX209" fmla="*/ 8250 w 10000"/>
                <a:gd name="connsiteY209" fmla="*/ 4246 h 10000"/>
                <a:gd name="connsiteX210" fmla="*/ 8300 w 10000"/>
                <a:gd name="connsiteY210" fmla="*/ 4180 h 10000"/>
                <a:gd name="connsiteX211" fmla="*/ 8356 w 10000"/>
                <a:gd name="connsiteY211" fmla="*/ 4114 h 10000"/>
                <a:gd name="connsiteX212" fmla="*/ 8407 w 10000"/>
                <a:gd name="connsiteY212" fmla="*/ 4054 h 10000"/>
                <a:gd name="connsiteX213" fmla="*/ 8457 w 10000"/>
                <a:gd name="connsiteY213" fmla="*/ 3988 h 10000"/>
                <a:gd name="connsiteX214" fmla="*/ 8469 w 10000"/>
                <a:gd name="connsiteY214" fmla="*/ 3952 h 10000"/>
                <a:gd name="connsiteX215" fmla="*/ 8482 w 10000"/>
                <a:gd name="connsiteY215" fmla="*/ 3922 h 10000"/>
                <a:gd name="connsiteX216" fmla="*/ 8501 w 10000"/>
                <a:gd name="connsiteY216" fmla="*/ 3880 h 10000"/>
                <a:gd name="connsiteX217" fmla="*/ 8501 w 10000"/>
                <a:gd name="connsiteY217" fmla="*/ 3844 h 10000"/>
                <a:gd name="connsiteX218" fmla="*/ 7748 w 10000"/>
                <a:gd name="connsiteY218" fmla="*/ 3844 h 10000"/>
                <a:gd name="connsiteX219" fmla="*/ 7723 w 10000"/>
                <a:gd name="connsiteY219" fmla="*/ 3838 h 10000"/>
                <a:gd name="connsiteX220" fmla="*/ 7685 w 10000"/>
                <a:gd name="connsiteY220" fmla="*/ 3820 h 10000"/>
                <a:gd name="connsiteX221" fmla="*/ 7660 w 10000"/>
                <a:gd name="connsiteY221" fmla="*/ 3784 h 10000"/>
                <a:gd name="connsiteX222" fmla="*/ 7635 w 10000"/>
                <a:gd name="connsiteY222" fmla="*/ 3749 h 10000"/>
                <a:gd name="connsiteX223" fmla="*/ 7616 w 10000"/>
                <a:gd name="connsiteY223" fmla="*/ 3701 h 10000"/>
                <a:gd name="connsiteX224" fmla="*/ 7597 w 10000"/>
                <a:gd name="connsiteY224" fmla="*/ 3653 h 10000"/>
                <a:gd name="connsiteX225" fmla="*/ 7591 w 10000"/>
                <a:gd name="connsiteY225" fmla="*/ 3599 h 10000"/>
                <a:gd name="connsiteX226" fmla="*/ 7585 w 10000"/>
                <a:gd name="connsiteY226" fmla="*/ 3545 h 10000"/>
                <a:gd name="connsiteX227" fmla="*/ 7547 w 10000"/>
                <a:gd name="connsiteY227" fmla="*/ 3545 h 10000"/>
                <a:gd name="connsiteX228" fmla="*/ 7516 w 10000"/>
                <a:gd name="connsiteY228" fmla="*/ 3539 h 10000"/>
                <a:gd name="connsiteX229" fmla="*/ 7478 w 10000"/>
                <a:gd name="connsiteY229" fmla="*/ 3533 h 10000"/>
                <a:gd name="connsiteX230" fmla="*/ 7447 w 10000"/>
                <a:gd name="connsiteY230" fmla="*/ 3521 h 10000"/>
                <a:gd name="connsiteX231" fmla="*/ 7415 w 10000"/>
                <a:gd name="connsiteY231" fmla="*/ 3503 h 10000"/>
                <a:gd name="connsiteX232" fmla="*/ 7396 w 10000"/>
                <a:gd name="connsiteY232" fmla="*/ 3485 h 10000"/>
                <a:gd name="connsiteX233" fmla="*/ 7384 w 10000"/>
                <a:gd name="connsiteY233" fmla="*/ 3455 h 10000"/>
                <a:gd name="connsiteX234" fmla="*/ 7378 w 10000"/>
                <a:gd name="connsiteY234" fmla="*/ 3431 h 10000"/>
                <a:gd name="connsiteX235" fmla="*/ 7321 w 10000"/>
                <a:gd name="connsiteY235" fmla="*/ 3431 h 10000"/>
                <a:gd name="connsiteX236" fmla="*/ 7271 w 10000"/>
                <a:gd name="connsiteY236" fmla="*/ 3431 h 10000"/>
                <a:gd name="connsiteX237" fmla="*/ 7221 w 10000"/>
                <a:gd name="connsiteY237" fmla="*/ 3431 h 10000"/>
                <a:gd name="connsiteX238" fmla="*/ 7171 w 10000"/>
                <a:gd name="connsiteY238" fmla="*/ 3431 h 10000"/>
                <a:gd name="connsiteX239" fmla="*/ 7127 w 10000"/>
                <a:gd name="connsiteY239" fmla="*/ 3437 h 10000"/>
                <a:gd name="connsiteX240" fmla="*/ 7095 w 10000"/>
                <a:gd name="connsiteY240" fmla="*/ 3443 h 10000"/>
                <a:gd name="connsiteX241" fmla="*/ 7051 w 10000"/>
                <a:gd name="connsiteY241" fmla="*/ 3461 h 10000"/>
                <a:gd name="connsiteX242" fmla="*/ 7008 w 10000"/>
                <a:gd name="connsiteY242" fmla="*/ 3485 h 10000"/>
                <a:gd name="connsiteX243" fmla="*/ 6976 w 10000"/>
                <a:gd name="connsiteY243" fmla="*/ 3515 h 10000"/>
                <a:gd name="connsiteX244" fmla="*/ 6939 w 10000"/>
                <a:gd name="connsiteY244" fmla="*/ 3545 h 10000"/>
                <a:gd name="connsiteX245" fmla="*/ 6920 w 10000"/>
                <a:gd name="connsiteY245" fmla="*/ 3581 h 10000"/>
                <a:gd name="connsiteX246" fmla="*/ 6913 w 10000"/>
                <a:gd name="connsiteY246" fmla="*/ 3617 h 10000"/>
                <a:gd name="connsiteX247" fmla="*/ 6926 w 10000"/>
                <a:gd name="connsiteY247" fmla="*/ 3641 h 10000"/>
                <a:gd name="connsiteX248" fmla="*/ 6964 w 10000"/>
                <a:gd name="connsiteY248" fmla="*/ 3671 h 10000"/>
                <a:gd name="connsiteX249" fmla="*/ 7008 w 10000"/>
                <a:gd name="connsiteY249" fmla="*/ 3707 h 10000"/>
                <a:gd name="connsiteX250" fmla="*/ 7070 w 10000"/>
                <a:gd name="connsiteY250" fmla="*/ 3743 h 10000"/>
                <a:gd name="connsiteX251" fmla="*/ 7133 w 10000"/>
                <a:gd name="connsiteY251" fmla="*/ 3778 h 10000"/>
                <a:gd name="connsiteX252" fmla="*/ 7196 w 10000"/>
                <a:gd name="connsiteY252" fmla="*/ 3808 h 10000"/>
                <a:gd name="connsiteX253" fmla="*/ 7252 w 10000"/>
                <a:gd name="connsiteY253" fmla="*/ 3832 h 10000"/>
                <a:gd name="connsiteX254" fmla="*/ 7290 w 10000"/>
                <a:gd name="connsiteY254" fmla="*/ 3844 h 10000"/>
                <a:gd name="connsiteX255" fmla="*/ 7208 w 10000"/>
                <a:gd name="connsiteY255" fmla="*/ 3904 h 10000"/>
                <a:gd name="connsiteX256" fmla="*/ 7114 w 10000"/>
                <a:gd name="connsiteY256" fmla="*/ 3976 h 10000"/>
                <a:gd name="connsiteX257" fmla="*/ 7070 w 10000"/>
                <a:gd name="connsiteY257" fmla="*/ 4012 h 10000"/>
                <a:gd name="connsiteX258" fmla="*/ 7033 w 10000"/>
                <a:gd name="connsiteY258" fmla="*/ 4054 h 10000"/>
                <a:gd name="connsiteX259" fmla="*/ 7020 w 10000"/>
                <a:gd name="connsiteY259" fmla="*/ 4072 h 10000"/>
                <a:gd name="connsiteX260" fmla="*/ 7008 w 10000"/>
                <a:gd name="connsiteY260" fmla="*/ 4090 h 10000"/>
                <a:gd name="connsiteX261" fmla="*/ 7001 w 10000"/>
                <a:gd name="connsiteY261" fmla="*/ 4114 h 10000"/>
                <a:gd name="connsiteX262" fmla="*/ 6995 w 10000"/>
                <a:gd name="connsiteY262" fmla="*/ 4132 h 10000"/>
                <a:gd name="connsiteX263" fmla="*/ 7001 w 10000"/>
                <a:gd name="connsiteY263" fmla="*/ 4162 h 10000"/>
                <a:gd name="connsiteX264" fmla="*/ 7008 w 10000"/>
                <a:gd name="connsiteY264" fmla="*/ 4180 h 10000"/>
                <a:gd name="connsiteX265" fmla="*/ 7026 w 10000"/>
                <a:gd name="connsiteY265" fmla="*/ 4204 h 10000"/>
                <a:gd name="connsiteX266" fmla="*/ 7039 w 10000"/>
                <a:gd name="connsiteY266" fmla="*/ 4228 h 10000"/>
                <a:gd name="connsiteX267" fmla="*/ 7089 w 10000"/>
                <a:gd name="connsiteY267" fmla="*/ 4275 h 10000"/>
                <a:gd name="connsiteX268" fmla="*/ 7146 w 10000"/>
                <a:gd name="connsiteY268" fmla="*/ 4323 h 10000"/>
                <a:gd name="connsiteX269" fmla="*/ 7208 w 10000"/>
                <a:gd name="connsiteY269" fmla="*/ 4365 h 10000"/>
                <a:gd name="connsiteX270" fmla="*/ 7277 w 10000"/>
                <a:gd name="connsiteY270" fmla="*/ 4401 h 10000"/>
                <a:gd name="connsiteX271" fmla="*/ 7315 w 10000"/>
                <a:gd name="connsiteY271" fmla="*/ 4413 h 10000"/>
                <a:gd name="connsiteX272" fmla="*/ 7346 w 10000"/>
                <a:gd name="connsiteY272" fmla="*/ 4419 h 10000"/>
                <a:gd name="connsiteX273" fmla="*/ 7384 w 10000"/>
                <a:gd name="connsiteY273" fmla="*/ 4425 h 10000"/>
                <a:gd name="connsiteX274" fmla="*/ 7415 w 10000"/>
                <a:gd name="connsiteY274" fmla="*/ 4431 h 10000"/>
                <a:gd name="connsiteX275" fmla="*/ 7585 w 10000"/>
                <a:gd name="connsiteY275" fmla="*/ 5054 h 10000"/>
                <a:gd name="connsiteX276" fmla="*/ 7491 w 10000"/>
                <a:gd name="connsiteY276" fmla="*/ 5054 h 10000"/>
                <a:gd name="connsiteX277" fmla="*/ 7403 w 10000"/>
                <a:gd name="connsiteY277" fmla="*/ 5054 h 10000"/>
                <a:gd name="connsiteX278" fmla="*/ 7321 w 10000"/>
                <a:gd name="connsiteY278" fmla="*/ 5054 h 10000"/>
                <a:gd name="connsiteX279" fmla="*/ 7252 w 10000"/>
                <a:gd name="connsiteY279" fmla="*/ 5054 h 10000"/>
                <a:gd name="connsiteX280" fmla="*/ 7208 w 10000"/>
                <a:gd name="connsiteY280" fmla="*/ 5048 h 10000"/>
                <a:gd name="connsiteX281" fmla="*/ 7164 w 10000"/>
                <a:gd name="connsiteY281" fmla="*/ 5018 h 10000"/>
                <a:gd name="connsiteX282" fmla="*/ 7133 w 10000"/>
                <a:gd name="connsiteY282" fmla="*/ 5006 h 10000"/>
                <a:gd name="connsiteX283" fmla="*/ 7102 w 10000"/>
                <a:gd name="connsiteY283" fmla="*/ 4994 h 10000"/>
                <a:gd name="connsiteX284" fmla="*/ 7070 w 10000"/>
                <a:gd name="connsiteY284" fmla="*/ 4988 h 10000"/>
                <a:gd name="connsiteX285" fmla="*/ 7039 w 10000"/>
                <a:gd name="connsiteY285" fmla="*/ 4982 h 10000"/>
                <a:gd name="connsiteX286" fmla="*/ 7008 w 10000"/>
                <a:gd name="connsiteY286" fmla="*/ 4994 h 10000"/>
                <a:gd name="connsiteX287" fmla="*/ 6957 w 10000"/>
                <a:gd name="connsiteY287" fmla="*/ 5024 h 10000"/>
                <a:gd name="connsiteX288" fmla="*/ 6895 w 10000"/>
                <a:gd name="connsiteY288" fmla="*/ 5066 h 10000"/>
                <a:gd name="connsiteX289" fmla="*/ 6819 w 10000"/>
                <a:gd name="connsiteY289" fmla="*/ 5114 h 10000"/>
                <a:gd name="connsiteX290" fmla="*/ 6744 w 10000"/>
                <a:gd name="connsiteY290" fmla="*/ 5174 h 10000"/>
                <a:gd name="connsiteX291" fmla="*/ 6681 w 10000"/>
                <a:gd name="connsiteY291" fmla="*/ 5222 h 10000"/>
                <a:gd name="connsiteX292" fmla="*/ 6637 w 10000"/>
                <a:gd name="connsiteY292" fmla="*/ 5257 h 10000"/>
                <a:gd name="connsiteX293" fmla="*/ 6625 w 10000"/>
                <a:gd name="connsiteY293" fmla="*/ 5281 h 10000"/>
                <a:gd name="connsiteX294" fmla="*/ 6750 w 10000"/>
                <a:gd name="connsiteY294" fmla="*/ 5353 h 10000"/>
                <a:gd name="connsiteX295" fmla="*/ 6744 w 10000"/>
                <a:gd name="connsiteY295" fmla="*/ 5389 h 10000"/>
                <a:gd name="connsiteX296" fmla="*/ 6725 w 10000"/>
                <a:gd name="connsiteY296" fmla="*/ 5431 h 10000"/>
                <a:gd name="connsiteX297" fmla="*/ 6706 w 10000"/>
                <a:gd name="connsiteY297" fmla="*/ 5461 h 10000"/>
                <a:gd name="connsiteX298" fmla="*/ 6688 w 10000"/>
                <a:gd name="connsiteY298" fmla="*/ 5503 h 10000"/>
                <a:gd name="connsiteX299" fmla="*/ 6637 w 10000"/>
                <a:gd name="connsiteY299" fmla="*/ 5557 h 10000"/>
                <a:gd name="connsiteX300" fmla="*/ 6581 w 10000"/>
                <a:gd name="connsiteY300" fmla="*/ 5611 h 10000"/>
                <a:gd name="connsiteX301" fmla="*/ 6518 w 10000"/>
                <a:gd name="connsiteY301" fmla="*/ 5659 h 10000"/>
                <a:gd name="connsiteX302" fmla="*/ 6443 w 10000"/>
                <a:gd name="connsiteY302" fmla="*/ 5701 h 10000"/>
                <a:gd name="connsiteX303" fmla="*/ 6374 w 10000"/>
                <a:gd name="connsiteY303" fmla="*/ 5737 h 10000"/>
                <a:gd name="connsiteX304" fmla="*/ 6299 w 10000"/>
                <a:gd name="connsiteY304" fmla="*/ 5772 h 10000"/>
                <a:gd name="connsiteX305" fmla="*/ 6223 w 10000"/>
                <a:gd name="connsiteY305" fmla="*/ 5820 h 10000"/>
                <a:gd name="connsiteX306" fmla="*/ 6154 w 10000"/>
                <a:gd name="connsiteY306" fmla="*/ 5856 h 10000"/>
                <a:gd name="connsiteX307" fmla="*/ 6092 w 10000"/>
                <a:gd name="connsiteY307" fmla="*/ 5898 h 10000"/>
                <a:gd name="connsiteX308" fmla="*/ 6035 w 10000"/>
                <a:gd name="connsiteY308" fmla="*/ 5946 h 10000"/>
                <a:gd name="connsiteX309" fmla="*/ 6004 w 10000"/>
                <a:gd name="connsiteY309" fmla="*/ 5970 h 10000"/>
                <a:gd name="connsiteX310" fmla="*/ 5985 w 10000"/>
                <a:gd name="connsiteY310" fmla="*/ 5994 h 10000"/>
                <a:gd name="connsiteX311" fmla="*/ 5966 w 10000"/>
                <a:gd name="connsiteY311" fmla="*/ 6024 h 10000"/>
                <a:gd name="connsiteX312" fmla="*/ 5947 w 10000"/>
                <a:gd name="connsiteY312" fmla="*/ 6054 h 10000"/>
                <a:gd name="connsiteX313" fmla="*/ 5935 w 10000"/>
                <a:gd name="connsiteY313" fmla="*/ 6090 h 10000"/>
                <a:gd name="connsiteX314" fmla="*/ 5922 w 10000"/>
                <a:gd name="connsiteY314" fmla="*/ 6120 h 10000"/>
                <a:gd name="connsiteX315" fmla="*/ 5916 w 10000"/>
                <a:gd name="connsiteY315" fmla="*/ 6162 h 10000"/>
                <a:gd name="connsiteX316" fmla="*/ 5916 w 10000"/>
                <a:gd name="connsiteY316" fmla="*/ 6204 h 10000"/>
                <a:gd name="connsiteX317" fmla="*/ 5859 w 10000"/>
                <a:gd name="connsiteY317" fmla="*/ 6222 h 10000"/>
                <a:gd name="connsiteX318" fmla="*/ 5809 w 10000"/>
                <a:gd name="connsiteY318" fmla="*/ 6240 h 10000"/>
                <a:gd name="connsiteX319" fmla="*/ 5765 w 10000"/>
                <a:gd name="connsiteY319" fmla="*/ 6263 h 10000"/>
                <a:gd name="connsiteX320" fmla="*/ 5721 w 10000"/>
                <a:gd name="connsiteY320" fmla="*/ 6287 h 10000"/>
                <a:gd name="connsiteX321" fmla="*/ 5634 w 10000"/>
                <a:gd name="connsiteY321" fmla="*/ 6347 h 10000"/>
                <a:gd name="connsiteX322" fmla="*/ 5558 w 10000"/>
                <a:gd name="connsiteY322" fmla="*/ 6419 h 10000"/>
                <a:gd name="connsiteX323" fmla="*/ 5420 w 10000"/>
                <a:gd name="connsiteY323" fmla="*/ 6581 h 10000"/>
                <a:gd name="connsiteX324" fmla="*/ 5289 w 10000"/>
                <a:gd name="connsiteY324" fmla="*/ 6754 h 10000"/>
                <a:gd name="connsiteX325" fmla="*/ 5220 w 10000"/>
                <a:gd name="connsiteY325" fmla="*/ 6844 h 10000"/>
                <a:gd name="connsiteX326" fmla="*/ 5151 w 10000"/>
                <a:gd name="connsiteY326" fmla="*/ 6922 h 10000"/>
                <a:gd name="connsiteX327" fmla="*/ 5075 w 10000"/>
                <a:gd name="connsiteY327" fmla="*/ 6994 h 10000"/>
                <a:gd name="connsiteX328" fmla="*/ 4994 w 10000"/>
                <a:gd name="connsiteY328" fmla="*/ 7060 h 10000"/>
                <a:gd name="connsiteX329" fmla="*/ 4944 w 10000"/>
                <a:gd name="connsiteY329" fmla="*/ 7090 h 10000"/>
                <a:gd name="connsiteX330" fmla="*/ 4893 w 10000"/>
                <a:gd name="connsiteY330" fmla="*/ 7114 h 10000"/>
                <a:gd name="connsiteX331" fmla="*/ 4849 w 10000"/>
                <a:gd name="connsiteY331" fmla="*/ 7138 h 10000"/>
                <a:gd name="connsiteX332" fmla="*/ 4793 w 10000"/>
                <a:gd name="connsiteY332" fmla="*/ 7162 h 10000"/>
                <a:gd name="connsiteX333" fmla="*/ 4730 w 10000"/>
                <a:gd name="connsiteY333" fmla="*/ 7180 h 10000"/>
                <a:gd name="connsiteX334" fmla="*/ 4674 w 10000"/>
                <a:gd name="connsiteY334" fmla="*/ 7192 h 10000"/>
                <a:gd name="connsiteX335" fmla="*/ 4605 w 10000"/>
                <a:gd name="connsiteY335" fmla="*/ 7198 h 10000"/>
                <a:gd name="connsiteX336" fmla="*/ 4536 w 10000"/>
                <a:gd name="connsiteY336" fmla="*/ 7198 h 10000"/>
                <a:gd name="connsiteX337" fmla="*/ 4536 w 10000"/>
                <a:gd name="connsiteY337" fmla="*/ 7251 h 10000"/>
                <a:gd name="connsiteX338" fmla="*/ 4536 w 10000"/>
                <a:gd name="connsiteY338" fmla="*/ 7305 h 10000"/>
                <a:gd name="connsiteX339" fmla="*/ 4536 w 10000"/>
                <a:gd name="connsiteY339" fmla="*/ 7347 h 10000"/>
                <a:gd name="connsiteX340" fmla="*/ 4536 w 10000"/>
                <a:gd name="connsiteY340" fmla="*/ 7383 h 10000"/>
                <a:gd name="connsiteX341" fmla="*/ 4536 w 10000"/>
                <a:gd name="connsiteY341" fmla="*/ 7449 h 10000"/>
                <a:gd name="connsiteX342" fmla="*/ 4536 w 10000"/>
                <a:gd name="connsiteY342" fmla="*/ 7551 h 10000"/>
                <a:gd name="connsiteX343" fmla="*/ 4536 w 10000"/>
                <a:gd name="connsiteY343" fmla="*/ 7659 h 10000"/>
                <a:gd name="connsiteX344" fmla="*/ 4548 w 10000"/>
                <a:gd name="connsiteY344" fmla="*/ 7772 h 10000"/>
                <a:gd name="connsiteX345" fmla="*/ 4561 w 10000"/>
                <a:gd name="connsiteY345" fmla="*/ 7832 h 10000"/>
                <a:gd name="connsiteX346" fmla="*/ 4573 w 10000"/>
                <a:gd name="connsiteY346" fmla="*/ 7886 h 10000"/>
                <a:gd name="connsiteX347" fmla="*/ 4586 w 10000"/>
                <a:gd name="connsiteY347" fmla="*/ 7934 h 10000"/>
                <a:gd name="connsiteX348" fmla="*/ 4611 w 10000"/>
                <a:gd name="connsiteY348" fmla="*/ 7976 h 10000"/>
                <a:gd name="connsiteX349" fmla="*/ 4636 w 10000"/>
                <a:gd name="connsiteY349" fmla="*/ 8018 h 10000"/>
                <a:gd name="connsiteX350" fmla="*/ 4668 w 10000"/>
                <a:gd name="connsiteY350" fmla="*/ 8048 h 10000"/>
                <a:gd name="connsiteX351" fmla="*/ 4705 w 10000"/>
                <a:gd name="connsiteY351" fmla="*/ 8072 h 10000"/>
                <a:gd name="connsiteX352" fmla="*/ 4749 w 10000"/>
                <a:gd name="connsiteY352" fmla="*/ 8084 h 10000"/>
                <a:gd name="connsiteX353" fmla="*/ 4711 w 10000"/>
                <a:gd name="connsiteY353" fmla="*/ 8180 h 10000"/>
                <a:gd name="connsiteX354" fmla="*/ 4668 w 10000"/>
                <a:gd name="connsiteY354" fmla="*/ 8263 h 10000"/>
                <a:gd name="connsiteX355" fmla="*/ 4617 w 10000"/>
                <a:gd name="connsiteY355" fmla="*/ 8341 h 10000"/>
                <a:gd name="connsiteX356" fmla="*/ 4573 w 10000"/>
                <a:gd name="connsiteY356" fmla="*/ 8413 h 10000"/>
                <a:gd name="connsiteX357" fmla="*/ 4523 w 10000"/>
                <a:gd name="connsiteY357" fmla="*/ 8497 h 10000"/>
                <a:gd name="connsiteX358" fmla="*/ 4492 w 10000"/>
                <a:gd name="connsiteY358" fmla="*/ 8575 h 10000"/>
                <a:gd name="connsiteX359" fmla="*/ 4473 w 10000"/>
                <a:gd name="connsiteY359" fmla="*/ 8611 h 10000"/>
                <a:gd name="connsiteX360" fmla="*/ 4467 w 10000"/>
                <a:gd name="connsiteY360" fmla="*/ 8653 h 10000"/>
                <a:gd name="connsiteX361" fmla="*/ 4460 w 10000"/>
                <a:gd name="connsiteY361" fmla="*/ 8701 h 10000"/>
                <a:gd name="connsiteX362" fmla="*/ 4454 w 10000"/>
                <a:gd name="connsiteY362" fmla="*/ 8743 h 10000"/>
                <a:gd name="connsiteX363" fmla="*/ 4460 w 10000"/>
                <a:gd name="connsiteY363" fmla="*/ 8760 h 10000"/>
                <a:gd name="connsiteX364" fmla="*/ 4467 w 10000"/>
                <a:gd name="connsiteY364" fmla="*/ 8772 h 10000"/>
                <a:gd name="connsiteX365" fmla="*/ 4479 w 10000"/>
                <a:gd name="connsiteY365" fmla="*/ 8784 h 10000"/>
                <a:gd name="connsiteX366" fmla="*/ 4504 w 10000"/>
                <a:gd name="connsiteY366" fmla="*/ 8796 h 10000"/>
                <a:gd name="connsiteX367" fmla="*/ 4542 w 10000"/>
                <a:gd name="connsiteY367" fmla="*/ 8820 h 10000"/>
                <a:gd name="connsiteX368" fmla="*/ 4580 w 10000"/>
                <a:gd name="connsiteY368" fmla="*/ 8826 h 10000"/>
                <a:gd name="connsiteX369" fmla="*/ 4580 w 10000"/>
                <a:gd name="connsiteY369" fmla="*/ 9042 h 10000"/>
                <a:gd name="connsiteX370" fmla="*/ 4529 w 10000"/>
                <a:gd name="connsiteY370" fmla="*/ 9126 h 10000"/>
                <a:gd name="connsiteX371" fmla="*/ 4492 w 10000"/>
                <a:gd name="connsiteY371" fmla="*/ 9216 h 10000"/>
                <a:gd name="connsiteX372" fmla="*/ 4460 w 10000"/>
                <a:gd name="connsiteY372" fmla="*/ 9251 h 10000"/>
                <a:gd name="connsiteX373" fmla="*/ 4429 w 10000"/>
                <a:gd name="connsiteY373" fmla="*/ 9275 h 10000"/>
                <a:gd name="connsiteX374" fmla="*/ 4404 w 10000"/>
                <a:gd name="connsiteY374" fmla="*/ 9287 h 10000"/>
                <a:gd name="connsiteX375" fmla="*/ 4385 w 10000"/>
                <a:gd name="connsiteY375" fmla="*/ 9293 h 10000"/>
                <a:gd name="connsiteX376" fmla="*/ 4360 w 10000"/>
                <a:gd name="connsiteY376" fmla="*/ 9299 h 10000"/>
                <a:gd name="connsiteX377" fmla="*/ 4329 w 10000"/>
                <a:gd name="connsiteY377" fmla="*/ 9299 h 10000"/>
                <a:gd name="connsiteX378" fmla="*/ 4329 w 10000"/>
                <a:gd name="connsiteY378" fmla="*/ 9347 h 10000"/>
                <a:gd name="connsiteX379" fmla="*/ 4335 w 10000"/>
                <a:gd name="connsiteY379" fmla="*/ 9407 h 10000"/>
                <a:gd name="connsiteX380" fmla="*/ 4348 w 10000"/>
                <a:gd name="connsiteY380" fmla="*/ 9437 h 10000"/>
                <a:gd name="connsiteX381" fmla="*/ 4354 w 10000"/>
                <a:gd name="connsiteY381" fmla="*/ 9461 h 10000"/>
                <a:gd name="connsiteX382" fmla="*/ 4360 w 10000"/>
                <a:gd name="connsiteY382" fmla="*/ 9479 h 10000"/>
                <a:gd name="connsiteX383" fmla="*/ 4373 w 10000"/>
                <a:gd name="connsiteY383" fmla="*/ 9485 h 10000"/>
                <a:gd name="connsiteX384" fmla="*/ 4210 w 10000"/>
                <a:gd name="connsiteY384" fmla="*/ 9611 h 10000"/>
                <a:gd name="connsiteX385" fmla="*/ 4072 w 10000"/>
                <a:gd name="connsiteY385" fmla="*/ 9713 h 10000"/>
                <a:gd name="connsiteX386" fmla="*/ 4009 w 10000"/>
                <a:gd name="connsiteY386" fmla="*/ 9772 h 10000"/>
                <a:gd name="connsiteX387" fmla="*/ 3952 w 10000"/>
                <a:gd name="connsiteY387" fmla="*/ 9838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4 h 10000"/>
                <a:gd name="connsiteX393" fmla="*/ 3563 w 10000"/>
                <a:gd name="connsiteY393" fmla="*/ 9826 h 10000"/>
                <a:gd name="connsiteX394" fmla="*/ 3532 w 10000"/>
                <a:gd name="connsiteY394" fmla="*/ 9766 h 10000"/>
                <a:gd name="connsiteX395" fmla="*/ 3513 w 10000"/>
                <a:gd name="connsiteY395" fmla="*/ 9707 h 10000"/>
                <a:gd name="connsiteX396" fmla="*/ 3482 w 10000"/>
                <a:gd name="connsiteY396" fmla="*/ 9635 h 10000"/>
                <a:gd name="connsiteX397" fmla="*/ 3457 w 10000"/>
                <a:gd name="connsiteY397" fmla="*/ 9563 h 10000"/>
                <a:gd name="connsiteX398" fmla="*/ 3400 w 10000"/>
                <a:gd name="connsiteY398" fmla="*/ 9425 h 10000"/>
                <a:gd name="connsiteX399" fmla="*/ 3325 w 10000"/>
                <a:gd name="connsiteY399" fmla="*/ 9293 h 10000"/>
                <a:gd name="connsiteX400" fmla="*/ 3237 w 10000"/>
                <a:gd name="connsiteY400" fmla="*/ 9156 h 10000"/>
                <a:gd name="connsiteX401" fmla="*/ 3143 w 10000"/>
                <a:gd name="connsiteY401" fmla="*/ 9012 h 10000"/>
                <a:gd name="connsiteX402" fmla="*/ 3049 w 10000"/>
                <a:gd name="connsiteY402" fmla="*/ 8880 h 10000"/>
                <a:gd name="connsiteX403" fmla="*/ 2967 w 10000"/>
                <a:gd name="connsiteY403" fmla="*/ 8749 h 10000"/>
                <a:gd name="connsiteX404" fmla="*/ 2892 w 10000"/>
                <a:gd name="connsiteY404" fmla="*/ 8629 h 10000"/>
                <a:gd name="connsiteX405" fmla="*/ 2829 w 10000"/>
                <a:gd name="connsiteY405" fmla="*/ 8527 h 10000"/>
                <a:gd name="connsiteX406" fmla="*/ 2773 w 10000"/>
                <a:gd name="connsiteY406" fmla="*/ 8413 h 10000"/>
                <a:gd name="connsiteX407" fmla="*/ 2735 w 10000"/>
                <a:gd name="connsiteY407" fmla="*/ 8311 h 10000"/>
                <a:gd name="connsiteX408" fmla="*/ 2698 w 10000"/>
                <a:gd name="connsiteY408" fmla="*/ 8204 h 10000"/>
                <a:gd name="connsiteX409" fmla="*/ 2666 w 10000"/>
                <a:gd name="connsiteY409" fmla="*/ 8096 h 10000"/>
                <a:gd name="connsiteX410" fmla="*/ 2629 w 10000"/>
                <a:gd name="connsiteY410" fmla="*/ 7988 h 10000"/>
                <a:gd name="connsiteX411" fmla="*/ 2597 w 10000"/>
                <a:gd name="connsiteY411" fmla="*/ 7880 h 10000"/>
                <a:gd name="connsiteX412" fmla="*/ 2553 w 10000"/>
                <a:gd name="connsiteY412" fmla="*/ 7760 h 10000"/>
                <a:gd name="connsiteX413" fmla="*/ 2497 w 10000"/>
                <a:gd name="connsiteY413" fmla="*/ 7641 h 10000"/>
                <a:gd name="connsiteX414" fmla="*/ 2359 w 10000"/>
                <a:gd name="connsiteY414" fmla="*/ 7449 h 10000"/>
                <a:gd name="connsiteX415" fmla="*/ 2208 w 10000"/>
                <a:gd name="connsiteY415" fmla="*/ 7269 h 10000"/>
                <a:gd name="connsiteX416" fmla="*/ 2139 w 10000"/>
                <a:gd name="connsiteY416" fmla="*/ 7186 h 10000"/>
                <a:gd name="connsiteX417" fmla="*/ 2070 w 10000"/>
                <a:gd name="connsiteY417" fmla="*/ 7090 h 10000"/>
                <a:gd name="connsiteX418" fmla="*/ 2008 w 10000"/>
                <a:gd name="connsiteY418" fmla="*/ 7000 h 10000"/>
                <a:gd name="connsiteX419" fmla="*/ 1957 w 10000"/>
                <a:gd name="connsiteY419" fmla="*/ 6904 h 10000"/>
                <a:gd name="connsiteX420" fmla="*/ 1888 w 10000"/>
                <a:gd name="connsiteY420" fmla="*/ 6671 h 10000"/>
                <a:gd name="connsiteX421" fmla="*/ 1832 w 10000"/>
                <a:gd name="connsiteY421" fmla="*/ 6455 h 10000"/>
                <a:gd name="connsiteX422" fmla="*/ 1782 w 10000"/>
                <a:gd name="connsiteY422" fmla="*/ 6246 h 10000"/>
                <a:gd name="connsiteX423" fmla="*/ 1757 w 10000"/>
                <a:gd name="connsiteY423" fmla="*/ 6036 h 10000"/>
                <a:gd name="connsiteX424" fmla="*/ 1725 w 10000"/>
                <a:gd name="connsiteY424" fmla="*/ 5832 h 10000"/>
                <a:gd name="connsiteX425" fmla="*/ 1713 w 10000"/>
                <a:gd name="connsiteY425" fmla="*/ 5617 h 10000"/>
                <a:gd name="connsiteX426" fmla="*/ 1706 w 10000"/>
                <a:gd name="connsiteY426" fmla="*/ 5395 h 10000"/>
                <a:gd name="connsiteX427" fmla="*/ 1706 w 10000"/>
                <a:gd name="connsiteY427" fmla="*/ 5174 h 10000"/>
                <a:gd name="connsiteX428" fmla="*/ 1681 w 10000"/>
                <a:gd name="connsiteY428" fmla="*/ 5168 h 10000"/>
                <a:gd name="connsiteX429" fmla="*/ 1650 w 10000"/>
                <a:gd name="connsiteY429" fmla="*/ 5162 h 10000"/>
                <a:gd name="connsiteX430" fmla="*/ 1625 w 10000"/>
                <a:gd name="connsiteY430" fmla="*/ 5156 h 10000"/>
                <a:gd name="connsiteX431" fmla="*/ 1606 w 10000"/>
                <a:gd name="connsiteY431" fmla="*/ 5132 h 10000"/>
                <a:gd name="connsiteX432" fmla="*/ 1581 w 10000"/>
                <a:gd name="connsiteY432" fmla="*/ 5120 h 10000"/>
                <a:gd name="connsiteX433" fmla="*/ 1568 w 10000"/>
                <a:gd name="connsiteY433" fmla="*/ 5102 h 10000"/>
                <a:gd name="connsiteX434" fmla="*/ 1550 w 10000"/>
                <a:gd name="connsiteY434" fmla="*/ 5078 h 10000"/>
                <a:gd name="connsiteX435" fmla="*/ 1543 w 10000"/>
                <a:gd name="connsiteY435" fmla="*/ 5054 h 10000"/>
                <a:gd name="connsiteX436" fmla="*/ 1518 w 10000"/>
                <a:gd name="connsiteY436" fmla="*/ 5006 h 10000"/>
                <a:gd name="connsiteX437" fmla="*/ 1506 w 10000"/>
                <a:gd name="connsiteY437" fmla="*/ 4952 h 10000"/>
                <a:gd name="connsiteX438" fmla="*/ 1499 w 10000"/>
                <a:gd name="connsiteY438" fmla="*/ 4892 h 10000"/>
                <a:gd name="connsiteX439" fmla="*/ 1499 w 10000"/>
                <a:gd name="connsiteY439" fmla="*/ 4838 h 10000"/>
                <a:gd name="connsiteX440" fmla="*/ 1443 w 10000"/>
                <a:gd name="connsiteY440" fmla="*/ 4874 h 10000"/>
                <a:gd name="connsiteX441" fmla="*/ 1405 w 10000"/>
                <a:gd name="connsiteY441" fmla="*/ 4916 h 10000"/>
                <a:gd name="connsiteX442" fmla="*/ 1361 w 10000"/>
                <a:gd name="connsiteY442" fmla="*/ 4958 h 10000"/>
                <a:gd name="connsiteX443" fmla="*/ 1317 w 10000"/>
                <a:gd name="connsiteY443" fmla="*/ 5006 h 10000"/>
                <a:gd name="connsiteX444" fmla="*/ 1261 w 10000"/>
                <a:gd name="connsiteY444" fmla="*/ 5102 h 10000"/>
                <a:gd name="connsiteX445" fmla="*/ 1205 w 10000"/>
                <a:gd name="connsiteY445" fmla="*/ 5204 h 10000"/>
                <a:gd name="connsiteX446" fmla="*/ 1167 w 10000"/>
                <a:gd name="connsiteY446" fmla="*/ 5246 h 10000"/>
                <a:gd name="connsiteX447" fmla="*/ 1142 w 10000"/>
                <a:gd name="connsiteY447" fmla="*/ 5287 h 10000"/>
                <a:gd name="connsiteX448" fmla="*/ 1104 w 10000"/>
                <a:gd name="connsiteY448" fmla="*/ 5329 h 10000"/>
                <a:gd name="connsiteX449" fmla="*/ 1073 w 10000"/>
                <a:gd name="connsiteY449" fmla="*/ 5359 h 10000"/>
                <a:gd name="connsiteX450" fmla="*/ 1029 w 10000"/>
                <a:gd name="connsiteY450" fmla="*/ 5389 h 10000"/>
                <a:gd name="connsiteX451" fmla="*/ 985 w 10000"/>
                <a:gd name="connsiteY451" fmla="*/ 5407 h 10000"/>
                <a:gd name="connsiteX452" fmla="*/ 928 w 10000"/>
                <a:gd name="connsiteY452" fmla="*/ 5419 h 10000"/>
                <a:gd name="connsiteX453" fmla="*/ 872 w 10000"/>
                <a:gd name="connsiteY453" fmla="*/ 5425 h 10000"/>
                <a:gd name="connsiteX454" fmla="*/ 841 w 10000"/>
                <a:gd name="connsiteY454" fmla="*/ 5419 h 10000"/>
                <a:gd name="connsiteX455" fmla="*/ 797 w 10000"/>
                <a:gd name="connsiteY455" fmla="*/ 5407 h 10000"/>
                <a:gd name="connsiteX456" fmla="*/ 753 w 10000"/>
                <a:gd name="connsiteY456" fmla="*/ 5389 h 10000"/>
                <a:gd name="connsiteX457" fmla="*/ 709 w 10000"/>
                <a:gd name="connsiteY457" fmla="*/ 5359 h 10000"/>
                <a:gd name="connsiteX458" fmla="*/ 659 w 10000"/>
                <a:gd name="connsiteY458" fmla="*/ 5323 h 10000"/>
                <a:gd name="connsiteX459" fmla="*/ 609 w 10000"/>
                <a:gd name="connsiteY459" fmla="*/ 5287 h 10000"/>
                <a:gd name="connsiteX460" fmla="*/ 565 w 10000"/>
                <a:gd name="connsiteY460" fmla="*/ 5246 h 10000"/>
                <a:gd name="connsiteX461" fmla="*/ 514 w 10000"/>
                <a:gd name="connsiteY461" fmla="*/ 5198 h 10000"/>
                <a:gd name="connsiteX462" fmla="*/ 471 w 10000"/>
                <a:gd name="connsiteY462" fmla="*/ 5150 h 10000"/>
                <a:gd name="connsiteX463" fmla="*/ 433 w 10000"/>
                <a:gd name="connsiteY463" fmla="*/ 5096 h 10000"/>
                <a:gd name="connsiteX464" fmla="*/ 389 w 10000"/>
                <a:gd name="connsiteY464" fmla="*/ 5042 h 10000"/>
                <a:gd name="connsiteX465" fmla="*/ 358 w 10000"/>
                <a:gd name="connsiteY465" fmla="*/ 4988 h 10000"/>
                <a:gd name="connsiteX466" fmla="*/ 326 w 10000"/>
                <a:gd name="connsiteY466" fmla="*/ 4940 h 10000"/>
                <a:gd name="connsiteX467" fmla="*/ 307 w 10000"/>
                <a:gd name="connsiteY467" fmla="*/ 4892 h 10000"/>
                <a:gd name="connsiteX468" fmla="*/ 295 w 10000"/>
                <a:gd name="connsiteY468" fmla="*/ 4844 h 10000"/>
                <a:gd name="connsiteX469" fmla="*/ 289 w 10000"/>
                <a:gd name="connsiteY469" fmla="*/ 4796 h 10000"/>
                <a:gd name="connsiteX470" fmla="*/ 320 w 10000"/>
                <a:gd name="connsiteY470" fmla="*/ 4778 h 10000"/>
                <a:gd name="connsiteX471" fmla="*/ 395 w 10000"/>
                <a:gd name="connsiteY471" fmla="*/ 4743 h 10000"/>
                <a:gd name="connsiteX472" fmla="*/ 483 w 10000"/>
                <a:gd name="connsiteY472" fmla="*/ 4707 h 10000"/>
                <a:gd name="connsiteX473" fmla="*/ 533 w 10000"/>
                <a:gd name="connsiteY473" fmla="*/ 4689 h 10000"/>
                <a:gd name="connsiteX474" fmla="*/ 483 w 10000"/>
                <a:gd name="connsiteY474" fmla="*/ 4689 h 10000"/>
                <a:gd name="connsiteX475" fmla="*/ 420 w 10000"/>
                <a:gd name="connsiteY475" fmla="*/ 4683 h 10000"/>
                <a:gd name="connsiteX476" fmla="*/ 370 w 10000"/>
                <a:gd name="connsiteY476" fmla="*/ 4671 h 10000"/>
                <a:gd name="connsiteX477" fmla="*/ 320 w 10000"/>
                <a:gd name="connsiteY477" fmla="*/ 4665 h 10000"/>
                <a:gd name="connsiteX478" fmla="*/ 276 w 10000"/>
                <a:gd name="connsiteY478" fmla="*/ 4647 h 10000"/>
                <a:gd name="connsiteX479" fmla="*/ 232 w 10000"/>
                <a:gd name="connsiteY479" fmla="*/ 4635 h 10000"/>
                <a:gd name="connsiteX480" fmla="*/ 188 w 10000"/>
                <a:gd name="connsiteY480" fmla="*/ 4617 h 10000"/>
                <a:gd name="connsiteX481" fmla="*/ 157 w 10000"/>
                <a:gd name="connsiteY481" fmla="*/ 4593 h 10000"/>
                <a:gd name="connsiteX482" fmla="*/ 132 w 10000"/>
                <a:gd name="connsiteY482" fmla="*/ 4569 h 10000"/>
                <a:gd name="connsiteX483" fmla="*/ 100 w 10000"/>
                <a:gd name="connsiteY483" fmla="*/ 4545 h 10000"/>
                <a:gd name="connsiteX484" fmla="*/ 75 w 10000"/>
                <a:gd name="connsiteY484" fmla="*/ 4515 h 10000"/>
                <a:gd name="connsiteX485" fmla="*/ 50 w 10000"/>
                <a:gd name="connsiteY485" fmla="*/ 4491 h 10000"/>
                <a:gd name="connsiteX486" fmla="*/ 19 w 10000"/>
                <a:gd name="connsiteY486" fmla="*/ 4419 h 10000"/>
                <a:gd name="connsiteX487" fmla="*/ 0 w 10000"/>
                <a:gd name="connsiteY487" fmla="*/ 4353 h 10000"/>
                <a:gd name="connsiteX488" fmla="*/ 63 w 10000"/>
                <a:gd name="connsiteY488" fmla="*/ 4305 h 10000"/>
                <a:gd name="connsiteX489" fmla="*/ 132 w 10000"/>
                <a:gd name="connsiteY489" fmla="*/ 4269 h 10000"/>
                <a:gd name="connsiteX490" fmla="*/ 201 w 10000"/>
                <a:gd name="connsiteY490" fmla="*/ 4240 h 10000"/>
                <a:gd name="connsiteX491" fmla="*/ 276 w 10000"/>
                <a:gd name="connsiteY491" fmla="*/ 4216 h 10000"/>
                <a:gd name="connsiteX492" fmla="*/ 420 w 10000"/>
                <a:gd name="connsiteY492" fmla="*/ 4186 h 10000"/>
                <a:gd name="connsiteX493" fmla="*/ 565 w 10000"/>
                <a:gd name="connsiteY493" fmla="*/ 4162 h 10000"/>
                <a:gd name="connsiteX494" fmla="*/ 640 w 10000"/>
                <a:gd name="connsiteY494" fmla="*/ 4150 h 10000"/>
                <a:gd name="connsiteX495" fmla="*/ 709 w 10000"/>
                <a:gd name="connsiteY495" fmla="*/ 4126 h 10000"/>
                <a:gd name="connsiteX496" fmla="*/ 772 w 10000"/>
                <a:gd name="connsiteY496" fmla="*/ 4108 h 10000"/>
                <a:gd name="connsiteX497" fmla="*/ 834 w 10000"/>
                <a:gd name="connsiteY497" fmla="*/ 4078 h 10000"/>
                <a:gd name="connsiteX498" fmla="*/ 891 w 10000"/>
                <a:gd name="connsiteY498" fmla="*/ 4048 h 10000"/>
                <a:gd name="connsiteX499" fmla="*/ 947 w 10000"/>
                <a:gd name="connsiteY499" fmla="*/ 4000 h 10000"/>
                <a:gd name="connsiteX500" fmla="*/ 997 w 10000"/>
                <a:gd name="connsiteY500" fmla="*/ 3946 h 10000"/>
                <a:gd name="connsiteX501" fmla="*/ 1035 w 10000"/>
                <a:gd name="connsiteY501" fmla="*/ 3880 h 10000"/>
                <a:gd name="connsiteX502" fmla="*/ 1010 w 10000"/>
                <a:gd name="connsiteY502" fmla="*/ 3868 h 10000"/>
                <a:gd name="connsiteX503" fmla="*/ 985 w 10000"/>
                <a:gd name="connsiteY503" fmla="*/ 3850 h 10000"/>
                <a:gd name="connsiteX504" fmla="*/ 947 w 10000"/>
                <a:gd name="connsiteY504" fmla="*/ 3826 h 10000"/>
                <a:gd name="connsiteX505" fmla="*/ 910 w 10000"/>
                <a:gd name="connsiteY505" fmla="*/ 3790 h 10000"/>
                <a:gd name="connsiteX506" fmla="*/ 822 w 10000"/>
                <a:gd name="connsiteY506" fmla="*/ 3719 h 10000"/>
                <a:gd name="connsiteX507" fmla="*/ 740 w 10000"/>
                <a:gd name="connsiteY507" fmla="*/ 3635 h 10000"/>
                <a:gd name="connsiteX508" fmla="*/ 665 w 10000"/>
                <a:gd name="connsiteY508" fmla="*/ 3545 h 10000"/>
                <a:gd name="connsiteX509" fmla="*/ 596 w 10000"/>
                <a:gd name="connsiteY509" fmla="*/ 3449 h 10000"/>
                <a:gd name="connsiteX510" fmla="*/ 577 w 10000"/>
                <a:gd name="connsiteY510" fmla="*/ 3407 h 10000"/>
                <a:gd name="connsiteX511" fmla="*/ 558 w 10000"/>
                <a:gd name="connsiteY511" fmla="*/ 3365 h 10000"/>
                <a:gd name="connsiteX512" fmla="*/ 540 w 10000"/>
                <a:gd name="connsiteY512" fmla="*/ 3323 h 10000"/>
                <a:gd name="connsiteX513" fmla="*/ 533 w 10000"/>
                <a:gd name="connsiteY513" fmla="*/ 3287 h 10000"/>
                <a:gd name="connsiteX514" fmla="*/ 508 w 10000"/>
                <a:gd name="connsiteY514" fmla="*/ 3281 h 10000"/>
                <a:gd name="connsiteX515" fmla="*/ 483 w 10000"/>
                <a:gd name="connsiteY515" fmla="*/ 3275 h 10000"/>
                <a:gd name="connsiteX516" fmla="*/ 458 w 10000"/>
                <a:gd name="connsiteY516" fmla="*/ 3263 h 10000"/>
                <a:gd name="connsiteX517" fmla="*/ 439 w 10000"/>
                <a:gd name="connsiteY517" fmla="*/ 3240 h 10000"/>
                <a:gd name="connsiteX518" fmla="*/ 402 w 10000"/>
                <a:gd name="connsiteY518" fmla="*/ 3198 h 10000"/>
                <a:gd name="connsiteX519" fmla="*/ 370 w 10000"/>
                <a:gd name="connsiteY519" fmla="*/ 3138 h 10000"/>
                <a:gd name="connsiteX520" fmla="*/ 370 w 10000"/>
                <a:gd name="connsiteY520" fmla="*/ 2994 h 10000"/>
                <a:gd name="connsiteX521" fmla="*/ 458 w 10000"/>
                <a:gd name="connsiteY521" fmla="*/ 2988 h 10000"/>
                <a:gd name="connsiteX522" fmla="*/ 540 w 10000"/>
                <a:gd name="connsiteY522" fmla="*/ 2982 h 10000"/>
                <a:gd name="connsiteX523" fmla="*/ 615 w 10000"/>
                <a:gd name="connsiteY523" fmla="*/ 2970 h 10000"/>
                <a:gd name="connsiteX524" fmla="*/ 684 w 10000"/>
                <a:gd name="connsiteY524" fmla="*/ 2946 h 10000"/>
                <a:gd name="connsiteX525" fmla="*/ 747 w 10000"/>
                <a:gd name="connsiteY525" fmla="*/ 2928 h 10000"/>
                <a:gd name="connsiteX526" fmla="*/ 809 w 10000"/>
                <a:gd name="connsiteY526" fmla="*/ 2898 h 10000"/>
                <a:gd name="connsiteX527" fmla="*/ 866 w 10000"/>
                <a:gd name="connsiteY527" fmla="*/ 2868 h 10000"/>
                <a:gd name="connsiteX528" fmla="*/ 922 w 10000"/>
                <a:gd name="connsiteY528" fmla="*/ 2832 h 10000"/>
                <a:gd name="connsiteX529" fmla="*/ 966 w 10000"/>
                <a:gd name="connsiteY529" fmla="*/ 2790 h 10000"/>
                <a:gd name="connsiteX530" fmla="*/ 1016 w 10000"/>
                <a:gd name="connsiteY530" fmla="*/ 2749 h 10000"/>
                <a:gd name="connsiteX531" fmla="*/ 1060 w 10000"/>
                <a:gd name="connsiteY531" fmla="*/ 2707 h 10000"/>
                <a:gd name="connsiteX532" fmla="*/ 1098 w 10000"/>
                <a:gd name="connsiteY532" fmla="*/ 2659 h 10000"/>
                <a:gd name="connsiteX533" fmla="*/ 1167 w 10000"/>
                <a:gd name="connsiteY533" fmla="*/ 2563 h 10000"/>
                <a:gd name="connsiteX534" fmla="*/ 1236 w 10000"/>
                <a:gd name="connsiteY534" fmla="*/ 2455 h 10000"/>
                <a:gd name="connsiteX535" fmla="*/ 1355 w 10000"/>
                <a:gd name="connsiteY535" fmla="*/ 2240 h 10000"/>
                <a:gd name="connsiteX536" fmla="*/ 1474 w 10000"/>
                <a:gd name="connsiteY536" fmla="*/ 2024 h 10000"/>
                <a:gd name="connsiteX537" fmla="*/ 1543 w 10000"/>
                <a:gd name="connsiteY537" fmla="*/ 1928 h 10000"/>
                <a:gd name="connsiteX538" fmla="*/ 1612 w 10000"/>
                <a:gd name="connsiteY538" fmla="*/ 1844 h 10000"/>
                <a:gd name="connsiteX539" fmla="*/ 1650 w 10000"/>
                <a:gd name="connsiteY539" fmla="*/ 1796 h 10000"/>
                <a:gd name="connsiteX540" fmla="*/ 1694 w 10000"/>
                <a:gd name="connsiteY540" fmla="*/ 1760 h 10000"/>
                <a:gd name="connsiteX541" fmla="*/ 1738 w 10000"/>
                <a:gd name="connsiteY541" fmla="*/ 1731 h 10000"/>
                <a:gd name="connsiteX542" fmla="*/ 1788 w 10000"/>
                <a:gd name="connsiteY542" fmla="*/ 1701 h 10000"/>
                <a:gd name="connsiteX543" fmla="*/ 1750 w 10000"/>
                <a:gd name="connsiteY543" fmla="*/ 1629 h 10000"/>
                <a:gd name="connsiteX544" fmla="*/ 1719 w 10000"/>
                <a:gd name="connsiteY544" fmla="*/ 1563 h 10000"/>
                <a:gd name="connsiteX545" fmla="*/ 1713 w 10000"/>
                <a:gd name="connsiteY545" fmla="*/ 1533 h 10000"/>
                <a:gd name="connsiteX546" fmla="*/ 1706 w 10000"/>
                <a:gd name="connsiteY546" fmla="*/ 1503 h 10000"/>
                <a:gd name="connsiteX547" fmla="*/ 1706 w 10000"/>
                <a:gd name="connsiteY547" fmla="*/ 1467 h 10000"/>
                <a:gd name="connsiteX548" fmla="*/ 1706 w 10000"/>
                <a:gd name="connsiteY548" fmla="*/ 1437 h 10000"/>
                <a:gd name="connsiteX549" fmla="*/ 1713 w 10000"/>
                <a:gd name="connsiteY549" fmla="*/ 1407 h 10000"/>
                <a:gd name="connsiteX550" fmla="*/ 1719 w 10000"/>
                <a:gd name="connsiteY550" fmla="*/ 1377 h 10000"/>
                <a:gd name="connsiteX551" fmla="*/ 1731 w 10000"/>
                <a:gd name="connsiteY551" fmla="*/ 1353 h 10000"/>
                <a:gd name="connsiteX552" fmla="*/ 1757 w 10000"/>
                <a:gd name="connsiteY552" fmla="*/ 1329 h 10000"/>
                <a:gd name="connsiteX553" fmla="*/ 1775 w 10000"/>
                <a:gd name="connsiteY553" fmla="*/ 1311 h 10000"/>
                <a:gd name="connsiteX554" fmla="*/ 1801 w 10000"/>
                <a:gd name="connsiteY554" fmla="*/ 1293 h 10000"/>
                <a:gd name="connsiteX555" fmla="*/ 1838 w 10000"/>
                <a:gd name="connsiteY555" fmla="*/ 1275 h 10000"/>
                <a:gd name="connsiteX556" fmla="*/ 1870 w 10000"/>
                <a:gd name="connsiteY556" fmla="*/ 1257 h 10000"/>
                <a:gd name="connsiteX557" fmla="*/ 1688 w 10000"/>
                <a:gd name="connsiteY557" fmla="*/ 1096 h 10000"/>
                <a:gd name="connsiteX558" fmla="*/ 1550 w 10000"/>
                <a:gd name="connsiteY558" fmla="*/ 976 h 10000"/>
                <a:gd name="connsiteX559" fmla="*/ 1487 w 10000"/>
                <a:gd name="connsiteY559" fmla="*/ 916 h 10000"/>
                <a:gd name="connsiteX560" fmla="*/ 1424 w 10000"/>
                <a:gd name="connsiteY560" fmla="*/ 850 h 10000"/>
                <a:gd name="connsiteX561" fmla="*/ 1361 w 10000"/>
                <a:gd name="connsiteY561" fmla="*/ 766 h 10000"/>
                <a:gd name="connsiteX562" fmla="*/ 1286 w 10000"/>
                <a:gd name="connsiteY562" fmla="*/ 665 h 10000"/>
                <a:gd name="connsiteX563" fmla="*/ 1286 w 10000"/>
                <a:gd name="connsiteY563" fmla="*/ 407 h 10000"/>
                <a:gd name="connsiteX564" fmla="*/ 1437 w 10000"/>
                <a:gd name="connsiteY564" fmla="*/ 407 h 10000"/>
                <a:gd name="connsiteX565" fmla="*/ 1606 w 10000"/>
                <a:gd name="connsiteY565" fmla="*/ 395 h 10000"/>
                <a:gd name="connsiteX566" fmla="*/ 1694 w 10000"/>
                <a:gd name="connsiteY566" fmla="*/ 389 h 10000"/>
                <a:gd name="connsiteX567" fmla="*/ 1775 w 10000"/>
                <a:gd name="connsiteY567" fmla="*/ 377 h 10000"/>
                <a:gd name="connsiteX568" fmla="*/ 1863 w 10000"/>
                <a:gd name="connsiteY568" fmla="*/ 359 h 10000"/>
                <a:gd name="connsiteX569" fmla="*/ 1945 w 10000"/>
                <a:gd name="connsiteY569" fmla="*/ 341 h 10000"/>
                <a:gd name="connsiteX570" fmla="*/ 2020 w 10000"/>
                <a:gd name="connsiteY570" fmla="*/ 323 h 10000"/>
                <a:gd name="connsiteX571" fmla="*/ 2102 w 10000"/>
                <a:gd name="connsiteY571" fmla="*/ 293 h 10000"/>
                <a:gd name="connsiteX572" fmla="*/ 2177 w 10000"/>
                <a:gd name="connsiteY572" fmla="*/ 263 h 10000"/>
                <a:gd name="connsiteX573" fmla="*/ 2240 w 10000"/>
                <a:gd name="connsiteY573" fmla="*/ 222 h 10000"/>
                <a:gd name="connsiteX574" fmla="*/ 2296 w 10000"/>
                <a:gd name="connsiteY574" fmla="*/ 180 h 10000"/>
                <a:gd name="connsiteX575" fmla="*/ 2415 w 10000"/>
                <a:gd name="connsiteY575" fmla="*/ 17 h 10000"/>
                <a:gd name="connsiteX576" fmla="*/ 2390 w 10000"/>
                <a:gd name="connsiteY576" fmla="*/ 66 h 10000"/>
                <a:gd name="connsiteX577" fmla="*/ 2415 w 10000"/>
                <a:gd name="connsiteY577" fmla="*/ 0 h 10000"/>
                <a:gd name="connsiteX0" fmla="*/ 2415 w 10000"/>
                <a:gd name="connsiteY0" fmla="*/ 0 h 10000"/>
                <a:gd name="connsiteX1" fmla="*/ 2509 w 10000"/>
                <a:gd name="connsiteY1" fmla="*/ 96 h 10000"/>
                <a:gd name="connsiteX2" fmla="*/ 2818 w 10000"/>
                <a:gd name="connsiteY2" fmla="*/ 62 h 10000"/>
                <a:gd name="connsiteX3" fmla="*/ 2776 w 10000"/>
                <a:gd name="connsiteY3" fmla="*/ 144 h 10000"/>
                <a:gd name="connsiteX4" fmla="*/ 2817 w 10000"/>
                <a:gd name="connsiteY4" fmla="*/ 124 h 10000"/>
                <a:gd name="connsiteX5" fmla="*/ 3052 w 10000"/>
                <a:gd name="connsiteY5" fmla="*/ 159 h 10000"/>
                <a:gd name="connsiteX6" fmla="*/ 3121 w 10000"/>
                <a:gd name="connsiteY6" fmla="*/ 264 h 10000"/>
                <a:gd name="connsiteX7" fmla="*/ 3086 w 10000"/>
                <a:gd name="connsiteY7" fmla="*/ 485 h 10000"/>
                <a:gd name="connsiteX8" fmla="*/ 3152 w 10000"/>
                <a:gd name="connsiteY8" fmla="*/ 521 h 10000"/>
                <a:gd name="connsiteX9" fmla="*/ 3093 w 10000"/>
                <a:gd name="connsiteY9" fmla="*/ 551 h 10000"/>
                <a:gd name="connsiteX10" fmla="*/ 2992 w 10000"/>
                <a:gd name="connsiteY10" fmla="*/ 641 h 10000"/>
                <a:gd name="connsiteX11" fmla="*/ 3043 w 10000"/>
                <a:gd name="connsiteY11" fmla="*/ 665 h 10000"/>
                <a:gd name="connsiteX12" fmla="*/ 3087 w 10000"/>
                <a:gd name="connsiteY12" fmla="*/ 707 h 10000"/>
                <a:gd name="connsiteX13" fmla="*/ 3130 w 10000"/>
                <a:gd name="connsiteY13" fmla="*/ 754 h 10000"/>
                <a:gd name="connsiteX14" fmla="*/ 3174 w 10000"/>
                <a:gd name="connsiteY14" fmla="*/ 802 h 10000"/>
                <a:gd name="connsiteX15" fmla="*/ 3212 w 10000"/>
                <a:gd name="connsiteY15" fmla="*/ 862 h 10000"/>
                <a:gd name="connsiteX16" fmla="*/ 3256 w 10000"/>
                <a:gd name="connsiteY16" fmla="*/ 916 h 10000"/>
                <a:gd name="connsiteX17" fmla="*/ 3281 w 10000"/>
                <a:gd name="connsiteY17" fmla="*/ 976 h 10000"/>
                <a:gd name="connsiteX18" fmla="*/ 3312 w 10000"/>
                <a:gd name="connsiteY18" fmla="*/ 1042 h 10000"/>
                <a:gd name="connsiteX19" fmla="*/ 3331 w 10000"/>
                <a:gd name="connsiteY19" fmla="*/ 1108 h 10000"/>
                <a:gd name="connsiteX20" fmla="*/ 3043 w 10000"/>
                <a:gd name="connsiteY20" fmla="*/ 1108 h 10000"/>
                <a:gd name="connsiteX21" fmla="*/ 3043 w 10000"/>
                <a:gd name="connsiteY21" fmla="*/ 1293 h 10000"/>
                <a:gd name="connsiteX22" fmla="*/ 3074 w 10000"/>
                <a:gd name="connsiteY22" fmla="*/ 1371 h 10000"/>
                <a:gd name="connsiteX23" fmla="*/ 3118 w 10000"/>
                <a:gd name="connsiteY23" fmla="*/ 1437 h 10000"/>
                <a:gd name="connsiteX24" fmla="*/ 3168 w 10000"/>
                <a:gd name="connsiteY24" fmla="*/ 1497 h 10000"/>
                <a:gd name="connsiteX25" fmla="*/ 3225 w 10000"/>
                <a:gd name="connsiteY25" fmla="*/ 1539 h 10000"/>
                <a:gd name="connsiteX26" fmla="*/ 3281 w 10000"/>
                <a:gd name="connsiteY26" fmla="*/ 1581 h 10000"/>
                <a:gd name="connsiteX27" fmla="*/ 3350 w 10000"/>
                <a:gd name="connsiteY27" fmla="*/ 1611 h 10000"/>
                <a:gd name="connsiteX28" fmla="*/ 3413 w 10000"/>
                <a:gd name="connsiteY28" fmla="*/ 1641 h 10000"/>
                <a:gd name="connsiteX29" fmla="*/ 3488 w 10000"/>
                <a:gd name="connsiteY29" fmla="*/ 1665 h 10000"/>
                <a:gd name="connsiteX30" fmla="*/ 3626 w 10000"/>
                <a:gd name="connsiteY30" fmla="*/ 1719 h 10000"/>
                <a:gd name="connsiteX31" fmla="*/ 3764 w 10000"/>
                <a:gd name="connsiteY31" fmla="*/ 1772 h 10000"/>
                <a:gd name="connsiteX32" fmla="*/ 3827 w 10000"/>
                <a:gd name="connsiteY32" fmla="*/ 1808 h 10000"/>
                <a:gd name="connsiteX33" fmla="*/ 3890 w 10000"/>
                <a:gd name="connsiteY33" fmla="*/ 1856 h 10000"/>
                <a:gd name="connsiteX34" fmla="*/ 3946 w 10000"/>
                <a:gd name="connsiteY34" fmla="*/ 1904 h 10000"/>
                <a:gd name="connsiteX35" fmla="*/ 4003 w 10000"/>
                <a:gd name="connsiteY35" fmla="*/ 1958 h 10000"/>
                <a:gd name="connsiteX36" fmla="*/ 3959 w 10000"/>
                <a:gd name="connsiteY36" fmla="*/ 2515 h 10000"/>
                <a:gd name="connsiteX37" fmla="*/ 4034 w 10000"/>
                <a:gd name="connsiteY37" fmla="*/ 2569 h 10000"/>
                <a:gd name="connsiteX38" fmla="*/ 4141 w 10000"/>
                <a:gd name="connsiteY38" fmla="*/ 2635 h 10000"/>
                <a:gd name="connsiteX39" fmla="*/ 4260 w 10000"/>
                <a:gd name="connsiteY39" fmla="*/ 2695 h 10000"/>
                <a:gd name="connsiteX40" fmla="*/ 4398 w 10000"/>
                <a:gd name="connsiteY40" fmla="*/ 2749 h 10000"/>
                <a:gd name="connsiteX41" fmla="*/ 4536 w 10000"/>
                <a:gd name="connsiteY41" fmla="*/ 2802 h 10000"/>
                <a:gd name="connsiteX42" fmla="*/ 4668 w 10000"/>
                <a:gd name="connsiteY42" fmla="*/ 2844 h 10000"/>
                <a:gd name="connsiteX43" fmla="*/ 4724 w 10000"/>
                <a:gd name="connsiteY43" fmla="*/ 2862 h 10000"/>
                <a:gd name="connsiteX44" fmla="*/ 4780 w 10000"/>
                <a:gd name="connsiteY44" fmla="*/ 2874 h 10000"/>
                <a:gd name="connsiteX45" fmla="*/ 4831 w 10000"/>
                <a:gd name="connsiteY45" fmla="*/ 2880 h 10000"/>
                <a:gd name="connsiteX46" fmla="*/ 4875 w 10000"/>
                <a:gd name="connsiteY46" fmla="*/ 2880 h 10000"/>
                <a:gd name="connsiteX47" fmla="*/ 4887 w 10000"/>
                <a:gd name="connsiteY47" fmla="*/ 2922 h 10000"/>
                <a:gd name="connsiteX48" fmla="*/ 4918 w 10000"/>
                <a:gd name="connsiteY48" fmla="*/ 2958 h 10000"/>
                <a:gd name="connsiteX49" fmla="*/ 4950 w 10000"/>
                <a:gd name="connsiteY49" fmla="*/ 2976 h 10000"/>
                <a:gd name="connsiteX50" fmla="*/ 4987 w 10000"/>
                <a:gd name="connsiteY50" fmla="*/ 2988 h 10000"/>
                <a:gd name="connsiteX51" fmla="*/ 5019 w 10000"/>
                <a:gd name="connsiteY51" fmla="*/ 3000 h 10000"/>
                <a:gd name="connsiteX52" fmla="*/ 5063 w 10000"/>
                <a:gd name="connsiteY52" fmla="*/ 3000 h 10000"/>
                <a:gd name="connsiteX53" fmla="*/ 5107 w 10000"/>
                <a:gd name="connsiteY53" fmla="*/ 2994 h 10000"/>
                <a:gd name="connsiteX54" fmla="*/ 5157 w 10000"/>
                <a:gd name="connsiteY54" fmla="*/ 2988 h 10000"/>
                <a:gd name="connsiteX55" fmla="*/ 5245 w 10000"/>
                <a:gd name="connsiteY55" fmla="*/ 2970 h 10000"/>
                <a:gd name="connsiteX56" fmla="*/ 5345 w 10000"/>
                <a:gd name="connsiteY56" fmla="*/ 2946 h 10000"/>
                <a:gd name="connsiteX57" fmla="*/ 5383 w 10000"/>
                <a:gd name="connsiteY57" fmla="*/ 2946 h 10000"/>
                <a:gd name="connsiteX58" fmla="*/ 5427 w 10000"/>
                <a:gd name="connsiteY58" fmla="*/ 2940 h 10000"/>
                <a:gd name="connsiteX59" fmla="*/ 5464 w 10000"/>
                <a:gd name="connsiteY59" fmla="*/ 2946 h 10000"/>
                <a:gd name="connsiteX60" fmla="*/ 5502 w 10000"/>
                <a:gd name="connsiteY60" fmla="*/ 2952 h 10000"/>
                <a:gd name="connsiteX61" fmla="*/ 5558 w 10000"/>
                <a:gd name="connsiteY61" fmla="*/ 2988 h 10000"/>
                <a:gd name="connsiteX62" fmla="*/ 5596 w 10000"/>
                <a:gd name="connsiteY62" fmla="*/ 3018 h 10000"/>
                <a:gd name="connsiteX63" fmla="*/ 5634 w 10000"/>
                <a:gd name="connsiteY63" fmla="*/ 3060 h 10000"/>
                <a:gd name="connsiteX64" fmla="*/ 5665 w 10000"/>
                <a:gd name="connsiteY64" fmla="*/ 3096 h 10000"/>
                <a:gd name="connsiteX65" fmla="*/ 5696 w 10000"/>
                <a:gd name="connsiteY65" fmla="*/ 3132 h 10000"/>
                <a:gd name="connsiteX66" fmla="*/ 5734 w 10000"/>
                <a:gd name="connsiteY66" fmla="*/ 3168 h 10000"/>
                <a:gd name="connsiteX67" fmla="*/ 5759 w 10000"/>
                <a:gd name="connsiteY67" fmla="*/ 3186 h 10000"/>
                <a:gd name="connsiteX68" fmla="*/ 5778 w 10000"/>
                <a:gd name="connsiteY68" fmla="*/ 3198 h 10000"/>
                <a:gd name="connsiteX69" fmla="*/ 5803 w 10000"/>
                <a:gd name="connsiteY69" fmla="*/ 3210 h 10000"/>
                <a:gd name="connsiteX70" fmla="*/ 5834 w 10000"/>
                <a:gd name="connsiteY70" fmla="*/ 3216 h 10000"/>
                <a:gd name="connsiteX71" fmla="*/ 5935 w 10000"/>
                <a:gd name="connsiteY71" fmla="*/ 3234 h 10000"/>
                <a:gd name="connsiteX72" fmla="*/ 6073 w 10000"/>
                <a:gd name="connsiteY72" fmla="*/ 3269 h 10000"/>
                <a:gd name="connsiteX73" fmla="*/ 6230 w 10000"/>
                <a:gd name="connsiteY73" fmla="*/ 3305 h 10000"/>
                <a:gd name="connsiteX74" fmla="*/ 6405 w 10000"/>
                <a:gd name="connsiteY74" fmla="*/ 3347 h 10000"/>
                <a:gd name="connsiteX75" fmla="*/ 6568 w 10000"/>
                <a:gd name="connsiteY75" fmla="*/ 3377 h 10000"/>
                <a:gd name="connsiteX76" fmla="*/ 6719 w 10000"/>
                <a:gd name="connsiteY76" fmla="*/ 3401 h 10000"/>
                <a:gd name="connsiteX77" fmla="*/ 6788 w 10000"/>
                <a:gd name="connsiteY77" fmla="*/ 3407 h 10000"/>
                <a:gd name="connsiteX78" fmla="*/ 6838 w 10000"/>
                <a:gd name="connsiteY78" fmla="*/ 3413 h 10000"/>
                <a:gd name="connsiteX79" fmla="*/ 6888 w 10000"/>
                <a:gd name="connsiteY79" fmla="*/ 3407 h 10000"/>
                <a:gd name="connsiteX80" fmla="*/ 6913 w 10000"/>
                <a:gd name="connsiteY80" fmla="*/ 3395 h 10000"/>
                <a:gd name="connsiteX81" fmla="*/ 6888 w 10000"/>
                <a:gd name="connsiteY81" fmla="*/ 3353 h 10000"/>
                <a:gd name="connsiteX82" fmla="*/ 6857 w 10000"/>
                <a:gd name="connsiteY82" fmla="*/ 3305 h 10000"/>
                <a:gd name="connsiteX83" fmla="*/ 6838 w 10000"/>
                <a:gd name="connsiteY83" fmla="*/ 3257 h 10000"/>
                <a:gd name="connsiteX84" fmla="*/ 6826 w 10000"/>
                <a:gd name="connsiteY84" fmla="*/ 3204 h 10000"/>
                <a:gd name="connsiteX85" fmla="*/ 6794 w 10000"/>
                <a:gd name="connsiteY85" fmla="*/ 3114 h 10000"/>
                <a:gd name="connsiteX86" fmla="*/ 6788 w 10000"/>
                <a:gd name="connsiteY86" fmla="*/ 3066 h 10000"/>
                <a:gd name="connsiteX87" fmla="*/ 6788 w 10000"/>
                <a:gd name="connsiteY87" fmla="*/ 2880 h 10000"/>
                <a:gd name="connsiteX88" fmla="*/ 6788 w 10000"/>
                <a:gd name="connsiteY88" fmla="*/ 2695 h 10000"/>
                <a:gd name="connsiteX89" fmla="*/ 6995 w 10000"/>
                <a:gd name="connsiteY89" fmla="*/ 2695 h 10000"/>
                <a:gd name="connsiteX90" fmla="*/ 7033 w 10000"/>
                <a:gd name="connsiteY90" fmla="*/ 2760 h 10000"/>
                <a:gd name="connsiteX91" fmla="*/ 7058 w 10000"/>
                <a:gd name="connsiteY91" fmla="*/ 2802 h 10000"/>
                <a:gd name="connsiteX92" fmla="*/ 7095 w 10000"/>
                <a:gd name="connsiteY92" fmla="*/ 2838 h 10000"/>
                <a:gd name="connsiteX93" fmla="*/ 7127 w 10000"/>
                <a:gd name="connsiteY93" fmla="*/ 2880 h 10000"/>
                <a:gd name="connsiteX94" fmla="*/ 7120 w 10000"/>
                <a:gd name="connsiteY94" fmla="*/ 2976 h 10000"/>
                <a:gd name="connsiteX95" fmla="*/ 7102 w 10000"/>
                <a:gd name="connsiteY95" fmla="*/ 3036 h 10000"/>
                <a:gd name="connsiteX96" fmla="*/ 7089 w 10000"/>
                <a:gd name="connsiteY96" fmla="*/ 3084 h 10000"/>
                <a:gd name="connsiteX97" fmla="*/ 7077 w 10000"/>
                <a:gd name="connsiteY97" fmla="*/ 3138 h 10000"/>
                <a:gd name="connsiteX98" fmla="*/ 7208 w 10000"/>
                <a:gd name="connsiteY98" fmla="*/ 3174 h 10000"/>
                <a:gd name="connsiteX99" fmla="*/ 7334 w 10000"/>
                <a:gd name="connsiteY99" fmla="*/ 3210 h 10000"/>
                <a:gd name="connsiteX100" fmla="*/ 7396 w 10000"/>
                <a:gd name="connsiteY100" fmla="*/ 3228 h 10000"/>
                <a:gd name="connsiteX101" fmla="*/ 7459 w 10000"/>
                <a:gd name="connsiteY101" fmla="*/ 3240 h 10000"/>
                <a:gd name="connsiteX102" fmla="*/ 7522 w 10000"/>
                <a:gd name="connsiteY102" fmla="*/ 3246 h 10000"/>
                <a:gd name="connsiteX103" fmla="*/ 7585 w 10000"/>
                <a:gd name="connsiteY103" fmla="*/ 3251 h 10000"/>
                <a:gd name="connsiteX104" fmla="*/ 7591 w 10000"/>
                <a:gd name="connsiteY104" fmla="*/ 3275 h 10000"/>
                <a:gd name="connsiteX105" fmla="*/ 7604 w 10000"/>
                <a:gd name="connsiteY105" fmla="*/ 3299 h 10000"/>
                <a:gd name="connsiteX106" fmla="*/ 7622 w 10000"/>
                <a:gd name="connsiteY106" fmla="*/ 3317 h 10000"/>
                <a:gd name="connsiteX107" fmla="*/ 7654 w 10000"/>
                <a:gd name="connsiteY107" fmla="*/ 3335 h 10000"/>
                <a:gd name="connsiteX108" fmla="*/ 7704 w 10000"/>
                <a:gd name="connsiteY108" fmla="*/ 3353 h 10000"/>
                <a:gd name="connsiteX109" fmla="*/ 7748 w 10000"/>
                <a:gd name="connsiteY109" fmla="*/ 3359 h 10000"/>
                <a:gd name="connsiteX110" fmla="*/ 7798 w 10000"/>
                <a:gd name="connsiteY110" fmla="*/ 3359 h 10000"/>
                <a:gd name="connsiteX111" fmla="*/ 7836 w 10000"/>
                <a:gd name="connsiteY111" fmla="*/ 3347 h 10000"/>
                <a:gd name="connsiteX112" fmla="*/ 7880 w 10000"/>
                <a:gd name="connsiteY112" fmla="*/ 3329 h 10000"/>
                <a:gd name="connsiteX113" fmla="*/ 7911 w 10000"/>
                <a:gd name="connsiteY113" fmla="*/ 3311 h 10000"/>
                <a:gd name="connsiteX114" fmla="*/ 7949 w 10000"/>
                <a:gd name="connsiteY114" fmla="*/ 3287 h 10000"/>
                <a:gd name="connsiteX115" fmla="*/ 7980 w 10000"/>
                <a:gd name="connsiteY115" fmla="*/ 3257 h 10000"/>
                <a:gd name="connsiteX116" fmla="*/ 8011 w 10000"/>
                <a:gd name="connsiteY116" fmla="*/ 3228 h 10000"/>
                <a:gd name="connsiteX117" fmla="*/ 8036 w 10000"/>
                <a:gd name="connsiteY117" fmla="*/ 3198 h 10000"/>
                <a:gd name="connsiteX118" fmla="*/ 8087 w 10000"/>
                <a:gd name="connsiteY118" fmla="*/ 3120 h 10000"/>
                <a:gd name="connsiteX119" fmla="*/ 8118 w 10000"/>
                <a:gd name="connsiteY119" fmla="*/ 3048 h 10000"/>
                <a:gd name="connsiteX120" fmla="*/ 8149 w 10000"/>
                <a:gd name="connsiteY120" fmla="*/ 2982 h 10000"/>
                <a:gd name="connsiteX121" fmla="*/ 8168 w 10000"/>
                <a:gd name="connsiteY121" fmla="*/ 2916 h 10000"/>
                <a:gd name="connsiteX122" fmla="*/ 8231 w 10000"/>
                <a:gd name="connsiteY122" fmla="*/ 2850 h 10000"/>
                <a:gd name="connsiteX123" fmla="*/ 8294 w 10000"/>
                <a:gd name="connsiteY123" fmla="*/ 2784 h 10000"/>
                <a:gd name="connsiteX124" fmla="*/ 8363 w 10000"/>
                <a:gd name="connsiteY124" fmla="*/ 2731 h 10000"/>
                <a:gd name="connsiteX125" fmla="*/ 8432 w 10000"/>
                <a:gd name="connsiteY125" fmla="*/ 2671 h 10000"/>
                <a:gd name="connsiteX126" fmla="*/ 8507 w 10000"/>
                <a:gd name="connsiteY126" fmla="*/ 2623 h 10000"/>
                <a:gd name="connsiteX127" fmla="*/ 8576 w 10000"/>
                <a:gd name="connsiteY127" fmla="*/ 2575 h 10000"/>
                <a:gd name="connsiteX128" fmla="*/ 8651 w 10000"/>
                <a:gd name="connsiteY128" fmla="*/ 2533 h 10000"/>
                <a:gd name="connsiteX129" fmla="*/ 8726 w 10000"/>
                <a:gd name="connsiteY129" fmla="*/ 2491 h 10000"/>
                <a:gd name="connsiteX130" fmla="*/ 8808 w 10000"/>
                <a:gd name="connsiteY130" fmla="*/ 2449 h 10000"/>
                <a:gd name="connsiteX131" fmla="*/ 8890 w 10000"/>
                <a:gd name="connsiteY131" fmla="*/ 2413 h 10000"/>
                <a:gd name="connsiteX132" fmla="*/ 8971 w 10000"/>
                <a:gd name="connsiteY132" fmla="*/ 2383 h 10000"/>
                <a:gd name="connsiteX133" fmla="*/ 9059 w 10000"/>
                <a:gd name="connsiteY133" fmla="*/ 2353 h 10000"/>
                <a:gd name="connsiteX134" fmla="*/ 9235 w 10000"/>
                <a:gd name="connsiteY134" fmla="*/ 2299 h 10000"/>
                <a:gd name="connsiteX135" fmla="*/ 9417 w 10000"/>
                <a:gd name="connsiteY135" fmla="*/ 2257 h 10000"/>
                <a:gd name="connsiteX136" fmla="*/ 9454 w 10000"/>
                <a:gd name="connsiteY136" fmla="*/ 2305 h 10000"/>
                <a:gd name="connsiteX137" fmla="*/ 9504 w 10000"/>
                <a:gd name="connsiteY137" fmla="*/ 2365 h 10000"/>
                <a:gd name="connsiteX138" fmla="*/ 9573 w 10000"/>
                <a:gd name="connsiteY138" fmla="*/ 2431 h 10000"/>
                <a:gd name="connsiteX139" fmla="*/ 9642 w 10000"/>
                <a:gd name="connsiteY139" fmla="*/ 2503 h 10000"/>
                <a:gd name="connsiteX140" fmla="*/ 9718 w 10000"/>
                <a:gd name="connsiteY140" fmla="*/ 2563 h 10000"/>
                <a:gd name="connsiteX141" fmla="*/ 9799 w 10000"/>
                <a:gd name="connsiteY141" fmla="*/ 2611 h 10000"/>
                <a:gd name="connsiteX142" fmla="*/ 9837 w 10000"/>
                <a:gd name="connsiteY142" fmla="*/ 2635 h 10000"/>
                <a:gd name="connsiteX143" fmla="*/ 9875 w 10000"/>
                <a:gd name="connsiteY143" fmla="*/ 2647 h 10000"/>
                <a:gd name="connsiteX144" fmla="*/ 9918 w 10000"/>
                <a:gd name="connsiteY144" fmla="*/ 2659 h 10000"/>
                <a:gd name="connsiteX145" fmla="*/ 9956 w 10000"/>
                <a:gd name="connsiteY145" fmla="*/ 2659 h 10000"/>
                <a:gd name="connsiteX146" fmla="*/ 10000 w 10000"/>
                <a:gd name="connsiteY146" fmla="*/ 2587 h 10000"/>
                <a:gd name="connsiteX147" fmla="*/ 9975 w 10000"/>
                <a:gd name="connsiteY147" fmla="*/ 2713 h 10000"/>
                <a:gd name="connsiteX148" fmla="*/ 9944 w 10000"/>
                <a:gd name="connsiteY148" fmla="*/ 2856 h 10000"/>
                <a:gd name="connsiteX149" fmla="*/ 9931 w 10000"/>
                <a:gd name="connsiteY149" fmla="*/ 2922 h 10000"/>
                <a:gd name="connsiteX150" fmla="*/ 9906 w 10000"/>
                <a:gd name="connsiteY150" fmla="*/ 2982 h 10000"/>
                <a:gd name="connsiteX151" fmla="*/ 9887 w 10000"/>
                <a:gd name="connsiteY151" fmla="*/ 3006 h 10000"/>
                <a:gd name="connsiteX152" fmla="*/ 9875 w 10000"/>
                <a:gd name="connsiteY152" fmla="*/ 3030 h 10000"/>
                <a:gd name="connsiteX153" fmla="*/ 9856 w 10000"/>
                <a:gd name="connsiteY153" fmla="*/ 3048 h 10000"/>
                <a:gd name="connsiteX154" fmla="*/ 9837 w 10000"/>
                <a:gd name="connsiteY154" fmla="*/ 3066 h 10000"/>
                <a:gd name="connsiteX155" fmla="*/ 9749 w 10000"/>
                <a:gd name="connsiteY155" fmla="*/ 3084 h 10000"/>
                <a:gd name="connsiteX156" fmla="*/ 9605 w 10000"/>
                <a:gd name="connsiteY156" fmla="*/ 3132 h 10000"/>
                <a:gd name="connsiteX157" fmla="*/ 9536 w 10000"/>
                <a:gd name="connsiteY157" fmla="*/ 3174 h 10000"/>
                <a:gd name="connsiteX158" fmla="*/ 9479 w 10000"/>
                <a:gd name="connsiteY158" fmla="*/ 3210 h 10000"/>
                <a:gd name="connsiteX159" fmla="*/ 9448 w 10000"/>
                <a:gd name="connsiteY159" fmla="*/ 3228 h 10000"/>
                <a:gd name="connsiteX160" fmla="*/ 9435 w 10000"/>
                <a:gd name="connsiteY160" fmla="*/ 3246 h 10000"/>
                <a:gd name="connsiteX161" fmla="*/ 9423 w 10000"/>
                <a:gd name="connsiteY161" fmla="*/ 3269 h 10000"/>
                <a:gd name="connsiteX162" fmla="*/ 9417 w 10000"/>
                <a:gd name="connsiteY162" fmla="*/ 3287 h 10000"/>
                <a:gd name="connsiteX163" fmla="*/ 9423 w 10000"/>
                <a:gd name="connsiteY163" fmla="*/ 3497 h 10000"/>
                <a:gd name="connsiteX164" fmla="*/ 9417 w 10000"/>
                <a:gd name="connsiteY164" fmla="*/ 3737 h 10000"/>
                <a:gd name="connsiteX165" fmla="*/ 9398 w 10000"/>
                <a:gd name="connsiteY165" fmla="*/ 3796 h 10000"/>
                <a:gd name="connsiteX166" fmla="*/ 9391 w 10000"/>
                <a:gd name="connsiteY166" fmla="*/ 3862 h 10000"/>
                <a:gd name="connsiteX167" fmla="*/ 9379 w 10000"/>
                <a:gd name="connsiteY167" fmla="*/ 3916 h 10000"/>
                <a:gd name="connsiteX168" fmla="*/ 9366 w 10000"/>
                <a:gd name="connsiteY168" fmla="*/ 3970 h 10000"/>
                <a:gd name="connsiteX169" fmla="*/ 9348 w 10000"/>
                <a:gd name="connsiteY169" fmla="*/ 4018 h 10000"/>
                <a:gd name="connsiteX170" fmla="*/ 9316 w 10000"/>
                <a:gd name="connsiteY170" fmla="*/ 4066 h 10000"/>
                <a:gd name="connsiteX171" fmla="*/ 9285 w 10000"/>
                <a:gd name="connsiteY171" fmla="*/ 4102 h 10000"/>
                <a:gd name="connsiteX172" fmla="*/ 9247 w 10000"/>
                <a:gd name="connsiteY172" fmla="*/ 4132 h 10000"/>
                <a:gd name="connsiteX173" fmla="*/ 9228 w 10000"/>
                <a:gd name="connsiteY173" fmla="*/ 4150 h 10000"/>
                <a:gd name="connsiteX174" fmla="*/ 9184 w 10000"/>
                <a:gd name="connsiteY174" fmla="*/ 4156 h 10000"/>
                <a:gd name="connsiteX175" fmla="*/ 9141 w 10000"/>
                <a:gd name="connsiteY175" fmla="*/ 4162 h 10000"/>
                <a:gd name="connsiteX176" fmla="*/ 9090 w 10000"/>
                <a:gd name="connsiteY176" fmla="*/ 4168 h 10000"/>
                <a:gd name="connsiteX177" fmla="*/ 9040 w 10000"/>
                <a:gd name="connsiteY177" fmla="*/ 4174 h 10000"/>
                <a:gd name="connsiteX178" fmla="*/ 8996 w 10000"/>
                <a:gd name="connsiteY178" fmla="*/ 4192 h 10000"/>
                <a:gd name="connsiteX179" fmla="*/ 8977 w 10000"/>
                <a:gd name="connsiteY179" fmla="*/ 4198 h 10000"/>
                <a:gd name="connsiteX180" fmla="*/ 8965 w 10000"/>
                <a:gd name="connsiteY180" fmla="*/ 4216 h 10000"/>
                <a:gd name="connsiteX181" fmla="*/ 8959 w 10000"/>
                <a:gd name="connsiteY181" fmla="*/ 4228 h 10000"/>
                <a:gd name="connsiteX182" fmla="*/ 8959 w 10000"/>
                <a:gd name="connsiteY182" fmla="*/ 4246 h 10000"/>
                <a:gd name="connsiteX183" fmla="*/ 8952 w 10000"/>
                <a:gd name="connsiteY183" fmla="*/ 4317 h 10000"/>
                <a:gd name="connsiteX184" fmla="*/ 8952 w 10000"/>
                <a:gd name="connsiteY184" fmla="*/ 4401 h 10000"/>
                <a:gd name="connsiteX185" fmla="*/ 8940 w 10000"/>
                <a:gd name="connsiteY185" fmla="*/ 4491 h 10000"/>
                <a:gd name="connsiteX186" fmla="*/ 8927 w 10000"/>
                <a:gd name="connsiteY186" fmla="*/ 4575 h 10000"/>
                <a:gd name="connsiteX187" fmla="*/ 8908 w 10000"/>
                <a:gd name="connsiteY187" fmla="*/ 4659 h 10000"/>
                <a:gd name="connsiteX188" fmla="*/ 8890 w 10000"/>
                <a:gd name="connsiteY188" fmla="*/ 4737 h 10000"/>
                <a:gd name="connsiteX189" fmla="*/ 8864 w 10000"/>
                <a:gd name="connsiteY189" fmla="*/ 4808 h 10000"/>
                <a:gd name="connsiteX190" fmla="*/ 8833 w 10000"/>
                <a:gd name="connsiteY190" fmla="*/ 4874 h 10000"/>
                <a:gd name="connsiteX191" fmla="*/ 8538 w 10000"/>
                <a:gd name="connsiteY191" fmla="*/ 4389 h 10000"/>
                <a:gd name="connsiteX192" fmla="*/ 8526 w 10000"/>
                <a:gd name="connsiteY192" fmla="*/ 4413 h 10000"/>
                <a:gd name="connsiteX193" fmla="*/ 8494 w 10000"/>
                <a:gd name="connsiteY193" fmla="*/ 4467 h 10000"/>
                <a:gd name="connsiteX194" fmla="*/ 8463 w 10000"/>
                <a:gd name="connsiteY194" fmla="*/ 4497 h 10000"/>
                <a:gd name="connsiteX195" fmla="*/ 8438 w 10000"/>
                <a:gd name="connsiteY195" fmla="*/ 4521 h 10000"/>
                <a:gd name="connsiteX196" fmla="*/ 8407 w 10000"/>
                <a:gd name="connsiteY196" fmla="*/ 4539 h 10000"/>
                <a:gd name="connsiteX197" fmla="*/ 8375 w 10000"/>
                <a:gd name="connsiteY197" fmla="*/ 4545 h 10000"/>
                <a:gd name="connsiteX198" fmla="*/ 8338 w 10000"/>
                <a:gd name="connsiteY198" fmla="*/ 4539 h 10000"/>
                <a:gd name="connsiteX199" fmla="*/ 8312 w 10000"/>
                <a:gd name="connsiteY199" fmla="*/ 4533 h 10000"/>
                <a:gd name="connsiteX200" fmla="*/ 8287 w 10000"/>
                <a:gd name="connsiteY200" fmla="*/ 4515 h 10000"/>
                <a:gd name="connsiteX201" fmla="*/ 8256 w 10000"/>
                <a:gd name="connsiteY201" fmla="*/ 4497 h 10000"/>
                <a:gd name="connsiteX202" fmla="*/ 8237 w 10000"/>
                <a:gd name="connsiteY202" fmla="*/ 4467 h 10000"/>
                <a:gd name="connsiteX203" fmla="*/ 8225 w 10000"/>
                <a:gd name="connsiteY203" fmla="*/ 4443 h 10000"/>
                <a:gd name="connsiteX204" fmla="*/ 8206 w 10000"/>
                <a:gd name="connsiteY204" fmla="*/ 4419 h 10000"/>
                <a:gd name="connsiteX205" fmla="*/ 8206 w 10000"/>
                <a:gd name="connsiteY205" fmla="*/ 4389 h 10000"/>
                <a:gd name="connsiteX206" fmla="*/ 8206 w 10000"/>
                <a:gd name="connsiteY206" fmla="*/ 4353 h 10000"/>
                <a:gd name="connsiteX207" fmla="*/ 8225 w 10000"/>
                <a:gd name="connsiteY207" fmla="*/ 4317 h 10000"/>
                <a:gd name="connsiteX208" fmla="*/ 8237 w 10000"/>
                <a:gd name="connsiteY208" fmla="*/ 4281 h 10000"/>
                <a:gd name="connsiteX209" fmla="*/ 8250 w 10000"/>
                <a:gd name="connsiteY209" fmla="*/ 4246 h 10000"/>
                <a:gd name="connsiteX210" fmla="*/ 8300 w 10000"/>
                <a:gd name="connsiteY210" fmla="*/ 4180 h 10000"/>
                <a:gd name="connsiteX211" fmla="*/ 8356 w 10000"/>
                <a:gd name="connsiteY211" fmla="*/ 4114 h 10000"/>
                <a:gd name="connsiteX212" fmla="*/ 8407 w 10000"/>
                <a:gd name="connsiteY212" fmla="*/ 4054 h 10000"/>
                <a:gd name="connsiteX213" fmla="*/ 8457 w 10000"/>
                <a:gd name="connsiteY213" fmla="*/ 3988 h 10000"/>
                <a:gd name="connsiteX214" fmla="*/ 8469 w 10000"/>
                <a:gd name="connsiteY214" fmla="*/ 3952 h 10000"/>
                <a:gd name="connsiteX215" fmla="*/ 8482 w 10000"/>
                <a:gd name="connsiteY215" fmla="*/ 3922 h 10000"/>
                <a:gd name="connsiteX216" fmla="*/ 8501 w 10000"/>
                <a:gd name="connsiteY216" fmla="*/ 3880 h 10000"/>
                <a:gd name="connsiteX217" fmla="*/ 8501 w 10000"/>
                <a:gd name="connsiteY217" fmla="*/ 3844 h 10000"/>
                <a:gd name="connsiteX218" fmla="*/ 7748 w 10000"/>
                <a:gd name="connsiteY218" fmla="*/ 3844 h 10000"/>
                <a:gd name="connsiteX219" fmla="*/ 7723 w 10000"/>
                <a:gd name="connsiteY219" fmla="*/ 3838 h 10000"/>
                <a:gd name="connsiteX220" fmla="*/ 7685 w 10000"/>
                <a:gd name="connsiteY220" fmla="*/ 3820 h 10000"/>
                <a:gd name="connsiteX221" fmla="*/ 7660 w 10000"/>
                <a:gd name="connsiteY221" fmla="*/ 3784 h 10000"/>
                <a:gd name="connsiteX222" fmla="*/ 7635 w 10000"/>
                <a:gd name="connsiteY222" fmla="*/ 3749 h 10000"/>
                <a:gd name="connsiteX223" fmla="*/ 7616 w 10000"/>
                <a:gd name="connsiteY223" fmla="*/ 3701 h 10000"/>
                <a:gd name="connsiteX224" fmla="*/ 7597 w 10000"/>
                <a:gd name="connsiteY224" fmla="*/ 3653 h 10000"/>
                <a:gd name="connsiteX225" fmla="*/ 7591 w 10000"/>
                <a:gd name="connsiteY225" fmla="*/ 3599 h 10000"/>
                <a:gd name="connsiteX226" fmla="*/ 7585 w 10000"/>
                <a:gd name="connsiteY226" fmla="*/ 3545 h 10000"/>
                <a:gd name="connsiteX227" fmla="*/ 7547 w 10000"/>
                <a:gd name="connsiteY227" fmla="*/ 3545 h 10000"/>
                <a:gd name="connsiteX228" fmla="*/ 7516 w 10000"/>
                <a:gd name="connsiteY228" fmla="*/ 3539 h 10000"/>
                <a:gd name="connsiteX229" fmla="*/ 7478 w 10000"/>
                <a:gd name="connsiteY229" fmla="*/ 3533 h 10000"/>
                <a:gd name="connsiteX230" fmla="*/ 7447 w 10000"/>
                <a:gd name="connsiteY230" fmla="*/ 3521 h 10000"/>
                <a:gd name="connsiteX231" fmla="*/ 7415 w 10000"/>
                <a:gd name="connsiteY231" fmla="*/ 3503 h 10000"/>
                <a:gd name="connsiteX232" fmla="*/ 7396 w 10000"/>
                <a:gd name="connsiteY232" fmla="*/ 3485 h 10000"/>
                <a:gd name="connsiteX233" fmla="*/ 7384 w 10000"/>
                <a:gd name="connsiteY233" fmla="*/ 3455 h 10000"/>
                <a:gd name="connsiteX234" fmla="*/ 7378 w 10000"/>
                <a:gd name="connsiteY234" fmla="*/ 3431 h 10000"/>
                <a:gd name="connsiteX235" fmla="*/ 7321 w 10000"/>
                <a:gd name="connsiteY235" fmla="*/ 3431 h 10000"/>
                <a:gd name="connsiteX236" fmla="*/ 7271 w 10000"/>
                <a:gd name="connsiteY236" fmla="*/ 3431 h 10000"/>
                <a:gd name="connsiteX237" fmla="*/ 7221 w 10000"/>
                <a:gd name="connsiteY237" fmla="*/ 3431 h 10000"/>
                <a:gd name="connsiteX238" fmla="*/ 7171 w 10000"/>
                <a:gd name="connsiteY238" fmla="*/ 3431 h 10000"/>
                <a:gd name="connsiteX239" fmla="*/ 7127 w 10000"/>
                <a:gd name="connsiteY239" fmla="*/ 3437 h 10000"/>
                <a:gd name="connsiteX240" fmla="*/ 7095 w 10000"/>
                <a:gd name="connsiteY240" fmla="*/ 3443 h 10000"/>
                <a:gd name="connsiteX241" fmla="*/ 7051 w 10000"/>
                <a:gd name="connsiteY241" fmla="*/ 3461 h 10000"/>
                <a:gd name="connsiteX242" fmla="*/ 7008 w 10000"/>
                <a:gd name="connsiteY242" fmla="*/ 3485 h 10000"/>
                <a:gd name="connsiteX243" fmla="*/ 6976 w 10000"/>
                <a:gd name="connsiteY243" fmla="*/ 3515 h 10000"/>
                <a:gd name="connsiteX244" fmla="*/ 6939 w 10000"/>
                <a:gd name="connsiteY244" fmla="*/ 3545 h 10000"/>
                <a:gd name="connsiteX245" fmla="*/ 6920 w 10000"/>
                <a:gd name="connsiteY245" fmla="*/ 3581 h 10000"/>
                <a:gd name="connsiteX246" fmla="*/ 6913 w 10000"/>
                <a:gd name="connsiteY246" fmla="*/ 3617 h 10000"/>
                <a:gd name="connsiteX247" fmla="*/ 6926 w 10000"/>
                <a:gd name="connsiteY247" fmla="*/ 3641 h 10000"/>
                <a:gd name="connsiteX248" fmla="*/ 6964 w 10000"/>
                <a:gd name="connsiteY248" fmla="*/ 3671 h 10000"/>
                <a:gd name="connsiteX249" fmla="*/ 7008 w 10000"/>
                <a:gd name="connsiteY249" fmla="*/ 3707 h 10000"/>
                <a:gd name="connsiteX250" fmla="*/ 7070 w 10000"/>
                <a:gd name="connsiteY250" fmla="*/ 3743 h 10000"/>
                <a:gd name="connsiteX251" fmla="*/ 7133 w 10000"/>
                <a:gd name="connsiteY251" fmla="*/ 3778 h 10000"/>
                <a:gd name="connsiteX252" fmla="*/ 7196 w 10000"/>
                <a:gd name="connsiteY252" fmla="*/ 3808 h 10000"/>
                <a:gd name="connsiteX253" fmla="*/ 7252 w 10000"/>
                <a:gd name="connsiteY253" fmla="*/ 3832 h 10000"/>
                <a:gd name="connsiteX254" fmla="*/ 7290 w 10000"/>
                <a:gd name="connsiteY254" fmla="*/ 3844 h 10000"/>
                <a:gd name="connsiteX255" fmla="*/ 7208 w 10000"/>
                <a:gd name="connsiteY255" fmla="*/ 3904 h 10000"/>
                <a:gd name="connsiteX256" fmla="*/ 7114 w 10000"/>
                <a:gd name="connsiteY256" fmla="*/ 3976 h 10000"/>
                <a:gd name="connsiteX257" fmla="*/ 7070 w 10000"/>
                <a:gd name="connsiteY257" fmla="*/ 4012 h 10000"/>
                <a:gd name="connsiteX258" fmla="*/ 7033 w 10000"/>
                <a:gd name="connsiteY258" fmla="*/ 4054 h 10000"/>
                <a:gd name="connsiteX259" fmla="*/ 7020 w 10000"/>
                <a:gd name="connsiteY259" fmla="*/ 4072 h 10000"/>
                <a:gd name="connsiteX260" fmla="*/ 7008 w 10000"/>
                <a:gd name="connsiteY260" fmla="*/ 4090 h 10000"/>
                <a:gd name="connsiteX261" fmla="*/ 7001 w 10000"/>
                <a:gd name="connsiteY261" fmla="*/ 4114 h 10000"/>
                <a:gd name="connsiteX262" fmla="*/ 6995 w 10000"/>
                <a:gd name="connsiteY262" fmla="*/ 4132 h 10000"/>
                <a:gd name="connsiteX263" fmla="*/ 7001 w 10000"/>
                <a:gd name="connsiteY263" fmla="*/ 4162 h 10000"/>
                <a:gd name="connsiteX264" fmla="*/ 7008 w 10000"/>
                <a:gd name="connsiteY264" fmla="*/ 4180 h 10000"/>
                <a:gd name="connsiteX265" fmla="*/ 7026 w 10000"/>
                <a:gd name="connsiteY265" fmla="*/ 4204 h 10000"/>
                <a:gd name="connsiteX266" fmla="*/ 7039 w 10000"/>
                <a:gd name="connsiteY266" fmla="*/ 4228 h 10000"/>
                <a:gd name="connsiteX267" fmla="*/ 7089 w 10000"/>
                <a:gd name="connsiteY267" fmla="*/ 4275 h 10000"/>
                <a:gd name="connsiteX268" fmla="*/ 7146 w 10000"/>
                <a:gd name="connsiteY268" fmla="*/ 4323 h 10000"/>
                <a:gd name="connsiteX269" fmla="*/ 7208 w 10000"/>
                <a:gd name="connsiteY269" fmla="*/ 4365 h 10000"/>
                <a:gd name="connsiteX270" fmla="*/ 7277 w 10000"/>
                <a:gd name="connsiteY270" fmla="*/ 4401 h 10000"/>
                <a:gd name="connsiteX271" fmla="*/ 7315 w 10000"/>
                <a:gd name="connsiteY271" fmla="*/ 4413 h 10000"/>
                <a:gd name="connsiteX272" fmla="*/ 7346 w 10000"/>
                <a:gd name="connsiteY272" fmla="*/ 4419 h 10000"/>
                <a:gd name="connsiteX273" fmla="*/ 7384 w 10000"/>
                <a:gd name="connsiteY273" fmla="*/ 4425 h 10000"/>
                <a:gd name="connsiteX274" fmla="*/ 7415 w 10000"/>
                <a:gd name="connsiteY274" fmla="*/ 4431 h 10000"/>
                <a:gd name="connsiteX275" fmla="*/ 7585 w 10000"/>
                <a:gd name="connsiteY275" fmla="*/ 5054 h 10000"/>
                <a:gd name="connsiteX276" fmla="*/ 7491 w 10000"/>
                <a:gd name="connsiteY276" fmla="*/ 5054 h 10000"/>
                <a:gd name="connsiteX277" fmla="*/ 7403 w 10000"/>
                <a:gd name="connsiteY277" fmla="*/ 5054 h 10000"/>
                <a:gd name="connsiteX278" fmla="*/ 7321 w 10000"/>
                <a:gd name="connsiteY278" fmla="*/ 5054 h 10000"/>
                <a:gd name="connsiteX279" fmla="*/ 7252 w 10000"/>
                <a:gd name="connsiteY279" fmla="*/ 5054 h 10000"/>
                <a:gd name="connsiteX280" fmla="*/ 7208 w 10000"/>
                <a:gd name="connsiteY280" fmla="*/ 5048 h 10000"/>
                <a:gd name="connsiteX281" fmla="*/ 7164 w 10000"/>
                <a:gd name="connsiteY281" fmla="*/ 5018 h 10000"/>
                <a:gd name="connsiteX282" fmla="*/ 7133 w 10000"/>
                <a:gd name="connsiteY282" fmla="*/ 5006 h 10000"/>
                <a:gd name="connsiteX283" fmla="*/ 7102 w 10000"/>
                <a:gd name="connsiteY283" fmla="*/ 4994 h 10000"/>
                <a:gd name="connsiteX284" fmla="*/ 7070 w 10000"/>
                <a:gd name="connsiteY284" fmla="*/ 4988 h 10000"/>
                <a:gd name="connsiteX285" fmla="*/ 7039 w 10000"/>
                <a:gd name="connsiteY285" fmla="*/ 4982 h 10000"/>
                <a:gd name="connsiteX286" fmla="*/ 7008 w 10000"/>
                <a:gd name="connsiteY286" fmla="*/ 4994 h 10000"/>
                <a:gd name="connsiteX287" fmla="*/ 6957 w 10000"/>
                <a:gd name="connsiteY287" fmla="*/ 5024 h 10000"/>
                <a:gd name="connsiteX288" fmla="*/ 6895 w 10000"/>
                <a:gd name="connsiteY288" fmla="*/ 5066 h 10000"/>
                <a:gd name="connsiteX289" fmla="*/ 6819 w 10000"/>
                <a:gd name="connsiteY289" fmla="*/ 5114 h 10000"/>
                <a:gd name="connsiteX290" fmla="*/ 6744 w 10000"/>
                <a:gd name="connsiteY290" fmla="*/ 5174 h 10000"/>
                <a:gd name="connsiteX291" fmla="*/ 6681 w 10000"/>
                <a:gd name="connsiteY291" fmla="*/ 5222 h 10000"/>
                <a:gd name="connsiteX292" fmla="*/ 6637 w 10000"/>
                <a:gd name="connsiteY292" fmla="*/ 5257 h 10000"/>
                <a:gd name="connsiteX293" fmla="*/ 6625 w 10000"/>
                <a:gd name="connsiteY293" fmla="*/ 5281 h 10000"/>
                <a:gd name="connsiteX294" fmla="*/ 6750 w 10000"/>
                <a:gd name="connsiteY294" fmla="*/ 5353 h 10000"/>
                <a:gd name="connsiteX295" fmla="*/ 6744 w 10000"/>
                <a:gd name="connsiteY295" fmla="*/ 5389 h 10000"/>
                <a:gd name="connsiteX296" fmla="*/ 6725 w 10000"/>
                <a:gd name="connsiteY296" fmla="*/ 5431 h 10000"/>
                <a:gd name="connsiteX297" fmla="*/ 6706 w 10000"/>
                <a:gd name="connsiteY297" fmla="*/ 5461 h 10000"/>
                <a:gd name="connsiteX298" fmla="*/ 6688 w 10000"/>
                <a:gd name="connsiteY298" fmla="*/ 5503 h 10000"/>
                <a:gd name="connsiteX299" fmla="*/ 6637 w 10000"/>
                <a:gd name="connsiteY299" fmla="*/ 5557 h 10000"/>
                <a:gd name="connsiteX300" fmla="*/ 6581 w 10000"/>
                <a:gd name="connsiteY300" fmla="*/ 5611 h 10000"/>
                <a:gd name="connsiteX301" fmla="*/ 6518 w 10000"/>
                <a:gd name="connsiteY301" fmla="*/ 5659 h 10000"/>
                <a:gd name="connsiteX302" fmla="*/ 6443 w 10000"/>
                <a:gd name="connsiteY302" fmla="*/ 5701 h 10000"/>
                <a:gd name="connsiteX303" fmla="*/ 6374 w 10000"/>
                <a:gd name="connsiteY303" fmla="*/ 5737 h 10000"/>
                <a:gd name="connsiteX304" fmla="*/ 6299 w 10000"/>
                <a:gd name="connsiteY304" fmla="*/ 5772 h 10000"/>
                <a:gd name="connsiteX305" fmla="*/ 6223 w 10000"/>
                <a:gd name="connsiteY305" fmla="*/ 5820 h 10000"/>
                <a:gd name="connsiteX306" fmla="*/ 6154 w 10000"/>
                <a:gd name="connsiteY306" fmla="*/ 5856 h 10000"/>
                <a:gd name="connsiteX307" fmla="*/ 6092 w 10000"/>
                <a:gd name="connsiteY307" fmla="*/ 5898 h 10000"/>
                <a:gd name="connsiteX308" fmla="*/ 6035 w 10000"/>
                <a:gd name="connsiteY308" fmla="*/ 5946 h 10000"/>
                <a:gd name="connsiteX309" fmla="*/ 6004 w 10000"/>
                <a:gd name="connsiteY309" fmla="*/ 5970 h 10000"/>
                <a:gd name="connsiteX310" fmla="*/ 5985 w 10000"/>
                <a:gd name="connsiteY310" fmla="*/ 5994 h 10000"/>
                <a:gd name="connsiteX311" fmla="*/ 5966 w 10000"/>
                <a:gd name="connsiteY311" fmla="*/ 6024 h 10000"/>
                <a:gd name="connsiteX312" fmla="*/ 5947 w 10000"/>
                <a:gd name="connsiteY312" fmla="*/ 6054 h 10000"/>
                <a:gd name="connsiteX313" fmla="*/ 5935 w 10000"/>
                <a:gd name="connsiteY313" fmla="*/ 6090 h 10000"/>
                <a:gd name="connsiteX314" fmla="*/ 5922 w 10000"/>
                <a:gd name="connsiteY314" fmla="*/ 6120 h 10000"/>
                <a:gd name="connsiteX315" fmla="*/ 5916 w 10000"/>
                <a:gd name="connsiteY315" fmla="*/ 6162 h 10000"/>
                <a:gd name="connsiteX316" fmla="*/ 5916 w 10000"/>
                <a:gd name="connsiteY316" fmla="*/ 6204 h 10000"/>
                <a:gd name="connsiteX317" fmla="*/ 5859 w 10000"/>
                <a:gd name="connsiteY317" fmla="*/ 6222 h 10000"/>
                <a:gd name="connsiteX318" fmla="*/ 5809 w 10000"/>
                <a:gd name="connsiteY318" fmla="*/ 6240 h 10000"/>
                <a:gd name="connsiteX319" fmla="*/ 5765 w 10000"/>
                <a:gd name="connsiteY319" fmla="*/ 6263 h 10000"/>
                <a:gd name="connsiteX320" fmla="*/ 5721 w 10000"/>
                <a:gd name="connsiteY320" fmla="*/ 6287 h 10000"/>
                <a:gd name="connsiteX321" fmla="*/ 5634 w 10000"/>
                <a:gd name="connsiteY321" fmla="*/ 6347 h 10000"/>
                <a:gd name="connsiteX322" fmla="*/ 5558 w 10000"/>
                <a:gd name="connsiteY322" fmla="*/ 6419 h 10000"/>
                <a:gd name="connsiteX323" fmla="*/ 5420 w 10000"/>
                <a:gd name="connsiteY323" fmla="*/ 6581 h 10000"/>
                <a:gd name="connsiteX324" fmla="*/ 5289 w 10000"/>
                <a:gd name="connsiteY324" fmla="*/ 6754 h 10000"/>
                <a:gd name="connsiteX325" fmla="*/ 5220 w 10000"/>
                <a:gd name="connsiteY325" fmla="*/ 6844 h 10000"/>
                <a:gd name="connsiteX326" fmla="*/ 5151 w 10000"/>
                <a:gd name="connsiteY326" fmla="*/ 6922 h 10000"/>
                <a:gd name="connsiteX327" fmla="*/ 5075 w 10000"/>
                <a:gd name="connsiteY327" fmla="*/ 6994 h 10000"/>
                <a:gd name="connsiteX328" fmla="*/ 4994 w 10000"/>
                <a:gd name="connsiteY328" fmla="*/ 7060 h 10000"/>
                <a:gd name="connsiteX329" fmla="*/ 4944 w 10000"/>
                <a:gd name="connsiteY329" fmla="*/ 7090 h 10000"/>
                <a:gd name="connsiteX330" fmla="*/ 4893 w 10000"/>
                <a:gd name="connsiteY330" fmla="*/ 7114 h 10000"/>
                <a:gd name="connsiteX331" fmla="*/ 4849 w 10000"/>
                <a:gd name="connsiteY331" fmla="*/ 7138 h 10000"/>
                <a:gd name="connsiteX332" fmla="*/ 4793 w 10000"/>
                <a:gd name="connsiteY332" fmla="*/ 7162 h 10000"/>
                <a:gd name="connsiteX333" fmla="*/ 4730 w 10000"/>
                <a:gd name="connsiteY333" fmla="*/ 7180 h 10000"/>
                <a:gd name="connsiteX334" fmla="*/ 4674 w 10000"/>
                <a:gd name="connsiteY334" fmla="*/ 7192 h 10000"/>
                <a:gd name="connsiteX335" fmla="*/ 4605 w 10000"/>
                <a:gd name="connsiteY335" fmla="*/ 7198 h 10000"/>
                <a:gd name="connsiteX336" fmla="*/ 4536 w 10000"/>
                <a:gd name="connsiteY336" fmla="*/ 7198 h 10000"/>
                <a:gd name="connsiteX337" fmla="*/ 4536 w 10000"/>
                <a:gd name="connsiteY337" fmla="*/ 7251 h 10000"/>
                <a:gd name="connsiteX338" fmla="*/ 4536 w 10000"/>
                <a:gd name="connsiteY338" fmla="*/ 7305 h 10000"/>
                <a:gd name="connsiteX339" fmla="*/ 4536 w 10000"/>
                <a:gd name="connsiteY339" fmla="*/ 7347 h 10000"/>
                <a:gd name="connsiteX340" fmla="*/ 4536 w 10000"/>
                <a:gd name="connsiteY340" fmla="*/ 7383 h 10000"/>
                <a:gd name="connsiteX341" fmla="*/ 4536 w 10000"/>
                <a:gd name="connsiteY341" fmla="*/ 7449 h 10000"/>
                <a:gd name="connsiteX342" fmla="*/ 4536 w 10000"/>
                <a:gd name="connsiteY342" fmla="*/ 7551 h 10000"/>
                <a:gd name="connsiteX343" fmla="*/ 4536 w 10000"/>
                <a:gd name="connsiteY343" fmla="*/ 7659 h 10000"/>
                <a:gd name="connsiteX344" fmla="*/ 4548 w 10000"/>
                <a:gd name="connsiteY344" fmla="*/ 7772 h 10000"/>
                <a:gd name="connsiteX345" fmla="*/ 4561 w 10000"/>
                <a:gd name="connsiteY345" fmla="*/ 7832 h 10000"/>
                <a:gd name="connsiteX346" fmla="*/ 4573 w 10000"/>
                <a:gd name="connsiteY346" fmla="*/ 7886 h 10000"/>
                <a:gd name="connsiteX347" fmla="*/ 4586 w 10000"/>
                <a:gd name="connsiteY347" fmla="*/ 7934 h 10000"/>
                <a:gd name="connsiteX348" fmla="*/ 4611 w 10000"/>
                <a:gd name="connsiteY348" fmla="*/ 7976 h 10000"/>
                <a:gd name="connsiteX349" fmla="*/ 4636 w 10000"/>
                <a:gd name="connsiteY349" fmla="*/ 8018 h 10000"/>
                <a:gd name="connsiteX350" fmla="*/ 4668 w 10000"/>
                <a:gd name="connsiteY350" fmla="*/ 8048 h 10000"/>
                <a:gd name="connsiteX351" fmla="*/ 4705 w 10000"/>
                <a:gd name="connsiteY351" fmla="*/ 8072 h 10000"/>
                <a:gd name="connsiteX352" fmla="*/ 4749 w 10000"/>
                <a:gd name="connsiteY352" fmla="*/ 8084 h 10000"/>
                <a:gd name="connsiteX353" fmla="*/ 4711 w 10000"/>
                <a:gd name="connsiteY353" fmla="*/ 8180 h 10000"/>
                <a:gd name="connsiteX354" fmla="*/ 4668 w 10000"/>
                <a:gd name="connsiteY354" fmla="*/ 8263 h 10000"/>
                <a:gd name="connsiteX355" fmla="*/ 4617 w 10000"/>
                <a:gd name="connsiteY355" fmla="*/ 8341 h 10000"/>
                <a:gd name="connsiteX356" fmla="*/ 4573 w 10000"/>
                <a:gd name="connsiteY356" fmla="*/ 8413 h 10000"/>
                <a:gd name="connsiteX357" fmla="*/ 4523 w 10000"/>
                <a:gd name="connsiteY357" fmla="*/ 8497 h 10000"/>
                <a:gd name="connsiteX358" fmla="*/ 4492 w 10000"/>
                <a:gd name="connsiteY358" fmla="*/ 8575 h 10000"/>
                <a:gd name="connsiteX359" fmla="*/ 4473 w 10000"/>
                <a:gd name="connsiteY359" fmla="*/ 8611 h 10000"/>
                <a:gd name="connsiteX360" fmla="*/ 4467 w 10000"/>
                <a:gd name="connsiteY360" fmla="*/ 8653 h 10000"/>
                <a:gd name="connsiteX361" fmla="*/ 4460 w 10000"/>
                <a:gd name="connsiteY361" fmla="*/ 8701 h 10000"/>
                <a:gd name="connsiteX362" fmla="*/ 4454 w 10000"/>
                <a:gd name="connsiteY362" fmla="*/ 8743 h 10000"/>
                <a:gd name="connsiteX363" fmla="*/ 4460 w 10000"/>
                <a:gd name="connsiteY363" fmla="*/ 8760 h 10000"/>
                <a:gd name="connsiteX364" fmla="*/ 4467 w 10000"/>
                <a:gd name="connsiteY364" fmla="*/ 8772 h 10000"/>
                <a:gd name="connsiteX365" fmla="*/ 4479 w 10000"/>
                <a:gd name="connsiteY365" fmla="*/ 8784 h 10000"/>
                <a:gd name="connsiteX366" fmla="*/ 4504 w 10000"/>
                <a:gd name="connsiteY366" fmla="*/ 8796 h 10000"/>
                <a:gd name="connsiteX367" fmla="*/ 4542 w 10000"/>
                <a:gd name="connsiteY367" fmla="*/ 8820 h 10000"/>
                <a:gd name="connsiteX368" fmla="*/ 4580 w 10000"/>
                <a:gd name="connsiteY368" fmla="*/ 8826 h 10000"/>
                <a:gd name="connsiteX369" fmla="*/ 4580 w 10000"/>
                <a:gd name="connsiteY369" fmla="*/ 9042 h 10000"/>
                <a:gd name="connsiteX370" fmla="*/ 4529 w 10000"/>
                <a:gd name="connsiteY370" fmla="*/ 9126 h 10000"/>
                <a:gd name="connsiteX371" fmla="*/ 4492 w 10000"/>
                <a:gd name="connsiteY371" fmla="*/ 9216 h 10000"/>
                <a:gd name="connsiteX372" fmla="*/ 4460 w 10000"/>
                <a:gd name="connsiteY372" fmla="*/ 9251 h 10000"/>
                <a:gd name="connsiteX373" fmla="*/ 4429 w 10000"/>
                <a:gd name="connsiteY373" fmla="*/ 9275 h 10000"/>
                <a:gd name="connsiteX374" fmla="*/ 4404 w 10000"/>
                <a:gd name="connsiteY374" fmla="*/ 9287 h 10000"/>
                <a:gd name="connsiteX375" fmla="*/ 4385 w 10000"/>
                <a:gd name="connsiteY375" fmla="*/ 9293 h 10000"/>
                <a:gd name="connsiteX376" fmla="*/ 4360 w 10000"/>
                <a:gd name="connsiteY376" fmla="*/ 9299 h 10000"/>
                <a:gd name="connsiteX377" fmla="*/ 4329 w 10000"/>
                <a:gd name="connsiteY377" fmla="*/ 9299 h 10000"/>
                <a:gd name="connsiteX378" fmla="*/ 4329 w 10000"/>
                <a:gd name="connsiteY378" fmla="*/ 9347 h 10000"/>
                <a:gd name="connsiteX379" fmla="*/ 4335 w 10000"/>
                <a:gd name="connsiteY379" fmla="*/ 9407 h 10000"/>
                <a:gd name="connsiteX380" fmla="*/ 4348 w 10000"/>
                <a:gd name="connsiteY380" fmla="*/ 9437 h 10000"/>
                <a:gd name="connsiteX381" fmla="*/ 4354 w 10000"/>
                <a:gd name="connsiteY381" fmla="*/ 9461 h 10000"/>
                <a:gd name="connsiteX382" fmla="*/ 4360 w 10000"/>
                <a:gd name="connsiteY382" fmla="*/ 9479 h 10000"/>
                <a:gd name="connsiteX383" fmla="*/ 4373 w 10000"/>
                <a:gd name="connsiteY383" fmla="*/ 9485 h 10000"/>
                <a:gd name="connsiteX384" fmla="*/ 4210 w 10000"/>
                <a:gd name="connsiteY384" fmla="*/ 9611 h 10000"/>
                <a:gd name="connsiteX385" fmla="*/ 4072 w 10000"/>
                <a:gd name="connsiteY385" fmla="*/ 9713 h 10000"/>
                <a:gd name="connsiteX386" fmla="*/ 4009 w 10000"/>
                <a:gd name="connsiteY386" fmla="*/ 9772 h 10000"/>
                <a:gd name="connsiteX387" fmla="*/ 3952 w 10000"/>
                <a:gd name="connsiteY387" fmla="*/ 9838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4 h 10000"/>
                <a:gd name="connsiteX393" fmla="*/ 3563 w 10000"/>
                <a:gd name="connsiteY393" fmla="*/ 9826 h 10000"/>
                <a:gd name="connsiteX394" fmla="*/ 3532 w 10000"/>
                <a:gd name="connsiteY394" fmla="*/ 9766 h 10000"/>
                <a:gd name="connsiteX395" fmla="*/ 3513 w 10000"/>
                <a:gd name="connsiteY395" fmla="*/ 9707 h 10000"/>
                <a:gd name="connsiteX396" fmla="*/ 3482 w 10000"/>
                <a:gd name="connsiteY396" fmla="*/ 9635 h 10000"/>
                <a:gd name="connsiteX397" fmla="*/ 3457 w 10000"/>
                <a:gd name="connsiteY397" fmla="*/ 9563 h 10000"/>
                <a:gd name="connsiteX398" fmla="*/ 3400 w 10000"/>
                <a:gd name="connsiteY398" fmla="*/ 9425 h 10000"/>
                <a:gd name="connsiteX399" fmla="*/ 3325 w 10000"/>
                <a:gd name="connsiteY399" fmla="*/ 9293 h 10000"/>
                <a:gd name="connsiteX400" fmla="*/ 3237 w 10000"/>
                <a:gd name="connsiteY400" fmla="*/ 9156 h 10000"/>
                <a:gd name="connsiteX401" fmla="*/ 3143 w 10000"/>
                <a:gd name="connsiteY401" fmla="*/ 9012 h 10000"/>
                <a:gd name="connsiteX402" fmla="*/ 3049 w 10000"/>
                <a:gd name="connsiteY402" fmla="*/ 8880 h 10000"/>
                <a:gd name="connsiteX403" fmla="*/ 2967 w 10000"/>
                <a:gd name="connsiteY403" fmla="*/ 8749 h 10000"/>
                <a:gd name="connsiteX404" fmla="*/ 2892 w 10000"/>
                <a:gd name="connsiteY404" fmla="*/ 8629 h 10000"/>
                <a:gd name="connsiteX405" fmla="*/ 2829 w 10000"/>
                <a:gd name="connsiteY405" fmla="*/ 8527 h 10000"/>
                <a:gd name="connsiteX406" fmla="*/ 2773 w 10000"/>
                <a:gd name="connsiteY406" fmla="*/ 8413 h 10000"/>
                <a:gd name="connsiteX407" fmla="*/ 2735 w 10000"/>
                <a:gd name="connsiteY407" fmla="*/ 8311 h 10000"/>
                <a:gd name="connsiteX408" fmla="*/ 2698 w 10000"/>
                <a:gd name="connsiteY408" fmla="*/ 8204 h 10000"/>
                <a:gd name="connsiteX409" fmla="*/ 2666 w 10000"/>
                <a:gd name="connsiteY409" fmla="*/ 8096 h 10000"/>
                <a:gd name="connsiteX410" fmla="*/ 2629 w 10000"/>
                <a:gd name="connsiteY410" fmla="*/ 7988 h 10000"/>
                <a:gd name="connsiteX411" fmla="*/ 2597 w 10000"/>
                <a:gd name="connsiteY411" fmla="*/ 7880 h 10000"/>
                <a:gd name="connsiteX412" fmla="*/ 2553 w 10000"/>
                <a:gd name="connsiteY412" fmla="*/ 7760 h 10000"/>
                <a:gd name="connsiteX413" fmla="*/ 2497 w 10000"/>
                <a:gd name="connsiteY413" fmla="*/ 7641 h 10000"/>
                <a:gd name="connsiteX414" fmla="*/ 2359 w 10000"/>
                <a:gd name="connsiteY414" fmla="*/ 7449 h 10000"/>
                <a:gd name="connsiteX415" fmla="*/ 2208 w 10000"/>
                <a:gd name="connsiteY415" fmla="*/ 7269 h 10000"/>
                <a:gd name="connsiteX416" fmla="*/ 2139 w 10000"/>
                <a:gd name="connsiteY416" fmla="*/ 7186 h 10000"/>
                <a:gd name="connsiteX417" fmla="*/ 2070 w 10000"/>
                <a:gd name="connsiteY417" fmla="*/ 7090 h 10000"/>
                <a:gd name="connsiteX418" fmla="*/ 2008 w 10000"/>
                <a:gd name="connsiteY418" fmla="*/ 7000 h 10000"/>
                <a:gd name="connsiteX419" fmla="*/ 1957 w 10000"/>
                <a:gd name="connsiteY419" fmla="*/ 6904 h 10000"/>
                <a:gd name="connsiteX420" fmla="*/ 1888 w 10000"/>
                <a:gd name="connsiteY420" fmla="*/ 6671 h 10000"/>
                <a:gd name="connsiteX421" fmla="*/ 1832 w 10000"/>
                <a:gd name="connsiteY421" fmla="*/ 6455 h 10000"/>
                <a:gd name="connsiteX422" fmla="*/ 1782 w 10000"/>
                <a:gd name="connsiteY422" fmla="*/ 6246 h 10000"/>
                <a:gd name="connsiteX423" fmla="*/ 1757 w 10000"/>
                <a:gd name="connsiteY423" fmla="*/ 6036 h 10000"/>
                <a:gd name="connsiteX424" fmla="*/ 1725 w 10000"/>
                <a:gd name="connsiteY424" fmla="*/ 5832 h 10000"/>
                <a:gd name="connsiteX425" fmla="*/ 1713 w 10000"/>
                <a:gd name="connsiteY425" fmla="*/ 5617 h 10000"/>
                <a:gd name="connsiteX426" fmla="*/ 1706 w 10000"/>
                <a:gd name="connsiteY426" fmla="*/ 5395 h 10000"/>
                <a:gd name="connsiteX427" fmla="*/ 1706 w 10000"/>
                <a:gd name="connsiteY427" fmla="*/ 5174 h 10000"/>
                <a:gd name="connsiteX428" fmla="*/ 1681 w 10000"/>
                <a:gd name="connsiteY428" fmla="*/ 5168 h 10000"/>
                <a:gd name="connsiteX429" fmla="*/ 1650 w 10000"/>
                <a:gd name="connsiteY429" fmla="*/ 5162 h 10000"/>
                <a:gd name="connsiteX430" fmla="*/ 1625 w 10000"/>
                <a:gd name="connsiteY430" fmla="*/ 5156 h 10000"/>
                <a:gd name="connsiteX431" fmla="*/ 1606 w 10000"/>
                <a:gd name="connsiteY431" fmla="*/ 5132 h 10000"/>
                <a:gd name="connsiteX432" fmla="*/ 1581 w 10000"/>
                <a:gd name="connsiteY432" fmla="*/ 5120 h 10000"/>
                <a:gd name="connsiteX433" fmla="*/ 1568 w 10000"/>
                <a:gd name="connsiteY433" fmla="*/ 5102 h 10000"/>
                <a:gd name="connsiteX434" fmla="*/ 1550 w 10000"/>
                <a:gd name="connsiteY434" fmla="*/ 5078 h 10000"/>
                <a:gd name="connsiteX435" fmla="*/ 1543 w 10000"/>
                <a:gd name="connsiteY435" fmla="*/ 5054 h 10000"/>
                <a:gd name="connsiteX436" fmla="*/ 1518 w 10000"/>
                <a:gd name="connsiteY436" fmla="*/ 5006 h 10000"/>
                <a:gd name="connsiteX437" fmla="*/ 1506 w 10000"/>
                <a:gd name="connsiteY437" fmla="*/ 4952 h 10000"/>
                <a:gd name="connsiteX438" fmla="*/ 1499 w 10000"/>
                <a:gd name="connsiteY438" fmla="*/ 4892 h 10000"/>
                <a:gd name="connsiteX439" fmla="*/ 1499 w 10000"/>
                <a:gd name="connsiteY439" fmla="*/ 4838 h 10000"/>
                <a:gd name="connsiteX440" fmla="*/ 1443 w 10000"/>
                <a:gd name="connsiteY440" fmla="*/ 4874 h 10000"/>
                <a:gd name="connsiteX441" fmla="*/ 1405 w 10000"/>
                <a:gd name="connsiteY441" fmla="*/ 4916 h 10000"/>
                <a:gd name="connsiteX442" fmla="*/ 1361 w 10000"/>
                <a:gd name="connsiteY442" fmla="*/ 4958 h 10000"/>
                <a:gd name="connsiteX443" fmla="*/ 1317 w 10000"/>
                <a:gd name="connsiteY443" fmla="*/ 5006 h 10000"/>
                <a:gd name="connsiteX444" fmla="*/ 1261 w 10000"/>
                <a:gd name="connsiteY444" fmla="*/ 5102 h 10000"/>
                <a:gd name="connsiteX445" fmla="*/ 1205 w 10000"/>
                <a:gd name="connsiteY445" fmla="*/ 5204 h 10000"/>
                <a:gd name="connsiteX446" fmla="*/ 1167 w 10000"/>
                <a:gd name="connsiteY446" fmla="*/ 5246 h 10000"/>
                <a:gd name="connsiteX447" fmla="*/ 1142 w 10000"/>
                <a:gd name="connsiteY447" fmla="*/ 5287 h 10000"/>
                <a:gd name="connsiteX448" fmla="*/ 1104 w 10000"/>
                <a:gd name="connsiteY448" fmla="*/ 5329 h 10000"/>
                <a:gd name="connsiteX449" fmla="*/ 1073 w 10000"/>
                <a:gd name="connsiteY449" fmla="*/ 5359 h 10000"/>
                <a:gd name="connsiteX450" fmla="*/ 1029 w 10000"/>
                <a:gd name="connsiteY450" fmla="*/ 5389 h 10000"/>
                <a:gd name="connsiteX451" fmla="*/ 985 w 10000"/>
                <a:gd name="connsiteY451" fmla="*/ 5407 h 10000"/>
                <a:gd name="connsiteX452" fmla="*/ 928 w 10000"/>
                <a:gd name="connsiteY452" fmla="*/ 5419 h 10000"/>
                <a:gd name="connsiteX453" fmla="*/ 872 w 10000"/>
                <a:gd name="connsiteY453" fmla="*/ 5425 h 10000"/>
                <a:gd name="connsiteX454" fmla="*/ 841 w 10000"/>
                <a:gd name="connsiteY454" fmla="*/ 5419 h 10000"/>
                <a:gd name="connsiteX455" fmla="*/ 797 w 10000"/>
                <a:gd name="connsiteY455" fmla="*/ 5407 h 10000"/>
                <a:gd name="connsiteX456" fmla="*/ 753 w 10000"/>
                <a:gd name="connsiteY456" fmla="*/ 5389 h 10000"/>
                <a:gd name="connsiteX457" fmla="*/ 709 w 10000"/>
                <a:gd name="connsiteY457" fmla="*/ 5359 h 10000"/>
                <a:gd name="connsiteX458" fmla="*/ 659 w 10000"/>
                <a:gd name="connsiteY458" fmla="*/ 5323 h 10000"/>
                <a:gd name="connsiteX459" fmla="*/ 609 w 10000"/>
                <a:gd name="connsiteY459" fmla="*/ 5287 h 10000"/>
                <a:gd name="connsiteX460" fmla="*/ 565 w 10000"/>
                <a:gd name="connsiteY460" fmla="*/ 5246 h 10000"/>
                <a:gd name="connsiteX461" fmla="*/ 514 w 10000"/>
                <a:gd name="connsiteY461" fmla="*/ 5198 h 10000"/>
                <a:gd name="connsiteX462" fmla="*/ 471 w 10000"/>
                <a:gd name="connsiteY462" fmla="*/ 5150 h 10000"/>
                <a:gd name="connsiteX463" fmla="*/ 433 w 10000"/>
                <a:gd name="connsiteY463" fmla="*/ 5096 h 10000"/>
                <a:gd name="connsiteX464" fmla="*/ 389 w 10000"/>
                <a:gd name="connsiteY464" fmla="*/ 5042 h 10000"/>
                <a:gd name="connsiteX465" fmla="*/ 358 w 10000"/>
                <a:gd name="connsiteY465" fmla="*/ 4988 h 10000"/>
                <a:gd name="connsiteX466" fmla="*/ 326 w 10000"/>
                <a:gd name="connsiteY466" fmla="*/ 4940 h 10000"/>
                <a:gd name="connsiteX467" fmla="*/ 307 w 10000"/>
                <a:gd name="connsiteY467" fmla="*/ 4892 h 10000"/>
                <a:gd name="connsiteX468" fmla="*/ 295 w 10000"/>
                <a:gd name="connsiteY468" fmla="*/ 4844 h 10000"/>
                <a:gd name="connsiteX469" fmla="*/ 289 w 10000"/>
                <a:gd name="connsiteY469" fmla="*/ 4796 h 10000"/>
                <a:gd name="connsiteX470" fmla="*/ 320 w 10000"/>
                <a:gd name="connsiteY470" fmla="*/ 4778 h 10000"/>
                <a:gd name="connsiteX471" fmla="*/ 395 w 10000"/>
                <a:gd name="connsiteY471" fmla="*/ 4743 h 10000"/>
                <a:gd name="connsiteX472" fmla="*/ 483 w 10000"/>
                <a:gd name="connsiteY472" fmla="*/ 4707 h 10000"/>
                <a:gd name="connsiteX473" fmla="*/ 533 w 10000"/>
                <a:gd name="connsiteY473" fmla="*/ 4689 h 10000"/>
                <a:gd name="connsiteX474" fmla="*/ 483 w 10000"/>
                <a:gd name="connsiteY474" fmla="*/ 4689 h 10000"/>
                <a:gd name="connsiteX475" fmla="*/ 420 w 10000"/>
                <a:gd name="connsiteY475" fmla="*/ 4683 h 10000"/>
                <a:gd name="connsiteX476" fmla="*/ 370 w 10000"/>
                <a:gd name="connsiteY476" fmla="*/ 4671 h 10000"/>
                <a:gd name="connsiteX477" fmla="*/ 320 w 10000"/>
                <a:gd name="connsiteY477" fmla="*/ 4665 h 10000"/>
                <a:gd name="connsiteX478" fmla="*/ 276 w 10000"/>
                <a:gd name="connsiteY478" fmla="*/ 4647 h 10000"/>
                <a:gd name="connsiteX479" fmla="*/ 232 w 10000"/>
                <a:gd name="connsiteY479" fmla="*/ 4635 h 10000"/>
                <a:gd name="connsiteX480" fmla="*/ 188 w 10000"/>
                <a:gd name="connsiteY480" fmla="*/ 4617 h 10000"/>
                <a:gd name="connsiteX481" fmla="*/ 157 w 10000"/>
                <a:gd name="connsiteY481" fmla="*/ 4593 h 10000"/>
                <a:gd name="connsiteX482" fmla="*/ 132 w 10000"/>
                <a:gd name="connsiteY482" fmla="*/ 4569 h 10000"/>
                <a:gd name="connsiteX483" fmla="*/ 100 w 10000"/>
                <a:gd name="connsiteY483" fmla="*/ 4545 h 10000"/>
                <a:gd name="connsiteX484" fmla="*/ 75 w 10000"/>
                <a:gd name="connsiteY484" fmla="*/ 4515 h 10000"/>
                <a:gd name="connsiteX485" fmla="*/ 50 w 10000"/>
                <a:gd name="connsiteY485" fmla="*/ 4491 h 10000"/>
                <a:gd name="connsiteX486" fmla="*/ 19 w 10000"/>
                <a:gd name="connsiteY486" fmla="*/ 4419 h 10000"/>
                <a:gd name="connsiteX487" fmla="*/ 0 w 10000"/>
                <a:gd name="connsiteY487" fmla="*/ 4353 h 10000"/>
                <a:gd name="connsiteX488" fmla="*/ 63 w 10000"/>
                <a:gd name="connsiteY488" fmla="*/ 4305 h 10000"/>
                <a:gd name="connsiteX489" fmla="*/ 132 w 10000"/>
                <a:gd name="connsiteY489" fmla="*/ 4269 h 10000"/>
                <a:gd name="connsiteX490" fmla="*/ 201 w 10000"/>
                <a:gd name="connsiteY490" fmla="*/ 4240 h 10000"/>
                <a:gd name="connsiteX491" fmla="*/ 276 w 10000"/>
                <a:gd name="connsiteY491" fmla="*/ 4216 h 10000"/>
                <a:gd name="connsiteX492" fmla="*/ 420 w 10000"/>
                <a:gd name="connsiteY492" fmla="*/ 4186 h 10000"/>
                <a:gd name="connsiteX493" fmla="*/ 565 w 10000"/>
                <a:gd name="connsiteY493" fmla="*/ 4162 h 10000"/>
                <a:gd name="connsiteX494" fmla="*/ 640 w 10000"/>
                <a:gd name="connsiteY494" fmla="*/ 4150 h 10000"/>
                <a:gd name="connsiteX495" fmla="*/ 709 w 10000"/>
                <a:gd name="connsiteY495" fmla="*/ 4126 h 10000"/>
                <a:gd name="connsiteX496" fmla="*/ 772 w 10000"/>
                <a:gd name="connsiteY496" fmla="*/ 4108 h 10000"/>
                <a:gd name="connsiteX497" fmla="*/ 834 w 10000"/>
                <a:gd name="connsiteY497" fmla="*/ 4078 h 10000"/>
                <a:gd name="connsiteX498" fmla="*/ 891 w 10000"/>
                <a:gd name="connsiteY498" fmla="*/ 4048 h 10000"/>
                <a:gd name="connsiteX499" fmla="*/ 947 w 10000"/>
                <a:gd name="connsiteY499" fmla="*/ 4000 h 10000"/>
                <a:gd name="connsiteX500" fmla="*/ 997 w 10000"/>
                <a:gd name="connsiteY500" fmla="*/ 3946 h 10000"/>
                <a:gd name="connsiteX501" fmla="*/ 1035 w 10000"/>
                <a:gd name="connsiteY501" fmla="*/ 3880 h 10000"/>
                <a:gd name="connsiteX502" fmla="*/ 1010 w 10000"/>
                <a:gd name="connsiteY502" fmla="*/ 3868 h 10000"/>
                <a:gd name="connsiteX503" fmla="*/ 985 w 10000"/>
                <a:gd name="connsiteY503" fmla="*/ 3850 h 10000"/>
                <a:gd name="connsiteX504" fmla="*/ 947 w 10000"/>
                <a:gd name="connsiteY504" fmla="*/ 3826 h 10000"/>
                <a:gd name="connsiteX505" fmla="*/ 910 w 10000"/>
                <a:gd name="connsiteY505" fmla="*/ 3790 h 10000"/>
                <a:gd name="connsiteX506" fmla="*/ 822 w 10000"/>
                <a:gd name="connsiteY506" fmla="*/ 3719 h 10000"/>
                <a:gd name="connsiteX507" fmla="*/ 740 w 10000"/>
                <a:gd name="connsiteY507" fmla="*/ 3635 h 10000"/>
                <a:gd name="connsiteX508" fmla="*/ 665 w 10000"/>
                <a:gd name="connsiteY508" fmla="*/ 3545 h 10000"/>
                <a:gd name="connsiteX509" fmla="*/ 596 w 10000"/>
                <a:gd name="connsiteY509" fmla="*/ 3449 h 10000"/>
                <a:gd name="connsiteX510" fmla="*/ 577 w 10000"/>
                <a:gd name="connsiteY510" fmla="*/ 3407 h 10000"/>
                <a:gd name="connsiteX511" fmla="*/ 558 w 10000"/>
                <a:gd name="connsiteY511" fmla="*/ 3365 h 10000"/>
                <a:gd name="connsiteX512" fmla="*/ 540 w 10000"/>
                <a:gd name="connsiteY512" fmla="*/ 3323 h 10000"/>
                <a:gd name="connsiteX513" fmla="*/ 533 w 10000"/>
                <a:gd name="connsiteY513" fmla="*/ 3287 h 10000"/>
                <a:gd name="connsiteX514" fmla="*/ 508 w 10000"/>
                <a:gd name="connsiteY514" fmla="*/ 3281 h 10000"/>
                <a:gd name="connsiteX515" fmla="*/ 483 w 10000"/>
                <a:gd name="connsiteY515" fmla="*/ 3275 h 10000"/>
                <a:gd name="connsiteX516" fmla="*/ 458 w 10000"/>
                <a:gd name="connsiteY516" fmla="*/ 3263 h 10000"/>
                <a:gd name="connsiteX517" fmla="*/ 439 w 10000"/>
                <a:gd name="connsiteY517" fmla="*/ 3240 h 10000"/>
                <a:gd name="connsiteX518" fmla="*/ 402 w 10000"/>
                <a:gd name="connsiteY518" fmla="*/ 3198 h 10000"/>
                <a:gd name="connsiteX519" fmla="*/ 370 w 10000"/>
                <a:gd name="connsiteY519" fmla="*/ 3138 h 10000"/>
                <a:gd name="connsiteX520" fmla="*/ 370 w 10000"/>
                <a:gd name="connsiteY520" fmla="*/ 2994 h 10000"/>
                <a:gd name="connsiteX521" fmla="*/ 458 w 10000"/>
                <a:gd name="connsiteY521" fmla="*/ 2988 h 10000"/>
                <a:gd name="connsiteX522" fmla="*/ 540 w 10000"/>
                <a:gd name="connsiteY522" fmla="*/ 2982 h 10000"/>
                <a:gd name="connsiteX523" fmla="*/ 615 w 10000"/>
                <a:gd name="connsiteY523" fmla="*/ 2970 h 10000"/>
                <a:gd name="connsiteX524" fmla="*/ 684 w 10000"/>
                <a:gd name="connsiteY524" fmla="*/ 2946 h 10000"/>
                <a:gd name="connsiteX525" fmla="*/ 747 w 10000"/>
                <a:gd name="connsiteY525" fmla="*/ 2928 h 10000"/>
                <a:gd name="connsiteX526" fmla="*/ 809 w 10000"/>
                <a:gd name="connsiteY526" fmla="*/ 2898 h 10000"/>
                <a:gd name="connsiteX527" fmla="*/ 866 w 10000"/>
                <a:gd name="connsiteY527" fmla="*/ 2868 h 10000"/>
                <a:gd name="connsiteX528" fmla="*/ 922 w 10000"/>
                <a:gd name="connsiteY528" fmla="*/ 2832 h 10000"/>
                <a:gd name="connsiteX529" fmla="*/ 966 w 10000"/>
                <a:gd name="connsiteY529" fmla="*/ 2790 h 10000"/>
                <a:gd name="connsiteX530" fmla="*/ 1016 w 10000"/>
                <a:gd name="connsiteY530" fmla="*/ 2749 h 10000"/>
                <a:gd name="connsiteX531" fmla="*/ 1060 w 10000"/>
                <a:gd name="connsiteY531" fmla="*/ 2707 h 10000"/>
                <a:gd name="connsiteX532" fmla="*/ 1098 w 10000"/>
                <a:gd name="connsiteY532" fmla="*/ 2659 h 10000"/>
                <a:gd name="connsiteX533" fmla="*/ 1167 w 10000"/>
                <a:gd name="connsiteY533" fmla="*/ 2563 h 10000"/>
                <a:gd name="connsiteX534" fmla="*/ 1236 w 10000"/>
                <a:gd name="connsiteY534" fmla="*/ 2455 h 10000"/>
                <a:gd name="connsiteX535" fmla="*/ 1355 w 10000"/>
                <a:gd name="connsiteY535" fmla="*/ 2240 h 10000"/>
                <a:gd name="connsiteX536" fmla="*/ 1474 w 10000"/>
                <a:gd name="connsiteY536" fmla="*/ 2024 h 10000"/>
                <a:gd name="connsiteX537" fmla="*/ 1543 w 10000"/>
                <a:gd name="connsiteY537" fmla="*/ 1928 h 10000"/>
                <a:gd name="connsiteX538" fmla="*/ 1612 w 10000"/>
                <a:gd name="connsiteY538" fmla="*/ 1844 h 10000"/>
                <a:gd name="connsiteX539" fmla="*/ 1650 w 10000"/>
                <a:gd name="connsiteY539" fmla="*/ 1796 h 10000"/>
                <a:gd name="connsiteX540" fmla="*/ 1694 w 10000"/>
                <a:gd name="connsiteY540" fmla="*/ 1760 h 10000"/>
                <a:gd name="connsiteX541" fmla="*/ 1738 w 10000"/>
                <a:gd name="connsiteY541" fmla="*/ 1731 h 10000"/>
                <a:gd name="connsiteX542" fmla="*/ 1788 w 10000"/>
                <a:gd name="connsiteY542" fmla="*/ 1701 h 10000"/>
                <a:gd name="connsiteX543" fmla="*/ 1750 w 10000"/>
                <a:gd name="connsiteY543" fmla="*/ 1629 h 10000"/>
                <a:gd name="connsiteX544" fmla="*/ 1719 w 10000"/>
                <a:gd name="connsiteY544" fmla="*/ 1563 h 10000"/>
                <a:gd name="connsiteX545" fmla="*/ 1713 w 10000"/>
                <a:gd name="connsiteY545" fmla="*/ 1533 h 10000"/>
                <a:gd name="connsiteX546" fmla="*/ 1706 w 10000"/>
                <a:gd name="connsiteY546" fmla="*/ 1503 h 10000"/>
                <a:gd name="connsiteX547" fmla="*/ 1706 w 10000"/>
                <a:gd name="connsiteY547" fmla="*/ 1467 h 10000"/>
                <a:gd name="connsiteX548" fmla="*/ 1706 w 10000"/>
                <a:gd name="connsiteY548" fmla="*/ 1437 h 10000"/>
                <a:gd name="connsiteX549" fmla="*/ 1713 w 10000"/>
                <a:gd name="connsiteY549" fmla="*/ 1407 h 10000"/>
                <a:gd name="connsiteX550" fmla="*/ 1719 w 10000"/>
                <a:gd name="connsiteY550" fmla="*/ 1377 h 10000"/>
                <a:gd name="connsiteX551" fmla="*/ 1731 w 10000"/>
                <a:gd name="connsiteY551" fmla="*/ 1353 h 10000"/>
                <a:gd name="connsiteX552" fmla="*/ 1757 w 10000"/>
                <a:gd name="connsiteY552" fmla="*/ 1329 h 10000"/>
                <a:gd name="connsiteX553" fmla="*/ 1775 w 10000"/>
                <a:gd name="connsiteY553" fmla="*/ 1311 h 10000"/>
                <a:gd name="connsiteX554" fmla="*/ 1801 w 10000"/>
                <a:gd name="connsiteY554" fmla="*/ 1293 h 10000"/>
                <a:gd name="connsiteX555" fmla="*/ 1838 w 10000"/>
                <a:gd name="connsiteY555" fmla="*/ 1275 h 10000"/>
                <a:gd name="connsiteX556" fmla="*/ 1870 w 10000"/>
                <a:gd name="connsiteY556" fmla="*/ 1257 h 10000"/>
                <a:gd name="connsiteX557" fmla="*/ 1688 w 10000"/>
                <a:gd name="connsiteY557" fmla="*/ 1096 h 10000"/>
                <a:gd name="connsiteX558" fmla="*/ 1550 w 10000"/>
                <a:gd name="connsiteY558" fmla="*/ 976 h 10000"/>
                <a:gd name="connsiteX559" fmla="*/ 1487 w 10000"/>
                <a:gd name="connsiteY559" fmla="*/ 916 h 10000"/>
                <a:gd name="connsiteX560" fmla="*/ 1424 w 10000"/>
                <a:gd name="connsiteY560" fmla="*/ 850 h 10000"/>
                <a:gd name="connsiteX561" fmla="*/ 1361 w 10000"/>
                <a:gd name="connsiteY561" fmla="*/ 766 h 10000"/>
                <a:gd name="connsiteX562" fmla="*/ 1286 w 10000"/>
                <a:gd name="connsiteY562" fmla="*/ 665 h 10000"/>
                <a:gd name="connsiteX563" fmla="*/ 1286 w 10000"/>
                <a:gd name="connsiteY563" fmla="*/ 407 h 10000"/>
                <a:gd name="connsiteX564" fmla="*/ 1437 w 10000"/>
                <a:gd name="connsiteY564" fmla="*/ 407 h 10000"/>
                <a:gd name="connsiteX565" fmla="*/ 1606 w 10000"/>
                <a:gd name="connsiteY565" fmla="*/ 395 h 10000"/>
                <a:gd name="connsiteX566" fmla="*/ 1694 w 10000"/>
                <a:gd name="connsiteY566" fmla="*/ 389 h 10000"/>
                <a:gd name="connsiteX567" fmla="*/ 1775 w 10000"/>
                <a:gd name="connsiteY567" fmla="*/ 377 h 10000"/>
                <a:gd name="connsiteX568" fmla="*/ 1863 w 10000"/>
                <a:gd name="connsiteY568" fmla="*/ 359 h 10000"/>
                <a:gd name="connsiteX569" fmla="*/ 1945 w 10000"/>
                <a:gd name="connsiteY569" fmla="*/ 341 h 10000"/>
                <a:gd name="connsiteX570" fmla="*/ 2020 w 10000"/>
                <a:gd name="connsiteY570" fmla="*/ 323 h 10000"/>
                <a:gd name="connsiteX571" fmla="*/ 2102 w 10000"/>
                <a:gd name="connsiteY571" fmla="*/ 293 h 10000"/>
                <a:gd name="connsiteX572" fmla="*/ 2177 w 10000"/>
                <a:gd name="connsiteY572" fmla="*/ 263 h 10000"/>
                <a:gd name="connsiteX573" fmla="*/ 2240 w 10000"/>
                <a:gd name="connsiteY573" fmla="*/ 222 h 10000"/>
                <a:gd name="connsiteX574" fmla="*/ 2296 w 10000"/>
                <a:gd name="connsiteY574" fmla="*/ 180 h 10000"/>
                <a:gd name="connsiteX575" fmla="*/ 2415 w 10000"/>
                <a:gd name="connsiteY575" fmla="*/ 17 h 10000"/>
                <a:gd name="connsiteX576" fmla="*/ 2631 w 10000"/>
                <a:gd name="connsiteY576" fmla="*/ 93 h 10000"/>
                <a:gd name="connsiteX577" fmla="*/ 2415 w 10000"/>
                <a:gd name="connsiteY577" fmla="*/ 0 h 10000"/>
                <a:gd name="connsiteX0" fmla="*/ 2415 w 10000"/>
                <a:gd name="connsiteY0" fmla="*/ 0 h 10000"/>
                <a:gd name="connsiteX1" fmla="*/ 2509 w 10000"/>
                <a:gd name="connsiteY1" fmla="*/ 96 h 10000"/>
                <a:gd name="connsiteX2" fmla="*/ 2818 w 10000"/>
                <a:gd name="connsiteY2" fmla="*/ 62 h 10000"/>
                <a:gd name="connsiteX3" fmla="*/ 2776 w 10000"/>
                <a:gd name="connsiteY3" fmla="*/ 144 h 10000"/>
                <a:gd name="connsiteX4" fmla="*/ 2817 w 10000"/>
                <a:gd name="connsiteY4" fmla="*/ 124 h 10000"/>
                <a:gd name="connsiteX5" fmla="*/ 3052 w 10000"/>
                <a:gd name="connsiteY5" fmla="*/ 159 h 10000"/>
                <a:gd name="connsiteX6" fmla="*/ 3121 w 10000"/>
                <a:gd name="connsiteY6" fmla="*/ 264 h 10000"/>
                <a:gd name="connsiteX7" fmla="*/ 3086 w 10000"/>
                <a:gd name="connsiteY7" fmla="*/ 485 h 10000"/>
                <a:gd name="connsiteX8" fmla="*/ 3152 w 10000"/>
                <a:gd name="connsiteY8" fmla="*/ 521 h 10000"/>
                <a:gd name="connsiteX9" fmla="*/ 3093 w 10000"/>
                <a:gd name="connsiteY9" fmla="*/ 551 h 10000"/>
                <a:gd name="connsiteX10" fmla="*/ 2992 w 10000"/>
                <a:gd name="connsiteY10" fmla="*/ 641 h 10000"/>
                <a:gd name="connsiteX11" fmla="*/ 3043 w 10000"/>
                <a:gd name="connsiteY11" fmla="*/ 665 h 10000"/>
                <a:gd name="connsiteX12" fmla="*/ 3087 w 10000"/>
                <a:gd name="connsiteY12" fmla="*/ 707 h 10000"/>
                <a:gd name="connsiteX13" fmla="*/ 3130 w 10000"/>
                <a:gd name="connsiteY13" fmla="*/ 754 h 10000"/>
                <a:gd name="connsiteX14" fmla="*/ 3174 w 10000"/>
                <a:gd name="connsiteY14" fmla="*/ 802 h 10000"/>
                <a:gd name="connsiteX15" fmla="*/ 3212 w 10000"/>
                <a:gd name="connsiteY15" fmla="*/ 862 h 10000"/>
                <a:gd name="connsiteX16" fmla="*/ 3256 w 10000"/>
                <a:gd name="connsiteY16" fmla="*/ 916 h 10000"/>
                <a:gd name="connsiteX17" fmla="*/ 3281 w 10000"/>
                <a:gd name="connsiteY17" fmla="*/ 976 h 10000"/>
                <a:gd name="connsiteX18" fmla="*/ 3312 w 10000"/>
                <a:gd name="connsiteY18" fmla="*/ 1042 h 10000"/>
                <a:gd name="connsiteX19" fmla="*/ 3331 w 10000"/>
                <a:gd name="connsiteY19" fmla="*/ 1108 h 10000"/>
                <a:gd name="connsiteX20" fmla="*/ 3043 w 10000"/>
                <a:gd name="connsiteY20" fmla="*/ 1108 h 10000"/>
                <a:gd name="connsiteX21" fmla="*/ 3043 w 10000"/>
                <a:gd name="connsiteY21" fmla="*/ 1293 h 10000"/>
                <a:gd name="connsiteX22" fmla="*/ 3074 w 10000"/>
                <a:gd name="connsiteY22" fmla="*/ 1371 h 10000"/>
                <a:gd name="connsiteX23" fmla="*/ 3118 w 10000"/>
                <a:gd name="connsiteY23" fmla="*/ 1437 h 10000"/>
                <a:gd name="connsiteX24" fmla="*/ 3168 w 10000"/>
                <a:gd name="connsiteY24" fmla="*/ 1497 h 10000"/>
                <a:gd name="connsiteX25" fmla="*/ 3225 w 10000"/>
                <a:gd name="connsiteY25" fmla="*/ 1539 h 10000"/>
                <a:gd name="connsiteX26" fmla="*/ 3281 w 10000"/>
                <a:gd name="connsiteY26" fmla="*/ 1581 h 10000"/>
                <a:gd name="connsiteX27" fmla="*/ 3350 w 10000"/>
                <a:gd name="connsiteY27" fmla="*/ 1611 h 10000"/>
                <a:gd name="connsiteX28" fmla="*/ 3413 w 10000"/>
                <a:gd name="connsiteY28" fmla="*/ 1641 h 10000"/>
                <a:gd name="connsiteX29" fmla="*/ 3488 w 10000"/>
                <a:gd name="connsiteY29" fmla="*/ 1665 h 10000"/>
                <a:gd name="connsiteX30" fmla="*/ 3626 w 10000"/>
                <a:gd name="connsiteY30" fmla="*/ 1719 h 10000"/>
                <a:gd name="connsiteX31" fmla="*/ 3764 w 10000"/>
                <a:gd name="connsiteY31" fmla="*/ 1772 h 10000"/>
                <a:gd name="connsiteX32" fmla="*/ 3827 w 10000"/>
                <a:gd name="connsiteY32" fmla="*/ 1808 h 10000"/>
                <a:gd name="connsiteX33" fmla="*/ 3890 w 10000"/>
                <a:gd name="connsiteY33" fmla="*/ 1856 h 10000"/>
                <a:gd name="connsiteX34" fmla="*/ 3946 w 10000"/>
                <a:gd name="connsiteY34" fmla="*/ 1904 h 10000"/>
                <a:gd name="connsiteX35" fmla="*/ 4003 w 10000"/>
                <a:gd name="connsiteY35" fmla="*/ 1958 h 10000"/>
                <a:gd name="connsiteX36" fmla="*/ 3959 w 10000"/>
                <a:gd name="connsiteY36" fmla="*/ 2515 h 10000"/>
                <a:gd name="connsiteX37" fmla="*/ 4034 w 10000"/>
                <a:gd name="connsiteY37" fmla="*/ 2569 h 10000"/>
                <a:gd name="connsiteX38" fmla="*/ 4141 w 10000"/>
                <a:gd name="connsiteY38" fmla="*/ 2635 h 10000"/>
                <a:gd name="connsiteX39" fmla="*/ 4260 w 10000"/>
                <a:gd name="connsiteY39" fmla="*/ 2695 h 10000"/>
                <a:gd name="connsiteX40" fmla="*/ 4398 w 10000"/>
                <a:gd name="connsiteY40" fmla="*/ 2749 h 10000"/>
                <a:gd name="connsiteX41" fmla="*/ 4536 w 10000"/>
                <a:gd name="connsiteY41" fmla="*/ 2802 h 10000"/>
                <a:gd name="connsiteX42" fmla="*/ 4668 w 10000"/>
                <a:gd name="connsiteY42" fmla="*/ 2844 h 10000"/>
                <a:gd name="connsiteX43" fmla="*/ 4724 w 10000"/>
                <a:gd name="connsiteY43" fmla="*/ 2862 h 10000"/>
                <a:gd name="connsiteX44" fmla="*/ 4780 w 10000"/>
                <a:gd name="connsiteY44" fmla="*/ 2874 h 10000"/>
                <a:gd name="connsiteX45" fmla="*/ 4831 w 10000"/>
                <a:gd name="connsiteY45" fmla="*/ 2880 h 10000"/>
                <a:gd name="connsiteX46" fmla="*/ 4875 w 10000"/>
                <a:gd name="connsiteY46" fmla="*/ 2880 h 10000"/>
                <a:gd name="connsiteX47" fmla="*/ 4887 w 10000"/>
                <a:gd name="connsiteY47" fmla="*/ 2922 h 10000"/>
                <a:gd name="connsiteX48" fmla="*/ 4918 w 10000"/>
                <a:gd name="connsiteY48" fmla="*/ 2958 h 10000"/>
                <a:gd name="connsiteX49" fmla="*/ 4950 w 10000"/>
                <a:gd name="connsiteY49" fmla="*/ 2976 h 10000"/>
                <a:gd name="connsiteX50" fmla="*/ 4987 w 10000"/>
                <a:gd name="connsiteY50" fmla="*/ 2988 h 10000"/>
                <a:gd name="connsiteX51" fmla="*/ 5019 w 10000"/>
                <a:gd name="connsiteY51" fmla="*/ 3000 h 10000"/>
                <a:gd name="connsiteX52" fmla="*/ 5063 w 10000"/>
                <a:gd name="connsiteY52" fmla="*/ 3000 h 10000"/>
                <a:gd name="connsiteX53" fmla="*/ 5107 w 10000"/>
                <a:gd name="connsiteY53" fmla="*/ 2994 h 10000"/>
                <a:gd name="connsiteX54" fmla="*/ 5157 w 10000"/>
                <a:gd name="connsiteY54" fmla="*/ 2988 h 10000"/>
                <a:gd name="connsiteX55" fmla="*/ 5245 w 10000"/>
                <a:gd name="connsiteY55" fmla="*/ 2970 h 10000"/>
                <a:gd name="connsiteX56" fmla="*/ 5345 w 10000"/>
                <a:gd name="connsiteY56" fmla="*/ 2946 h 10000"/>
                <a:gd name="connsiteX57" fmla="*/ 5383 w 10000"/>
                <a:gd name="connsiteY57" fmla="*/ 2946 h 10000"/>
                <a:gd name="connsiteX58" fmla="*/ 5427 w 10000"/>
                <a:gd name="connsiteY58" fmla="*/ 2940 h 10000"/>
                <a:gd name="connsiteX59" fmla="*/ 5464 w 10000"/>
                <a:gd name="connsiteY59" fmla="*/ 2946 h 10000"/>
                <a:gd name="connsiteX60" fmla="*/ 5502 w 10000"/>
                <a:gd name="connsiteY60" fmla="*/ 2952 h 10000"/>
                <a:gd name="connsiteX61" fmla="*/ 5558 w 10000"/>
                <a:gd name="connsiteY61" fmla="*/ 2988 h 10000"/>
                <a:gd name="connsiteX62" fmla="*/ 5596 w 10000"/>
                <a:gd name="connsiteY62" fmla="*/ 3018 h 10000"/>
                <a:gd name="connsiteX63" fmla="*/ 5634 w 10000"/>
                <a:gd name="connsiteY63" fmla="*/ 3060 h 10000"/>
                <a:gd name="connsiteX64" fmla="*/ 5665 w 10000"/>
                <a:gd name="connsiteY64" fmla="*/ 3096 h 10000"/>
                <a:gd name="connsiteX65" fmla="*/ 5696 w 10000"/>
                <a:gd name="connsiteY65" fmla="*/ 3132 h 10000"/>
                <a:gd name="connsiteX66" fmla="*/ 5734 w 10000"/>
                <a:gd name="connsiteY66" fmla="*/ 3168 h 10000"/>
                <a:gd name="connsiteX67" fmla="*/ 5759 w 10000"/>
                <a:gd name="connsiteY67" fmla="*/ 3186 h 10000"/>
                <a:gd name="connsiteX68" fmla="*/ 5778 w 10000"/>
                <a:gd name="connsiteY68" fmla="*/ 3198 h 10000"/>
                <a:gd name="connsiteX69" fmla="*/ 5803 w 10000"/>
                <a:gd name="connsiteY69" fmla="*/ 3210 h 10000"/>
                <a:gd name="connsiteX70" fmla="*/ 5834 w 10000"/>
                <a:gd name="connsiteY70" fmla="*/ 3216 h 10000"/>
                <a:gd name="connsiteX71" fmla="*/ 5935 w 10000"/>
                <a:gd name="connsiteY71" fmla="*/ 3234 h 10000"/>
                <a:gd name="connsiteX72" fmla="*/ 6073 w 10000"/>
                <a:gd name="connsiteY72" fmla="*/ 3269 h 10000"/>
                <a:gd name="connsiteX73" fmla="*/ 6230 w 10000"/>
                <a:gd name="connsiteY73" fmla="*/ 3305 h 10000"/>
                <a:gd name="connsiteX74" fmla="*/ 6405 w 10000"/>
                <a:gd name="connsiteY74" fmla="*/ 3347 h 10000"/>
                <a:gd name="connsiteX75" fmla="*/ 6568 w 10000"/>
                <a:gd name="connsiteY75" fmla="*/ 3377 h 10000"/>
                <a:gd name="connsiteX76" fmla="*/ 6719 w 10000"/>
                <a:gd name="connsiteY76" fmla="*/ 3401 h 10000"/>
                <a:gd name="connsiteX77" fmla="*/ 6788 w 10000"/>
                <a:gd name="connsiteY77" fmla="*/ 3407 h 10000"/>
                <a:gd name="connsiteX78" fmla="*/ 6838 w 10000"/>
                <a:gd name="connsiteY78" fmla="*/ 3413 h 10000"/>
                <a:gd name="connsiteX79" fmla="*/ 6888 w 10000"/>
                <a:gd name="connsiteY79" fmla="*/ 3407 h 10000"/>
                <a:gd name="connsiteX80" fmla="*/ 6913 w 10000"/>
                <a:gd name="connsiteY80" fmla="*/ 3395 h 10000"/>
                <a:gd name="connsiteX81" fmla="*/ 6888 w 10000"/>
                <a:gd name="connsiteY81" fmla="*/ 3353 h 10000"/>
                <a:gd name="connsiteX82" fmla="*/ 6857 w 10000"/>
                <a:gd name="connsiteY82" fmla="*/ 3305 h 10000"/>
                <a:gd name="connsiteX83" fmla="*/ 6838 w 10000"/>
                <a:gd name="connsiteY83" fmla="*/ 3257 h 10000"/>
                <a:gd name="connsiteX84" fmla="*/ 6826 w 10000"/>
                <a:gd name="connsiteY84" fmla="*/ 3204 h 10000"/>
                <a:gd name="connsiteX85" fmla="*/ 6794 w 10000"/>
                <a:gd name="connsiteY85" fmla="*/ 3114 h 10000"/>
                <a:gd name="connsiteX86" fmla="*/ 6788 w 10000"/>
                <a:gd name="connsiteY86" fmla="*/ 3066 h 10000"/>
                <a:gd name="connsiteX87" fmla="*/ 6788 w 10000"/>
                <a:gd name="connsiteY87" fmla="*/ 2880 h 10000"/>
                <a:gd name="connsiteX88" fmla="*/ 6788 w 10000"/>
                <a:gd name="connsiteY88" fmla="*/ 2695 h 10000"/>
                <a:gd name="connsiteX89" fmla="*/ 6995 w 10000"/>
                <a:gd name="connsiteY89" fmla="*/ 2695 h 10000"/>
                <a:gd name="connsiteX90" fmla="*/ 7033 w 10000"/>
                <a:gd name="connsiteY90" fmla="*/ 2760 h 10000"/>
                <a:gd name="connsiteX91" fmla="*/ 7058 w 10000"/>
                <a:gd name="connsiteY91" fmla="*/ 2802 h 10000"/>
                <a:gd name="connsiteX92" fmla="*/ 7095 w 10000"/>
                <a:gd name="connsiteY92" fmla="*/ 2838 h 10000"/>
                <a:gd name="connsiteX93" fmla="*/ 7127 w 10000"/>
                <a:gd name="connsiteY93" fmla="*/ 2880 h 10000"/>
                <a:gd name="connsiteX94" fmla="*/ 7120 w 10000"/>
                <a:gd name="connsiteY94" fmla="*/ 2976 h 10000"/>
                <a:gd name="connsiteX95" fmla="*/ 7102 w 10000"/>
                <a:gd name="connsiteY95" fmla="*/ 3036 h 10000"/>
                <a:gd name="connsiteX96" fmla="*/ 7089 w 10000"/>
                <a:gd name="connsiteY96" fmla="*/ 3084 h 10000"/>
                <a:gd name="connsiteX97" fmla="*/ 7077 w 10000"/>
                <a:gd name="connsiteY97" fmla="*/ 3138 h 10000"/>
                <a:gd name="connsiteX98" fmla="*/ 7208 w 10000"/>
                <a:gd name="connsiteY98" fmla="*/ 3174 h 10000"/>
                <a:gd name="connsiteX99" fmla="*/ 7334 w 10000"/>
                <a:gd name="connsiteY99" fmla="*/ 3210 h 10000"/>
                <a:gd name="connsiteX100" fmla="*/ 7396 w 10000"/>
                <a:gd name="connsiteY100" fmla="*/ 3228 h 10000"/>
                <a:gd name="connsiteX101" fmla="*/ 7459 w 10000"/>
                <a:gd name="connsiteY101" fmla="*/ 3240 h 10000"/>
                <a:gd name="connsiteX102" fmla="*/ 7522 w 10000"/>
                <a:gd name="connsiteY102" fmla="*/ 3246 h 10000"/>
                <a:gd name="connsiteX103" fmla="*/ 7585 w 10000"/>
                <a:gd name="connsiteY103" fmla="*/ 3251 h 10000"/>
                <a:gd name="connsiteX104" fmla="*/ 7591 w 10000"/>
                <a:gd name="connsiteY104" fmla="*/ 3275 h 10000"/>
                <a:gd name="connsiteX105" fmla="*/ 7604 w 10000"/>
                <a:gd name="connsiteY105" fmla="*/ 3299 h 10000"/>
                <a:gd name="connsiteX106" fmla="*/ 7622 w 10000"/>
                <a:gd name="connsiteY106" fmla="*/ 3317 h 10000"/>
                <a:gd name="connsiteX107" fmla="*/ 7654 w 10000"/>
                <a:gd name="connsiteY107" fmla="*/ 3335 h 10000"/>
                <a:gd name="connsiteX108" fmla="*/ 7704 w 10000"/>
                <a:gd name="connsiteY108" fmla="*/ 3353 h 10000"/>
                <a:gd name="connsiteX109" fmla="*/ 7748 w 10000"/>
                <a:gd name="connsiteY109" fmla="*/ 3359 h 10000"/>
                <a:gd name="connsiteX110" fmla="*/ 7798 w 10000"/>
                <a:gd name="connsiteY110" fmla="*/ 3359 h 10000"/>
                <a:gd name="connsiteX111" fmla="*/ 7836 w 10000"/>
                <a:gd name="connsiteY111" fmla="*/ 3347 h 10000"/>
                <a:gd name="connsiteX112" fmla="*/ 7880 w 10000"/>
                <a:gd name="connsiteY112" fmla="*/ 3329 h 10000"/>
                <a:gd name="connsiteX113" fmla="*/ 7911 w 10000"/>
                <a:gd name="connsiteY113" fmla="*/ 3311 h 10000"/>
                <a:gd name="connsiteX114" fmla="*/ 7949 w 10000"/>
                <a:gd name="connsiteY114" fmla="*/ 3287 h 10000"/>
                <a:gd name="connsiteX115" fmla="*/ 7980 w 10000"/>
                <a:gd name="connsiteY115" fmla="*/ 3257 h 10000"/>
                <a:gd name="connsiteX116" fmla="*/ 8011 w 10000"/>
                <a:gd name="connsiteY116" fmla="*/ 3228 h 10000"/>
                <a:gd name="connsiteX117" fmla="*/ 8036 w 10000"/>
                <a:gd name="connsiteY117" fmla="*/ 3198 h 10000"/>
                <a:gd name="connsiteX118" fmla="*/ 8087 w 10000"/>
                <a:gd name="connsiteY118" fmla="*/ 3120 h 10000"/>
                <a:gd name="connsiteX119" fmla="*/ 8118 w 10000"/>
                <a:gd name="connsiteY119" fmla="*/ 3048 h 10000"/>
                <a:gd name="connsiteX120" fmla="*/ 8149 w 10000"/>
                <a:gd name="connsiteY120" fmla="*/ 2982 h 10000"/>
                <a:gd name="connsiteX121" fmla="*/ 8168 w 10000"/>
                <a:gd name="connsiteY121" fmla="*/ 2916 h 10000"/>
                <a:gd name="connsiteX122" fmla="*/ 8231 w 10000"/>
                <a:gd name="connsiteY122" fmla="*/ 2850 h 10000"/>
                <a:gd name="connsiteX123" fmla="*/ 8294 w 10000"/>
                <a:gd name="connsiteY123" fmla="*/ 2784 h 10000"/>
                <a:gd name="connsiteX124" fmla="*/ 8363 w 10000"/>
                <a:gd name="connsiteY124" fmla="*/ 2731 h 10000"/>
                <a:gd name="connsiteX125" fmla="*/ 8432 w 10000"/>
                <a:gd name="connsiteY125" fmla="*/ 2671 h 10000"/>
                <a:gd name="connsiteX126" fmla="*/ 8507 w 10000"/>
                <a:gd name="connsiteY126" fmla="*/ 2623 h 10000"/>
                <a:gd name="connsiteX127" fmla="*/ 8576 w 10000"/>
                <a:gd name="connsiteY127" fmla="*/ 2575 h 10000"/>
                <a:gd name="connsiteX128" fmla="*/ 8651 w 10000"/>
                <a:gd name="connsiteY128" fmla="*/ 2533 h 10000"/>
                <a:gd name="connsiteX129" fmla="*/ 8726 w 10000"/>
                <a:gd name="connsiteY129" fmla="*/ 2491 h 10000"/>
                <a:gd name="connsiteX130" fmla="*/ 8808 w 10000"/>
                <a:gd name="connsiteY130" fmla="*/ 2449 h 10000"/>
                <a:gd name="connsiteX131" fmla="*/ 8890 w 10000"/>
                <a:gd name="connsiteY131" fmla="*/ 2413 h 10000"/>
                <a:gd name="connsiteX132" fmla="*/ 8971 w 10000"/>
                <a:gd name="connsiteY132" fmla="*/ 2383 h 10000"/>
                <a:gd name="connsiteX133" fmla="*/ 9059 w 10000"/>
                <a:gd name="connsiteY133" fmla="*/ 2353 h 10000"/>
                <a:gd name="connsiteX134" fmla="*/ 9235 w 10000"/>
                <a:gd name="connsiteY134" fmla="*/ 2299 h 10000"/>
                <a:gd name="connsiteX135" fmla="*/ 9417 w 10000"/>
                <a:gd name="connsiteY135" fmla="*/ 2257 h 10000"/>
                <a:gd name="connsiteX136" fmla="*/ 9454 w 10000"/>
                <a:gd name="connsiteY136" fmla="*/ 2305 h 10000"/>
                <a:gd name="connsiteX137" fmla="*/ 9504 w 10000"/>
                <a:gd name="connsiteY137" fmla="*/ 2365 h 10000"/>
                <a:gd name="connsiteX138" fmla="*/ 9573 w 10000"/>
                <a:gd name="connsiteY138" fmla="*/ 2431 h 10000"/>
                <a:gd name="connsiteX139" fmla="*/ 9642 w 10000"/>
                <a:gd name="connsiteY139" fmla="*/ 2503 h 10000"/>
                <a:gd name="connsiteX140" fmla="*/ 9718 w 10000"/>
                <a:gd name="connsiteY140" fmla="*/ 2563 h 10000"/>
                <a:gd name="connsiteX141" fmla="*/ 9799 w 10000"/>
                <a:gd name="connsiteY141" fmla="*/ 2611 h 10000"/>
                <a:gd name="connsiteX142" fmla="*/ 9837 w 10000"/>
                <a:gd name="connsiteY142" fmla="*/ 2635 h 10000"/>
                <a:gd name="connsiteX143" fmla="*/ 9875 w 10000"/>
                <a:gd name="connsiteY143" fmla="*/ 2647 h 10000"/>
                <a:gd name="connsiteX144" fmla="*/ 9918 w 10000"/>
                <a:gd name="connsiteY144" fmla="*/ 2659 h 10000"/>
                <a:gd name="connsiteX145" fmla="*/ 9956 w 10000"/>
                <a:gd name="connsiteY145" fmla="*/ 2659 h 10000"/>
                <a:gd name="connsiteX146" fmla="*/ 10000 w 10000"/>
                <a:gd name="connsiteY146" fmla="*/ 2587 h 10000"/>
                <a:gd name="connsiteX147" fmla="*/ 9975 w 10000"/>
                <a:gd name="connsiteY147" fmla="*/ 2713 h 10000"/>
                <a:gd name="connsiteX148" fmla="*/ 9944 w 10000"/>
                <a:gd name="connsiteY148" fmla="*/ 2856 h 10000"/>
                <a:gd name="connsiteX149" fmla="*/ 9931 w 10000"/>
                <a:gd name="connsiteY149" fmla="*/ 2922 h 10000"/>
                <a:gd name="connsiteX150" fmla="*/ 9906 w 10000"/>
                <a:gd name="connsiteY150" fmla="*/ 2982 h 10000"/>
                <a:gd name="connsiteX151" fmla="*/ 9887 w 10000"/>
                <a:gd name="connsiteY151" fmla="*/ 3006 h 10000"/>
                <a:gd name="connsiteX152" fmla="*/ 9875 w 10000"/>
                <a:gd name="connsiteY152" fmla="*/ 3030 h 10000"/>
                <a:gd name="connsiteX153" fmla="*/ 9856 w 10000"/>
                <a:gd name="connsiteY153" fmla="*/ 3048 h 10000"/>
                <a:gd name="connsiteX154" fmla="*/ 9837 w 10000"/>
                <a:gd name="connsiteY154" fmla="*/ 3066 h 10000"/>
                <a:gd name="connsiteX155" fmla="*/ 9749 w 10000"/>
                <a:gd name="connsiteY155" fmla="*/ 3084 h 10000"/>
                <a:gd name="connsiteX156" fmla="*/ 9605 w 10000"/>
                <a:gd name="connsiteY156" fmla="*/ 3132 h 10000"/>
                <a:gd name="connsiteX157" fmla="*/ 9536 w 10000"/>
                <a:gd name="connsiteY157" fmla="*/ 3174 h 10000"/>
                <a:gd name="connsiteX158" fmla="*/ 9479 w 10000"/>
                <a:gd name="connsiteY158" fmla="*/ 3210 h 10000"/>
                <a:gd name="connsiteX159" fmla="*/ 9448 w 10000"/>
                <a:gd name="connsiteY159" fmla="*/ 3228 h 10000"/>
                <a:gd name="connsiteX160" fmla="*/ 9435 w 10000"/>
                <a:gd name="connsiteY160" fmla="*/ 3246 h 10000"/>
                <a:gd name="connsiteX161" fmla="*/ 9423 w 10000"/>
                <a:gd name="connsiteY161" fmla="*/ 3269 h 10000"/>
                <a:gd name="connsiteX162" fmla="*/ 9417 w 10000"/>
                <a:gd name="connsiteY162" fmla="*/ 3287 h 10000"/>
                <a:gd name="connsiteX163" fmla="*/ 9423 w 10000"/>
                <a:gd name="connsiteY163" fmla="*/ 3497 h 10000"/>
                <a:gd name="connsiteX164" fmla="*/ 9417 w 10000"/>
                <a:gd name="connsiteY164" fmla="*/ 3737 h 10000"/>
                <a:gd name="connsiteX165" fmla="*/ 9398 w 10000"/>
                <a:gd name="connsiteY165" fmla="*/ 3796 h 10000"/>
                <a:gd name="connsiteX166" fmla="*/ 9391 w 10000"/>
                <a:gd name="connsiteY166" fmla="*/ 3862 h 10000"/>
                <a:gd name="connsiteX167" fmla="*/ 9379 w 10000"/>
                <a:gd name="connsiteY167" fmla="*/ 3916 h 10000"/>
                <a:gd name="connsiteX168" fmla="*/ 9366 w 10000"/>
                <a:gd name="connsiteY168" fmla="*/ 3970 h 10000"/>
                <a:gd name="connsiteX169" fmla="*/ 9348 w 10000"/>
                <a:gd name="connsiteY169" fmla="*/ 4018 h 10000"/>
                <a:gd name="connsiteX170" fmla="*/ 9316 w 10000"/>
                <a:gd name="connsiteY170" fmla="*/ 4066 h 10000"/>
                <a:gd name="connsiteX171" fmla="*/ 9285 w 10000"/>
                <a:gd name="connsiteY171" fmla="*/ 4102 h 10000"/>
                <a:gd name="connsiteX172" fmla="*/ 9247 w 10000"/>
                <a:gd name="connsiteY172" fmla="*/ 4132 h 10000"/>
                <a:gd name="connsiteX173" fmla="*/ 9228 w 10000"/>
                <a:gd name="connsiteY173" fmla="*/ 4150 h 10000"/>
                <a:gd name="connsiteX174" fmla="*/ 9184 w 10000"/>
                <a:gd name="connsiteY174" fmla="*/ 4156 h 10000"/>
                <a:gd name="connsiteX175" fmla="*/ 9141 w 10000"/>
                <a:gd name="connsiteY175" fmla="*/ 4162 h 10000"/>
                <a:gd name="connsiteX176" fmla="*/ 9090 w 10000"/>
                <a:gd name="connsiteY176" fmla="*/ 4168 h 10000"/>
                <a:gd name="connsiteX177" fmla="*/ 9040 w 10000"/>
                <a:gd name="connsiteY177" fmla="*/ 4174 h 10000"/>
                <a:gd name="connsiteX178" fmla="*/ 8996 w 10000"/>
                <a:gd name="connsiteY178" fmla="*/ 4192 h 10000"/>
                <a:gd name="connsiteX179" fmla="*/ 8977 w 10000"/>
                <a:gd name="connsiteY179" fmla="*/ 4198 h 10000"/>
                <a:gd name="connsiteX180" fmla="*/ 8965 w 10000"/>
                <a:gd name="connsiteY180" fmla="*/ 4216 h 10000"/>
                <a:gd name="connsiteX181" fmla="*/ 8959 w 10000"/>
                <a:gd name="connsiteY181" fmla="*/ 4228 h 10000"/>
                <a:gd name="connsiteX182" fmla="*/ 8959 w 10000"/>
                <a:gd name="connsiteY182" fmla="*/ 4246 h 10000"/>
                <a:gd name="connsiteX183" fmla="*/ 8952 w 10000"/>
                <a:gd name="connsiteY183" fmla="*/ 4317 h 10000"/>
                <a:gd name="connsiteX184" fmla="*/ 8952 w 10000"/>
                <a:gd name="connsiteY184" fmla="*/ 4401 h 10000"/>
                <a:gd name="connsiteX185" fmla="*/ 8940 w 10000"/>
                <a:gd name="connsiteY185" fmla="*/ 4491 h 10000"/>
                <a:gd name="connsiteX186" fmla="*/ 8927 w 10000"/>
                <a:gd name="connsiteY186" fmla="*/ 4575 h 10000"/>
                <a:gd name="connsiteX187" fmla="*/ 8908 w 10000"/>
                <a:gd name="connsiteY187" fmla="*/ 4659 h 10000"/>
                <a:gd name="connsiteX188" fmla="*/ 8890 w 10000"/>
                <a:gd name="connsiteY188" fmla="*/ 4737 h 10000"/>
                <a:gd name="connsiteX189" fmla="*/ 8864 w 10000"/>
                <a:gd name="connsiteY189" fmla="*/ 4808 h 10000"/>
                <a:gd name="connsiteX190" fmla="*/ 8833 w 10000"/>
                <a:gd name="connsiteY190" fmla="*/ 4874 h 10000"/>
                <a:gd name="connsiteX191" fmla="*/ 8538 w 10000"/>
                <a:gd name="connsiteY191" fmla="*/ 4389 h 10000"/>
                <a:gd name="connsiteX192" fmla="*/ 8526 w 10000"/>
                <a:gd name="connsiteY192" fmla="*/ 4413 h 10000"/>
                <a:gd name="connsiteX193" fmla="*/ 8494 w 10000"/>
                <a:gd name="connsiteY193" fmla="*/ 4467 h 10000"/>
                <a:gd name="connsiteX194" fmla="*/ 8463 w 10000"/>
                <a:gd name="connsiteY194" fmla="*/ 4497 h 10000"/>
                <a:gd name="connsiteX195" fmla="*/ 8438 w 10000"/>
                <a:gd name="connsiteY195" fmla="*/ 4521 h 10000"/>
                <a:gd name="connsiteX196" fmla="*/ 8407 w 10000"/>
                <a:gd name="connsiteY196" fmla="*/ 4539 h 10000"/>
                <a:gd name="connsiteX197" fmla="*/ 8375 w 10000"/>
                <a:gd name="connsiteY197" fmla="*/ 4545 h 10000"/>
                <a:gd name="connsiteX198" fmla="*/ 8338 w 10000"/>
                <a:gd name="connsiteY198" fmla="*/ 4539 h 10000"/>
                <a:gd name="connsiteX199" fmla="*/ 8312 w 10000"/>
                <a:gd name="connsiteY199" fmla="*/ 4533 h 10000"/>
                <a:gd name="connsiteX200" fmla="*/ 8287 w 10000"/>
                <a:gd name="connsiteY200" fmla="*/ 4515 h 10000"/>
                <a:gd name="connsiteX201" fmla="*/ 8256 w 10000"/>
                <a:gd name="connsiteY201" fmla="*/ 4497 h 10000"/>
                <a:gd name="connsiteX202" fmla="*/ 8237 w 10000"/>
                <a:gd name="connsiteY202" fmla="*/ 4467 h 10000"/>
                <a:gd name="connsiteX203" fmla="*/ 8225 w 10000"/>
                <a:gd name="connsiteY203" fmla="*/ 4443 h 10000"/>
                <a:gd name="connsiteX204" fmla="*/ 8206 w 10000"/>
                <a:gd name="connsiteY204" fmla="*/ 4419 h 10000"/>
                <a:gd name="connsiteX205" fmla="*/ 8206 w 10000"/>
                <a:gd name="connsiteY205" fmla="*/ 4389 h 10000"/>
                <a:gd name="connsiteX206" fmla="*/ 8206 w 10000"/>
                <a:gd name="connsiteY206" fmla="*/ 4353 h 10000"/>
                <a:gd name="connsiteX207" fmla="*/ 8225 w 10000"/>
                <a:gd name="connsiteY207" fmla="*/ 4317 h 10000"/>
                <a:gd name="connsiteX208" fmla="*/ 8237 w 10000"/>
                <a:gd name="connsiteY208" fmla="*/ 4281 h 10000"/>
                <a:gd name="connsiteX209" fmla="*/ 8250 w 10000"/>
                <a:gd name="connsiteY209" fmla="*/ 4246 h 10000"/>
                <a:gd name="connsiteX210" fmla="*/ 8300 w 10000"/>
                <a:gd name="connsiteY210" fmla="*/ 4180 h 10000"/>
                <a:gd name="connsiteX211" fmla="*/ 8356 w 10000"/>
                <a:gd name="connsiteY211" fmla="*/ 4114 h 10000"/>
                <a:gd name="connsiteX212" fmla="*/ 8407 w 10000"/>
                <a:gd name="connsiteY212" fmla="*/ 4054 h 10000"/>
                <a:gd name="connsiteX213" fmla="*/ 8457 w 10000"/>
                <a:gd name="connsiteY213" fmla="*/ 3988 h 10000"/>
                <a:gd name="connsiteX214" fmla="*/ 8469 w 10000"/>
                <a:gd name="connsiteY214" fmla="*/ 3952 h 10000"/>
                <a:gd name="connsiteX215" fmla="*/ 8482 w 10000"/>
                <a:gd name="connsiteY215" fmla="*/ 3922 h 10000"/>
                <a:gd name="connsiteX216" fmla="*/ 8501 w 10000"/>
                <a:gd name="connsiteY216" fmla="*/ 3880 h 10000"/>
                <a:gd name="connsiteX217" fmla="*/ 8501 w 10000"/>
                <a:gd name="connsiteY217" fmla="*/ 3844 h 10000"/>
                <a:gd name="connsiteX218" fmla="*/ 7748 w 10000"/>
                <a:gd name="connsiteY218" fmla="*/ 3844 h 10000"/>
                <a:gd name="connsiteX219" fmla="*/ 7723 w 10000"/>
                <a:gd name="connsiteY219" fmla="*/ 3838 h 10000"/>
                <a:gd name="connsiteX220" fmla="*/ 7685 w 10000"/>
                <a:gd name="connsiteY220" fmla="*/ 3820 h 10000"/>
                <a:gd name="connsiteX221" fmla="*/ 7660 w 10000"/>
                <a:gd name="connsiteY221" fmla="*/ 3784 h 10000"/>
                <a:gd name="connsiteX222" fmla="*/ 7635 w 10000"/>
                <a:gd name="connsiteY222" fmla="*/ 3749 h 10000"/>
                <a:gd name="connsiteX223" fmla="*/ 7616 w 10000"/>
                <a:gd name="connsiteY223" fmla="*/ 3701 h 10000"/>
                <a:gd name="connsiteX224" fmla="*/ 7597 w 10000"/>
                <a:gd name="connsiteY224" fmla="*/ 3653 h 10000"/>
                <a:gd name="connsiteX225" fmla="*/ 7591 w 10000"/>
                <a:gd name="connsiteY225" fmla="*/ 3599 h 10000"/>
                <a:gd name="connsiteX226" fmla="*/ 7585 w 10000"/>
                <a:gd name="connsiteY226" fmla="*/ 3545 h 10000"/>
                <a:gd name="connsiteX227" fmla="*/ 7547 w 10000"/>
                <a:gd name="connsiteY227" fmla="*/ 3545 h 10000"/>
                <a:gd name="connsiteX228" fmla="*/ 7516 w 10000"/>
                <a:gd name="connsiteY228" fmla="*/ 3539 h 10000"/>
                <a:gd name="connsiteX229" fmla="*/ 7478 w 10000"/>
                <a:gd name="connsiteY229" fmla="*/ 3533 h 10000"/>
                <a:gd name="connsiteX230" fmla="*/ 7447 w 10000"/>
                <a:gd name="connsiteY230" fmla="*/ 3521 h 10000"/>
                <a:gd name="connsiteX231" fmla="*/ 7415 w 10000"/>
                <a:gd name="connsiteY231" fmla="*/ 3503 h 10000"/>
                <a:gd name="connsiteX232" fmla="*/ 7396 w 10000"/>
                <a:gd name="connsiteY232" fmla="*/ 3485 h 10000"/>
                <a:gd name="connsiteX233" fmla="*/ 7384 w 10000"/>
                <a:gd name="connsiteY233" fmla="*/ 3455 h 10000"/>
                <a:gd name="connsiteX234" fmla="*/ 7378 w 10000"/>
                <a:gd name="connsiteY234" fmla="*/ 3431 h 10000"/>
                <a:gd name="connsiteX235" fmla="*/ 7321 w 10000"/>
                <a:gd name="connsiteY235" fmla="*/ 3431 h 10000"/>
                <a:gd name="connsiteX236" fmla="*/ 7271 w 10000"/>
                <a:gd name="connsiteY236" fmla="*/ 3431 h 10000"/>
                <a:gd name="connsiteX237" fmla="*/ 7221 w 10000"/>
                <a:gd name="connsiteY237" fmla="*/ 3431 h 10000"/>
                <a:gd name="connsiteX238" fmla="*/ 7171 w 10000"/>
                <a:gd name="connsiteY238" fmla="*/ 3431 h 10000"/>
                <a:gd name="connsiteX239" fmla="*/ 7127 w 10000"/>
                <a:gd name="connsiteY239" fmla="*/ 3437 h 10000"/>
                <a:gd name="connsiteX240" fmla="*/ 7095 w 10000"/>
                <a:gd name="connsiteY240" fmla="*/ 3443 h 10000"/>
                <a:gd name="connsiteX241" fmla="*/ 7051 w 10000"/>
                <a:gd name="connsiteY241" fmla="*/ 3461 h 10000"/>
                <a:gd name="connsiteX242" fmla="*/ 7008 w 10000"/>
                <a:gd name="connsiteY242" fmla="*/ 3485 h 10000"/>
                <a:gd name="connsiteX243" fmla="*/ 6976 w 10000"/>
                <a:gd name="connsiteY243" fmla="*/ 3515 h 10000"/>
                <a:gd name="connsiteX244" fmla="*/ 6939 w 10000"/>
                <a:gd name="connsiteY244" fmla="*/ 3545 h 10000"/>
                <a:gd name="connsiteX245" fmla="*/ 6920 w 10000"/>
                <a:gd name="connsiteY245" fmla="*/ 3581 h 10000"/>
                <a:gd name="connsiteX246" fmla="*/ 6913 w 10000"/>
                <a:gd name="connsiteY246" fmla="*/ 3617 h 10000"/>
                <a:gd name="connsiteX247" fmla="*/ 6926 w 10000"/>
                <a:gd name="connsiteY247" fmla="*/ 3641 h 10000"/>
                <a:gd name="connsiteX248" fmla="*/ 6964 w 10000"/>
                <a:gd name="connsiteY248" fmla="*/ 3671 h 10000"/>
                <a:gd name="connsiteX249" fmla="*/ 7008 w 10000"/>
                <a:gd name="connsiteY249" fmla="*/ 3707 h 10000"/>
                <a:gd name="connsiteX250" fmla="*/ 7070 w 10000"/>
                <a:gd name="connsiteY250" fmla="*/ 3743 h 10000"/>
                <a:gd name="connsiteX251" fmla="*/ 7133 w 10000"/>
                <a:gd name="connsiteY251" fmla="*/ 3778 h 10000"/>
                <a:gd name="connsiteX252" fmla="*/ 7196 w 10000"/>
                <a:gd name="connsiteY252" fmla="*/ 3808 h 10000"/>
                <a:gd name="connsiteX253" fmla="*/ 7252 w 10000"/>
                <a:gd name="connsiteY253" fmla="*/ 3832 h 10000"/>
                <a:gd name="connsiteX254" fmla="*/ 7290 w 10000"/>
                <a:gd name="connsiteY254" fmla="*/ 3844 h 10000"/>
                <a:gd name="connsiteX255" fmla="*/ 7208 w 10000"/>
                <a:gd name="connsiteY255" fmla="*/ 3904 h 10000"/>
                <a:gd name="connsiteX256" fmla="*/ 7114 w 10000"/>
                <a:gd name="connsiteY256" fmla="*/ 3976 h 10000"/>
                <a:gd name="connsiteX257" fmla="*/ 7070 w 10000"/>
                <a:gd name="connsiteY257" fmla="*/ 4012 h 10000"/>
                <a:gd name="connsiteX258" fmla="*/ 7033 w 10000"/>
                <a:gd name="connsiteY258" fmla="*/ 4054 h 10000"/>
                <a:gd name="connsiteX259" fmla="*/ 7020 w 10000"/>
                <a:gd name="connsiteY259" fmla="*/ 4072 h 10000"/>
                <a:gd name="connsiteX260" fmla="*/ 7008 w 10000"/>
                <a:gd name="connsiteY260" fmla="*/ 4090 h 10000"/>
                <a:gd name="connsiteX261" fmla="*/ 7001 w 10000"/>
                <a:gd name="connsiteY261" fmla="*/ 4114 h 10000"/>
                <a:gd name="connsiteX262" fmla="*/ 6995 w 10000"/>
                <a:gd name="connsiteY262" fmla="*/ 4132 h 10000"/>
                <a:gd name="connsiteX263" fmla="*/ 7001 w 10000"/>
                <a:gd name="connsiteY263" fmla="*/ 4162 h 10000"/>
                <a:gd name="connsiteX264" fmla="*/ 7008 w 10000"/>
                <a:gd name="connsiteY264" fmla="*/ 4180 h 10000"/>
                <a:gd name="connsiteX265" fmla="*/ 7026 w 10000"/>
                <a:gd name="connsiteY265" fmla="*/ 4204 h 10000"/>
                <a:gd name="connsiteX266" fmla="*/ 7039 w 10000"/>
                <a:gd name="connsiteY266" fmla="*/ 4228 h 10000"/>
                <a:gd name="connsiteX267" fmla="*/ 7089 w 10000"/>
                <a:gd name="connsiteY267" fmla="*/ 4275 h 10000"/>
                <a:gd name="connsiteX268" fmla="*/ 7146 w 10000"/>
                <a:gd name="connsiteY268" fmla="*/ 4323 h 10000"/>
                <a:gd name="connsiteX269" fmla="*/ 7208 w 10000"/>
                <a:gd name="connsiteY269" fmla="*/ 4365 h 10000"/>
                <a:gd name="connsiteX270" fmla="*/ 7277 w 10000"/>
                <a:gd name="connsiteY270" fmla="*/ 4401 h 10000"/>
                <a:gd name="connsiteX271" fmla="*/ 7315 w 10000"/>
                <a:gd name="connsiteY271" fmla="*/ 4413 h 10000"/>
                <a:gd name="connsiteX272" fmla="*/ 7346 w 10000"/>
                <a:gd name="connsiteY272" fmla="*/ 4419 h 10000"/>
                <a:gd name="connsiteX273" fmla="*/ 7384 w 10000"/>
                <a:gd name="connsiteY273" fmla="*/ 4425 h 10000"/>
                <a:gd name="connsiteX274" fmla="*/ 7415 w 10000"/>
                <a:gd name="connsiteY274" fmla="*/ 4431 h 10000"/>
                <a:gd name="connsiteX275" fmla="*/ 7585 w 10000"/>
                <a:gd name="connsiteY275" fmla="*/ 5054 h 10000"/>
                <a:gd name="connsiteX276" fmla="*/ 7491 w 10000"/>
                <a:gd name="connsiteY276" fmla="*/ 5054 h 10000"/>
                <a:gd name="connsiteX277" fmla="*/ 7403 w 10000"/>
                <a:gd name="connsiteY277" fmla="*/ 5054 h 10000"/>
                <a:gd name="connsiteX278" fmla="*/ 7321 w 10000"/>
                <a:gd name="connsiteY278" fmla="*/ 5054 h 10000"/>
                <a:gd name="connsiteX279" fmla="*/ 7252 w 10000"/>
                <a:gd name="connsiteY279" fmla="*/ 5054 h 10000"/>
                <a:gd name="connsiteX280" fmla="*/ 7208 w 10000"/>
                <a:gd name="connsiteY280" fmla="*/ 5048 h 10000"/>
                <a:gd name="connsiteX281" fmla="*/ 7164 w 10000"/>
                <a:gd name="connsiteY281" fmla="*/ 5018 h 10000"/>
                <a:gd name="connsiteX282" fmla="*/ 7133 w 10000"/>
                <a:gd name="connsiteY282" fmla="*/ 5006 h 10000"/>
                <a:gd name="connsiteX283" fmla="*/ 7102 w 10000"/>
                <a:gd name="connsiteY283" fmla="*/ 4994 h 10000"/>
                <a:gd name="connsiteX284" fmla="*/ 7070 w 10000"/>
                <a:gd name="connsiteY284" fmla="*/ 4988 h 10000"/>
                <a:gd name="connsiteX285" fmla="*/ 7039 w 10000"/>
                <a:gd name="connsiteY285" fmla="*/ 4982 h 10000"/>
                <a:gd name="connsiteX286" fmla="*/ 7008 w 10000"/>
                <a:gd name="connsiteY286" fmla="*/ 4994 h 10000"/>
                <a:gd name="connsiteX287" fmla="*/ 6957 w 10000"/>
                <a:gd name="connsiteY287" fmla="*/ 5024 h 10000"/>
                <a:gd name="connsiteX288" fmla="*/ 6895 w 10000"/>
                <a:gd name="connsiteY288" fmla="*/ 5066 h 10000"/>
                <a:gd name="connsiteX289" fmla="*/ 6819 w 10000"/>
                <a:gd name="connsiteY289" fmla="*/ 5114 h 10000"/>
                <a:gd name="connsiteX290" fmla="*/ 6744 w 10000"/>
                <a:gd name="connsiteY290" fmla="*/ 5174 h 10000"/>
                <a:gd name="connsiteX291" fmla="*/ 6681 w 10000"/>
                <a:gd name="connsiteY291" fmla="*/ 5222 h 10000"/>
                <a:gd name="connsiteX292" fmla="*/ 6637 w 10000"/>
                <a:gd name="connsiteY292" fmla="*/ 5257 h 10000"/>
                <a:gd name="connsiteX293" fmla="*/ 6625 w 10000"/>
                <a:gd name="connsiteY293" fmla="*/ 5281 h 10000"/>
                <a:gd name="connsiteX294" fmla="*/ 6750 w 10000"/>
                <a:gd name="connsiteY294" fmla="*/ 5353 h 10000"/>
                <a:gd name="connsiteX295" fmla="*/ 6744 w 10000"/>
                <a:gd name="connsiteY295" fmla="*/ 5389 h 10000"/>
                <a:gd name="connsiteX296" fmla="*/ 6725 w 10000"/>
                <a:gd name="connsiteY296" fmla="*/ 5431 h 10000"/>
                <a:gd name="connsiteX297" fmla="*/ 6706 w 10000"/>
                <a:gd name="connsiteY297" fmla="*/ 5461 h 10000"/>
                <a:gd name="connsiteX298" fmla="*/ 6688 w 10000"/>
                <a:gd name="connsiteY298" fmla="*/ 5503 h 10000"/>
                <a:gd name="connsiteX299" fmla="*/ 6637 w 10000"/>
                <a:gd name="connsiteY299" fmla="*/ 5557 h 10000"/>
                <a:gd name="connsiteX300" fmla="*/ 6581 w 10000"/>
                <a:gd name="connsiteY300" fmla="*/ 5611 h 10000"/>
                <a:gd name="connsiteX301" fmla="*/ 6518 w 10000"/>
                <a:gd name="connsiteY301" fmla="*/ 5659 h 10000"/>
                <a:gd name="connsiteX302" fmla="*/ 6443 w 10000"/>
                <a:gd name="connsiteY302" fmla="*/ 5701 h 10000"/>
                <a:gd name="connsiteX303" fmla="*/ 6374 w 10000"/>
                <a:gd name="connsiteY303" fmla="*/ 5737 h 10000"/>
                <a:gd name="connsiteX304" fmla="*/ 6299 w 10000"/>
                <a:gd name="connsiteY304" fmla="*/ 5772 h 10000"/>
                <a:gd name="connsiteX305" fmla="*/ 6223 w 10000"/>
                <a:gd name="connsiteY305" fmla="*/ 5820 h 10000"/>
                <a:gd name="connsiteX306" fmla="*/ 6154 w 10000"/>
                <a:gd name="connsiteY306" fmla="*/ 5856 h 10000"/>
                <a:gd name="connsiteX307" fmla="*/ 6092 w 10000"/>
                <a:gd name="connsiteY307" fmla="*/ 5898 h 10000"/>
                <a:gd name="connsiteX308" fmla="*/ 6035 w 10000"/>
                <a:gd name="connsiteY308" fmla="*/ 5946 h 10000"/>
                <a:gd name="connsiteX309" fmla="*/ 6004 w 10000"/>
                <a:gd name="connsiteY309" fmla="*/ 5970 h 10000"/>
                <a:gd name="connsiteX310" fmla="*/ 5985 w 10000"/>
                <a:gd name="connsiteY310" fmla="*/ 5994 h 10000"/>
                <a:gd name="connsiteX311" fmla="*/ 5966 w 10000"/>
                <a:gd name="connsiteY311" fmla="*/ 6024 h 10000"/>
                <a:gd name="connsiteX312" fmla="*/ 5947 w 10000"/>
                <a:gd name="connsiteY312" fmla="*/ 6054 h 10000"/>
                <a:gd name="connsiteX313" fmla="*/ 5935 w 10000"/>
                <a:gd name="connsiteY313" fmla="*/ 6090 h 10000"/>
                <a:gd name="connsiteX314" fmla="*/ 5922 w 10000"/>
                <a:gd name="connsiteY314" fmla="*/ 6120 h 10000"/>
                <a:gd name="connsiteX315" fmla="*/ 5916 w 10000"/>
                <a:gd name="connsiteY315" fmla="*/ 6162 h 10000"/>
                <a:gd name="connsiteX316" fmla="*/ 5916 w 10000"/>
                <a:gd name="connsiteY316" fmla="*/ 6204 h 10000"/>
                <a:gd name="connsiteX317" fmla="*/ 5859 w 10000"/>
                <a:gd name="connsiteY317" fmla="*/ 6222 h 10000"/>
                <a:gd name="connsiteX318" fmla="*/ 5809 w 10000"/>
                <a:gd name="connsiteY318" fmla="*/ 6240 h 10000"/>
                <a:gd name="connsiteX319" fmla="*/ 5765 w 10000"/>
                <a:gd name="connsiteY319" fmla="*/ 6263 h 10000"/>
                <a:gd name="connsiteX320" fmla="*/ 5721 w 10000"/>
                <a:gd name="connsiteY320" fmla="*/ 6287 h 10000"/>
                <a:gd name="connsiteX321" fmla="*/ 5634 w 10000"/>
                <a:gd name="connsiteY321" fmla="*/ 6347 h 10000"/>
                <a:gd name="connsiteX322" fmla="*/ 5558 w 10000"/>
                <a:gd name="connsiteY322" fmla="*/ 6419 h 10000"/>
                <a:gd name="connsiteX323" fmla="*/ 5420 w 10000"/>
                <a:gd name="connsiteY323" fmla="*/ 6581 h 10000"/>
                <a:gd name="connsiteX324" fmla="*/ 5289 w 10000"/>
                <a:gd name="connsiteY324" fmla="*/ 6754 h 10000"/>
                <a:gd name="connsiteX325" fmla="*/ 5220 w 10000"/>
                <a:gd name="connsiteY325" fmla="*/ 6844 h 10000"/>
                <a:gd name="connsiteX326" fmla="*/ 5151 w 10000"/>
                <a:gd name="connsiteY326" fmla="*/ 6922 h 10000"/>
                <a:gd name="connsiteX327" fmla="*/ 5075 w 10000"/>
                <a:gd name="connsiteY327" fmla="*/ 6994 h 10000"/>
                <a:gd name="connsiteX328" fmla="*/ 4994 w 10000"/>
                <a:gd name="connsiteY328" fmla="*/ 7060 h 10000"/>
                <a:gd name="connsiteX329" fmla="*/ 4944 w 10000"/>
                <a:gd name="connsiteY329" fmla="*/ 7090 h 10000"/>
                <a:gd name="connsiteX330" fmla="*/ 4893 w 10000"/>
                <a:gd name="connsiteY330" fmla="*/ 7114 h 10000"/>
                <a:gd name="connsiteX331" fmla="*/ 4849 w 10000"/>
                <a:gd name="connsiteY331" fmla="*/ 7138 h 10000"/>
                <a:gd name="connsiteX332" fmla="*/ 4793 w 10000"/>
                <a:gd name="connsiteY332" fmla="*/ 7162 h 10000"/>
                <a:gd name="connsiteX333" fmla="*/ 4730 w 10000"/>
                <a:gd name="connsiteY333" fmla="*/ 7180 h 10000"/>
                <a:gd name="connsiteX334" fmla="*/ 4674 w 10000"/>
                <a:gd name="connsiteY334" fmla="*/ 7192 h 10000"/>
                <a:gd name="connsiteX335" fmla="*/ 4605 w 10000"/>
                <a:gd name="connsiteY335" fmla="*/ 7198 h 10000"/>
                <a:gd name="connsiteX336" fmla="*/ 4536 w 10000"/>
                <a:gd name="connsiteY336" fmla="*/ 7198 h 10000"/>
                <a:gd name="connsiteX337" fmla="*/ 4536 w 10000"/>
                <a:gd name="connsiteY337" fmla="*/ 7251 h 10000"/>
                <a:gd name="connsiteX338" fmla="*/ 4536 w 10000"/>
                <a:gd name="connsiteY338" fmla="*/ 7305 h 10000"/>
                <a:gd name="connsiteX339" fmla="*/ 4536 w 10000"/>
                <a:gd name="connsiteY339" fmla="*/ 7347 h 10000"/>
                <a:gd name="connsiteX340" fmla="*/ 4536 w 10000"/>
                <a:gd name="connsiteY340" fmla="*/ 7383 h 10000"/>
                <a:gd name="connsiteX341" fmla="*/ 4536 w 10000"/>
                <a:gd name="connsiteY341" fmla="*/ 7449 h 10000"/>
                <a:gd name="connsiteX342" fmla="*/ 4536 w 10000"/>
                <a:gd name="connsiteY342" fmla="*/ 7551 h 10000"/>
                <a:gd name="connsiteX343" fmla="*/ 4536 w 10000"/>
                <a:gd name="connsiteY343" fmla="*/ 7659 h 10000"/>
                <a:gd name="connsiteX344" fmla="*/ 4548 w 10000"/>
                <a:gd name="connsiteY344" fmla="*/ 7772 h 10000"/>
                <a:gd name="connsiteX345" fmla="*/ 4561 w 10000"/>
                <a:gd name="connsiteY345" fmla="*/ 7832 h 10000"/>
                <a:gd name="connsiteX346" fmla="*/ 4573 w 10000"/>
                <a:gd name="connsiteY346" fmla="*/ 7886 h 10000"/>
                <a:gd name="connsiteX347" fmla="*/ 4586 w 10000"/>
                <a:gd name="connsiteY347" fmla="*/ 7934 h 10000"/>
                <a:gd name="connsiteX348" fmla="*/ 4611 w 10000"/>
                <a:gd name="connsiteY348" fmla="*/ 7976 h 10000"/>
                <a:gd name="connsiteX349" fmla="*/ 4636 w 10000"/>
                <a:gd name="connsiteY349" fmla="*/ 8018 h 10000"/>
                <a:gd name="connsiteX350" fmla="*/ 4668 w 10000"/>
                <a:gd name="connsiteY350" fmla="*/ 8048 h 10000"/>
                <a:gd name="connsiteX351" fmla="*/ 4705 w 10000"/>
                <a:gd name="connsiteY351" fmla="*/ 8072 h 10000"/>
                <a:gd name="connsiteX352" fmla="*/ 4749 w 10000"/>
                <a:gd name="connsiteY352" fmla="*/ 8084 h 10000"/>
                <a:gd name="connsiteX353" fmla="*/ 4711 w 10000"/>
                <a:gd name="connsiteY353" fmla="*/ 8180 h 10000"/>
                <a:gd name="connsiteX354" fmla="*/ 4668 w 10000"/>
                <a:gd name="connsiteY354" fmla="*/ 8263 h 10000"/>
                <a:gd name="connsiteX355" fmla="*/ 4617 w 10000"/>
                <a:gd name="connsiteY355" fmla="*/ 8341 h 10000"/>
                <a:gd name="connsiteX356" fmla="*/ 4573 w 10000"/>
                <a:gd name="connsiteY356" fmla="*/ 8413 h 10000"/>
                <a:gd name="connsiteX357" fmla="*/ 4523 w 10000"/>
                <a:gd name="connsiteY357" fmla="*/ 8497 h 10000"/>
                <a:gd name="connsiteX358" fmla="*/ 4492 w 10000"/>
                <a:gd name="connsiteY358" fmla="*/ 8575 h 10000"/>
                <a:gd name="connsiteX359" fmla="*/ 4473 w 10000"/>
                <a:gd name="connsiteY359" fmla="*/ 8611 h 10000"/>
                <a:gd name="connsiteX360" fmla="*/ 4467 w 10000"/>
                <a:gd name="connsiteY360" fmla="*/ 8653 h 10000"/>
                <a:gd name="connsiteX361" fmla="*/ 4460 w 10000"/>
                <a:gd name="connsiteY361" fmla="*/ 8701 h 10000"/>
                <a:gd name="connsiteX362" fmla="*/ 4454 w 10000"/>
                <a:gd name="connsiteY362" fmla="*/ 8743 h 10000"/>
                <a:gd name="connsiteX363" fmla="*/ 4460 w 10000"/>
                <a:gd name="connsiteY363" fmla="*/ 8760 h 10000"/>
                <a:gd name="connsiteX364" fmla="*/ 4467 w 10000"/>
                <a:gd name="connsiteY364" fmla="*/ 8772 h 10000"/>
                <a:gd name="connsiteX365" fmla="*/ 4479 w 10000"/>
                <a:gd name="connsiteY365" fmla="*/ 8784 h 10000"/>
                <a:gd name="connsiteX366" fmla="*/ 4504 w 10000"/>
                <a:gd name="connsiteY366" fmla="*/ 8796 h 10000"/>
                <a:gd name="connsiteX367" fmla="*/ 4542 w 10000"/>
                <a:gd name="connsiteY367" fmla="*/ 8820 h 10000"/>
                <a:gd name="connsiteX368" fmla="*/ 4580 w 10000"/>
                <a:gd name="connsiteY368" fmla="*/ 8826 h 10000"/>
                <a:gd name="connsiteX369" fmla="*/ 4580 w 10000"/>
                <a:gd name="connsiteY369" fmla="*/ 9042 h 10000"/>
                <a:gd name="connsiteX370" fmla="*/ 4529 w 10000"/>
                <a:gd name="connsiteY370" fmla="*/ 9126 h 10000"/>
                <a:gd name="connsiteX371" fmla="*/ 4492 w 10000"/>
                <a:gd name="connsiteY371" fmla="*/ 9216 h 10000"/>
                <a:gd name="connsiteX372" fmla="*/ 4460 w 10000"/>
                <a:gd name="connsiteY372" fmla="*/ 9251 h 10000"/>
                <a:gd name="connsiteX373" fmla="*/ 4429 w 10000"/>
                <a:gd name="connsiteY373" fmla="*/ 9275 h 10000"/>
                <a:gd name="connsiteX374" fmla="*/ 4404 w 10000"/>
                <a:gd name="connsiteY374" fmla="*/ 9287 h 10000"/>
                <a:gd name="connsiteX375" fmla="*/ 4385 w 10000"/>
                <a:gd name="connsiteY375" fmla="*/ 9293 h 10000"/>
                <a:gd name="connsiteX376" fmla="*/ 4360 w 10000"/>
                <a:gd name="connsiteY376" fmla="*/ 9299 h 10000"/>
                <a:gd name="connsiteX377" fmla="*/ 4329 w 10000"/>
                <a:gd name="connsiteY377" fmla="*/ 9299 h 10000"/>
                <a:gd name="connsiteX378" fmla="*/ 4329 w 10000"/>
                <a:gd name="connsiteY378" fmla="*/ 9347 h 10000"/>
                <a:gd name="connsiteX379" fmla="*/ 4335 w 10000"/>
                <a:gd name="connsiteY379" fmla="*/ 9407 h 10000"/>
                <a:gd name="connsiteX380" fmla="*/ 4348 w 10000"/>
                <a:gd name="connsiteY380" fmla="*/ 9437 h 10000"/>
                <a:gd name="connsiteX381" fmla="*/ 4354 w 10000"/>
                <a:gd name="connsiteY381" fmla="*/ 9461 h 10000"/>
                <a:gd name="connsiteX382" fmla="*/ 4360 w 10000"/>
                <a:gd name="connsiteY382" fmla="*/ 9479 h 10000"/>
                <a:gd name="connsiteX383" fmla="*/ 4373 w 10000"/>
                <a:gd name="connsiteY383" fmla="*/ 9485 h 10000"/>
                <a:gd name="connsiteX384" fmla="*/ 4210 w 10000"/>
                <a:gd name="connsiteY384" fmla="*/ 9611 h 10000"/>
                <a:gd name="connsiteX385" fmla="*/ 4072 w 10000"/>
                <a:gd name="connsiteY385" fmla="*/ 9713 h 10000"/>
                <a:gd name="connsiteX386" fmla="*/ 4009 w 10000"/>
                <a:gd name="connsiteY386" fmla="*/ 9772 h 10000"/>
                <a:gd name="connsiteX387" fmla="*/ 3952 w 10000"/>
                <a:gd name="connsiteY387" fmla="*/ 9838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4 h 10000"/>
                <a:gd name="connsiteX393" fmla="*/ 3563 w 10000"/>
                <a:gd name="connsiteY393" fmla="*/ 9826 h 10000"/>
                <a:gd name="connsiteX394" fmla="*/ 3532 w 10000"/>
                <a:gd name="connsiteY394" fmla="*/ 9766 h 10000"/>
                <a:gd name="connsiteX395" fmla="*/ 3513 w 10000"/>
                <a:gd name="connsiteY395" fmla="*/ 9707 h 10000"/>
                <a:gd name="connsiteX396" fmla="*/ 3482 w 10000"/>
                <a:gd name="connsiteY396" fmla="*/ 9635 h 10000"/>
                <a:gd name="connsiteX397" fmla="*/ 3457 w 10000"/>
                <a:gd name="connsiteY397" fmla="*/ 9563 h 10000"/>
                <a:gd name="connsiteX398" fmla="*/ 3400 w 10000"/>
                <a:gd name="connsiteY398" fmla="*/ 9425 h 10000"/>
                <a:gd name="connsiteX399" fmla="*/ 3325 w 10000"/>
                <a:gd name="connsiteY399" fmla="*/ 9293 h 10000"/>
                <a:gd name="connsiteX400" fmla="*/ 3237 w 10000"/>
                <a:gd name="connsiteY400" fmla="*/ 9156 h 10000"/>
                <a:gd name="connsiteX401" fmla="*/ 3143 w 10000"/>
                <a:gd name="connsiteY401" fmla="*/ 9012 h 10000"/>
                <a:gd name="connsiteX402" fmla="*/ 3049 w 10000"/>
                <a:gd name="connsiteY402" fmla="*/ 8880 h 10000"/>
                <a:gd name="connsiteX403" fmla="*/ 2967 w 10000"/>
                <a:gd name="connsiteY403" fmla="*/ 8749 h 10000"/>
                <a:gd name="connsiteX404" fmla="*/ 2892 w 10000"/>
                <a:gd name="connsiteY404" fmla="*/ 8629 h 10000"/>
                <a:gd name="connsiteX405" fmla="*/ 2829 w 10000"/>
                <a:gd name="connsiteY405" fmla="*/ 8527 h 10000"/>
                <a:gd name="connsiteX406" fmla="*/ 2773 w 10000"/>
                <a:gd name="connsiteY406" fmla="*/ 8413 h 10000"/>
                <a:gd name="connsiteX407" fmla="*/ 2735 w 10000"/>
                <a:gd name="connsiteY407" fmla="*/ 8311 h 10000"/>
                <a:gd name="connsiteX408" fmla="*/ 2698 w 10000"/>
                <a:gd name="connsiteY408" fmla="*/ 8204 h 10000"/>
                <a:gd name="connsiteX409" fmla="*/ 2666 w 10000"/>
                <a:gd name="connsiteY409" fmla="*/ 8096 h 10000"/>
                <a:gd name="connsiteX410" fmla="*/ 2629 w 10000"/>
                <a:gd name="connsiteY410" fmla="*/ 7988 h 10000"/>
                <a:gd name="connsiteX411" fmla="*/ 2597 w 10000"/>
                <a:gd name="connsiteY411" fmla="*/ 7880 h 10000"/>
                <a:gd name="connsiteX412" fmla="*/ 2553 w 10000"/>
                <a:gd name="connsiteY412" fmla="*/ 7760 h 10000"/>
                <a:gd name="connsiteX413" fmla="*/ 2497 w 10000"/>
                <a:gd name="connsiteY413" fmla="*/ 7641 h 10000"/>
                <a:gd name="connsiteX414" fmla="*/ 2359 w 10000"/>
                <a:gd name="connsiteY414" fmla="*/ 7449 h 10000"/>
                <a:gd name="connsiteX415" fmla="*/ 2208 w 10000"/>
                <a:gd name="connsiteY415" fmla="*/ 7269 h 10000"/>
                <a:gd name="connsiteX416" fmla="*/ 2139 w 10000"/>
                <a:gd name="connsiteY416" fmla="*/ 7186 h 10000"/>
                <a:gd name="connsiteX417" fmla="*/ 2070 w 10000"/>
                <a:gd name="connsiteY417" fmla="*/ 7090 h 10000"/>
                <a:gd name="connsiteX418" fmla="*/ 2008 w 10000"/>
                <a:gd name="connsiteY418" fmla="*/ 7000 h 10000"/>
                <a:gd name="connsiteX419" fmla="*/ 1957 w 10000"/>
                <a:gd name="connsiteY419" fmla="*/ 6904 h 10000"/>
                <a:gd name="connsiteX420" fmla="*/ 1888 w 10000"/>
                <a:gd name="connsiteY420" fmla="*/ 6671 h 10000"/>
                <a:gd name="connsiteX421" fmla="*/ 1832 w 10000"/>
                <a:gd name="connsiteY421" fmla="*/ 6455 h 10000"/>
                <a:gd name="connsiteX422" fmla="*/ 1782 w 10000"/>
                <a:gd name="connsiteY422" fmla="*/ 6246 h 10000"/>
                <a:gd name="connsiteX423" fmla="*/ 1757 w 10000"/>
                <a:gd name="connsiteY423" fmla="*/ 6036 h 10000"/>
                <a:gd name="connsiteX424" fmla="*/ 1725 w 10000"/>
                <a:gd name="connsiteY424" fmla="*/ 5832 h 10000"/>
                <a:gd name="connsiteX425" fmla="*/ 1713 w 10000"/>
                <a:gd name="connsiteY425" fmla="*/ 5617 h 10000"/>
                <a:gd name="connsiteX426" fmla="*/ 1706 w 10000"/>
                <a:gd name="connsiteY426" fmla="*/ 5395 h 10000"/>
                <a:gd name="connsiteX427" fmla="*/ 1706 w 10000"/>
                <a:gd name="connsiteY427" fmla="*/ 5174 h 10000"/>
                <a:gd name="connsiteX428" fmla="*/ 1681 w 10000"/>
                <a:gd name="connsiteY428" fmla="*/ 5168 h 10000"/>
                <a:gd name="connsiteX429" fmla="*/ 1650 w 10000"/>
                <a:gd name="connsiteY429" fmla="*/ 5162 h 10000"/>
                <a:gd name="connsiteX430" fmla="*/ 1625 w 10000"/>
                <a:gd name="connsiteY430" fmla="*/ 5156 h 10000"/>
                <a:gd name="connsiteX431" fmla="*/ 1606 w 10000"/>
                <a:gd name="connsiteY431" fmla="*/ 5132 h 10000"/>
                <a:gd name="connsiteX432" fmla="*/ 1581 w 10000"/>
                <a:gd name="connsiteY432" fmla="*/ 5120 h 10000"/>
                <a:gd name="connsiteX433" fmla="*/ 1568 w 10000"/>
                <a:gd name="connsiteY433" fmla="*/ 5102 h 10000"/>
                <a:gd name="connsiteX434" fmla="*/ 1550 w 10000"/>
                <a:gd name="connsiteY434" fmla="*/ 5078 h 10000"/>
                <a:gd name="connsiteX435" fmla="*/ 1543 w 10000"/>
                <a:gd name="connsiteY435" fmla="*/ 5054 h 10000"/>
                <a:gd name="connsiteX436" fmla="*/ 1518 w 10000"/>
                <a:gd name="connsiteY436" fmla="*/ 5006 h 10000"/>
                <a:gd name="connsiteX437" fmla="*/ 1506 w 10000"/>
                <a:gd name="connsiteY437" fmla="*/ 4952 h 10000"/>
                <a:gd name="connsiteX438" fmla="*/ 1499 w 10000"/>
                <a:gd name="connsiteY438" fmla="*/ 4892 h 10000"/>
                <a:gd name="connsiteX439" fmla="*/ 1499 w 10000"/>
                <a:gd name="connsiteY439" fmla="*/ 4838 h 10000"/>
                <a:gd name="connsiteX440" fmla="*/ 1443 w 10000"/>
                <a:gd name="connsiteY440" fmla="*/ 4874 h 10000"/>
                <a:gd name="connsiteX441" fmla="*/ 1405 w 10000"/>
                <a:gd name="connsiteY441" fmla="*/ 4916 h 10000"/>
                <a:gd name="connsiteX442" fmla="*/ 1361 w 10000"/>
                <a:gd name="connsiteY442" fmla="*/ 4958 h 10000"/>
                <a:gd name="connsiteX443" fmla="*/ 1317 w 10000"/>
                <a:gd name="connsiteY443" fmla="*/ 5006 h 10000"/>
                <a:gd name="connsiteX444" fmla="*/ 1261 w 10000"/>
                <a:gd name="connsiteY444" fmla="*/ 5102 h 10000"/>
                <a:gd name="connsiteX445" fmla="*/ 1205 w 10000"/>
                <a:gd name="connsiteY445" fmla="*/ 5204 h 10000"/>
                <a:gd name="connsiteX446" fmla="*/ 1167 w 10000"/>
                <a:gd name="connsiteY446" fmla="*/ 5246 h 10000"/>
                <a:gd name="connsiteX447" fmla="*/ 1142 w 10000"/>
                <a:gd name="connsiteY447" fmla="*/ 5287 h 10000"/>
                <a:gd name="connsiteX448" fmla="*/ 1104 w 10000"/>
                <a:gd name="connsiteY448" fmla="*/ 5329 h 10000"/>
                <a:gd name="connsiteX449" fmla="*/ 1073 w 10000"/>
                <a:gd name="connsiteY449" fmla="*/ 5359 h 10000"/>
                <a:gd name="connsiteX450" fmla="*/ 1029 w 10000"/>
                <a:gd name="connsiteY450" fmla="*/ 5389 h 10000"/>
                <a:gd name="connsiteX451" fmla="*/ 985 w 10000"/>
                <a:gd name="connsiteY451" fmla="*/ 5407 h 10000"/>
                <a:gd name="connsiteX452" fmla="*/ 928 w 10000"/>
                <a:gd name="connsiteY452" fmla="*/ 5419 h 10000"/>
                <a:gd name="connsiteX453" fmla="*/ 872 w 10000"/>
                <a:gd name="connsiteY453" fmla="*/ 5425 h 10000"/>
                <a:gd name="connsiteX454" fmla="*/ 841 w 10000"/>
                <a:gd name="connsiteY454" fmla="*/ 5419 h 10000"/>
                <a:gd name="connsiteX455" fmla="*/ 797 w 10000"/>
                <a:gd name="connsiteY455" fmla="*/ 5407 h 10000"/>
                <a:gd name="connsiteX456" fmla="*/ 753 w 10000"/>
                <a:gd name="connsiteY456" fmla="*/ 5389 h 10000"/>
                <a:gd name="connsiteX457" fmla="*/ 709 w 10000"/>
                <a:gd name="connsiteY457" fmla="*/ 5359 h 10000"/>
                <a:gd name="connsiteX458" fmla="*/ 659 w 10000"/>
                <a:gd name="connsiteY458" fmla="*/ 5323 h 10000"/>
                <a:gd name="connsiteX459" fmla="*/ 609 w 10000"/>
                <a:gd name="connsiteY459" fmla="*/ 5287 h 10000"/>
                <a:gd name="connsiteX460" fmla="*/ 565 w 10000"/>
                <a:gd name="connsiteY460" fmla="*/ 5246 h 10000"/>
                <a:gd name="connsiteX461" fmla="*/ 514 w 10000"/>
                <a:gd name="connsiteY461" fmla="*/ 5198 h 10000"/>
                <a:gd name="connsiteX462" fmla="*/ 471 w 10000"/>
                <a:gd name="connsiteY462" fmla="*/ 5150 h 10000"/>
                <a:gd name="connsiteX463" fmla="*/ 433 w 10000"/>
                <a:gd name="connsiteY463" fmla="*/ 5096 h 10000"/>
                <a:gd name="connsiteX464" fmla="*/ 389 w 10000"/>
                <a:gd name="connsiteY464" fmla="*/ 5042 h 10000"/>
                <a:gd name="connsiteX465" fmla="*/ 358 w 10000"/>
                <a:gd name="connsiteY465" fmla="*/ 4988 h 10000"/>
                <a:gd name="connsiteX466" fmla="*/ 326 w 10000"/>
                <a:gd name="connsiteY466" fmla="*/ 4940 h 10000"/>
                <a:gd name="connsiteX467" fmla="*/ 307 w 10000"/>
                <a:gd name="connsiteY467" fmla="*/ 4892 h 10000"/>
                <a:gd name="connsiteX468" fmla="*/ 295 w 10000"/>
                <a:gd name="connsiteY468" fmla="*/ 4844 h 10000"/>
                <a:gd name="connsiteX469" fmla="*/ 289 w 10000"/>
                <a:gd name="connsiteY469" fmla="*/ 4796 h 10000"/>
                <a:gd name="connsiteX470" fmla="*/ 320 w 10000"/>
                <a:gd name="connsiteY470" fmla="*/ 4778 h 10000"/>
                <a:gd name="connsiteX471" fmla="*/ 395 w 10000"/>
                <a:gd name="connsiteY471" fmla="*/ 4743 h 10000"/>
                <a:gd name="connsiteX472" fmla="*/ 483 w 10000"/>
                <a:gd name="connsiteY472" fmla="*/ 4707 h 10000"/>
                <a:gd name="connsiteX473" fmla="*/ 533 w 10000"/>
                <a:gd name="connsiteY473" fmla="*/ 4689 h 10000"/>
                <a:gd name="connsiteX474" fmla="*/ 483 w 10000"/>
                <a:gd name="connsiteY474" fmla="*/ 4689 h 10000"/>
                <a:gd name="connsiteX475" fmla="*/ 420 w 10000"/>
                <a:gd name="connsiteY475" fmla="*/ 4683 h 10000"/>
                <a:gd name="connsiteX476" fmla="*/ 370 w 10000"/>
                <a:gd name="connsiteY476" fmla="*/ 4671 h 10000"/>
                <a:gd name="connsiteX477" fmla="*/ 320 w 10000"/>
                <a:gd name="connsiteY477" fmla="*/ 4665 h 10000"/>
                <a:gd name="connsiteX478" fmla="*/ 276 w 10000"/>
                <a:gd name="connsiteY478" fmla="*/ 4647 h 10000"/>
                <a:gd name="connsiteX479" fmla="*/ 232 w 10000"/>
                <a:gd name="connsiteY479" fmla="*/ 4635 h 10000"/>
                <a:gd name="connsiteX480" fmla="*/ 188 w 10000"/>
                <a:gd name="connsiteY480" fmla="*/ 4617 h 10000"/>
                <a:gd name="connsiteX481" fmla="*/ 157 w 10000"/>
                <a:gd name="connsiteY481" fmla="*/ 4593 h 10000"/>
                <a:gd name="connsiteX482" fmla="*/ 132 w 10000"/>
                <a:gd name="connsiteY482" fmla="*/ 4569 h 10000"/>
                <a:gd name="connsiteX483" fmla="*/ 100 w 10000"/>
                <a:gd name="connsiteY483" fmla="*/ 4545 h 10000"/>
                <a:gd name="connsiteX484" fmla="*/ 75 w 10000"/>
                <a:gd name="connsiteY484" fmla="*/ 4515 h 10000"/>
                <a:gd name="connsiteX485" fmla="*/ 50 w 10000"/>
                <a:gd name="connsiteY485" fmla="*/ 4491 h 10000"/>
                <a:gd name="connsiteX486" fmla="*/ 19 w 10000"/>
                <a:gd name="connsiteY486" fmla="*/ 4419 h 10000"/>
                <a:gd name="connsiteX487" fmla="*/ 0 w 10000"/>
                <a:gd name="connsiteY487" fmla="*/ 4353 h 10000"/>
                <a:gd name="connsiteX488" fmla="*/ 63 w 10000"/>
                <a:gd name="connsiteY488" fmla="*/ 4305 h 10000"/>
                <a:gd name="connsiteX489" fmla="*/ 132 w 10000"/>
                <a:gd name="connsiteY489" fmla="*/ 4269 h 10000"/>
                <a:gd name="connsiteX490" fmla="*/ 201 w 10000"/>
                <a:gd name="connsiteY490" fmla="*/ 4240 h 10000"/>
                <a:gd name="connsiteX491" fmla="*/ 276 w 10000"/>
                <a:gd name="connsiteY491" fmla="*/ 4216 h 10000"/>
                <a:gd name="connsiteX492" fmla="*/ 420 w 10000"/>
                <a:gd name="connsiteY492" fmla="*/ 4186 h 10000"/>
                <a:gd name="connsiteX493" fmla="*/ 565 w 10000"/>
                <a:gd name="connsiteY493" fmla="*/ 4162 h 10000"/>
                <a:gd name="connsiteX494" fmla="*/ 640 w 10000"/>
                <a:gd name="connsiteY494" fmla="*/ 4150 h 10000"/>
                <a:gd name="connsiteX495" fmla="*/ 709 w 10000"/>
                <a:gd name="connsiteY495" fmla="*/ 4126 h 10000"/>
                <a:gd name="connsiteX496" fmla="*/ 772 w 10000"/>
                <a:gd name="connsiteY496" fmla="*/ 4108 h 10000"/>
                <a:gd name="connsiteX497" fmla="*/ 834 w 10000"/>
                <a:gd name="connsiteY497" fmla="*/ 4078 h 10000"/>
                <a:gd name="connsiteX498" fmla="*/ 891 w 10000"/>
                <a:gd name="connsiteY498" fmla="*/ 4048 h 10000"/>
                <a:gd name="connsiteX499" fmla="*/ 947 w 10000"/>
                <a:gd name="connsiteY499" fmla="*/ 4000 h 10000"/>
                <a:gd name="connsiteX500" fmla="*/ 997 w 10000"/>
                <a:gd name="connsiteY500" fmla="*/ 3946 h 10000"/>
                <a:gd name="connsiteX501" fmla="*/ 1035 w 10000"/>
                <a:gd name="connsiteY501" fmla="*/ 3880 h 10000"/>
                <a:gd name="connsiteX502" fmla="*/ 1010 w 10000"/>
                <a:gd name="connsiteY502" fmla="*/ 3868 h 10000"/>
                <a:gd name="connsiteX503" fmla="*/ 985 w 10000"/>
                <a:gd name="connsiteY503" fmla="*/ 3850 h 10000"/>
                <a:gd name="connsiteX504" fmla="*/ 947 w 10000"/>
                <a:gd name="connsiteY504" fmla="*/ 3826 h 10000"/>
                <a:gd name="connsiteX505" fmla="*/ 910 w 10000"/>
                <a:gd name="connsiteY505" fmla="*/ 3790 h 10000"/>
                <a:gd name="connsiteX506" fmla="*/ 822 w 10000"/>
                <a:gd name="connsiteY506" fmla="*/ 3719 h 10000"/>
                <a:gd name="connsiteX507" fmla="*/ 740 w 10000"/>
                <a:gd name="connsiteY507" fmla="*/ 3635 h 10000"/>
                <a:gd name="connsiteX508" fmla="*/ 665 w 10000"/>
                <a:gd name="connsiteY508" fmla="*/ 3545 h 10000"/>
                <a:gd name="connsiteX509" fmla="*/ 596 w 10000"/>
                <a:gd name="connsiteY509" fmla="*/ 3449 h 10000"/>
                <a:gd name="connsiteX510" fmla="*/ 577 w 10000"/>
                <a:gd name="connsiteY510" fmla="*/ 3407 h 10000"/>
                <a:gd name="connsiteX511" fmla="*/ 558 w 10000"/>
                <a:gd name="connsiteY511" fmla="*/ 3365 h 10000"/>
                <a:gd name="connsiteX512" fmla="*/ 540 w 10000"/>
                <a:gd name="connsiteY512" fmla="*/ 3323 h 10000"/>
                <a:gd name="connsiteX513" fmla="*/ 533 w 10000"/>
                <a:gd name="connsiteY513" fmla="*/ 3287 h 10000"/>
                <a:gd name="connsiteX514" fmla="*/ 508 w 10000"/>
                <a:gd name="connsiteY514" fmla="*/ 3281 h 10000"/>
                <a:gd name="connsiteX515" fmla="*/ 483 w 10000"/>
                <a:gd name="connsiteY515" fmla="*/ 3275 h 10000"/>
                <a:gd name="connsiteX516" fmla="*/ 458 w 10000"/>
                <a:gd name="connsiteY516" fmla="*/ 3263 h 10000"/>
                <a:gd name="connsiteX517" fmla="*/ 439 w 10000"/>
                <a:gd name="connsiteY517" fmla="*/ 3240 h 10000"/>
                <a:gd name="connsiteX518" fmla="*/ 402 w 10000"/>
                <a:gd name="connsiteY518" fmla="*/ 3198 h 10000"/>
                <a:gd name="connsiteX519" fmla="*/ 370 w 10000"/>
                <a:gd name="connsiteY519" fmla="*/ 3138 h 10000"/>
                <a:gd name="connsiteX520" fmla="*/ 370 w 10000"/>
                <a:gd name="connsiteY520" fmla="*/ 2994 h 10000"/>
                <a:gd name="connsiteX521" fmla="*/ 458 w 10000"/>
                <a:gd name="connsiteY521" fmla="*/ 2988 h 10000"/>
                <a:gd name="connsiteX522" fmla="*/ 540 w 10000"/>
                <a:gd name="connsiteY522" fmla="*/ 2982 h 10000"/>
                <a:gd name="connsiteX523" fmla="*/ 615 w 10000"/>
                <a:gd name="connsiteY523" fmla="*/ 2970 h 10000"/>
                <a:gd name="connsiteX524" fmla="*/ 684 w 10000"/>
                <a:gd name="connsiteY524" fmla="*/ 2946 h 10000"/>
                <a:gd name="connsiteX525" fmla="*/ 747 w 10000"/>
                <a:gd name="connsiteY525" fmla="*/ 2928 h 10000"/>
                <a:gd name="connsiteX526" fmla="*/ 809 w 10000"/>
                <a:gd name="connsiteY526" fmla="*/ 2898 h 10000"/>
                <a:gd name="connsiteX527" fmla="*/ 866 w 10000"/>
                <a:gd name="connsiteY527" fmla="*/ 2868 h 10000"/>
                <a:gd name="connsiteX528" fmla="*/ 922 w 10000"/>
                <a:gd name="connsiteY528" fmla="*/ 2832 h 10000"/>
                <a:gd name="connsiteX529" fmla="*/ 966 w 10000"/>
                <a:gd name="connsiteY529" fmla="*/ 2790 h 10000"/>
                <a:gd name="connsiteX530" fmla="*/ 1016 w 10000"/>
                <a:gd name="connsiteY530" fmla="*/ 2749 h 10000"/>
                <a:gd name="connsiteX531" fmla="*/ 1060 w 10000"/>
                <a:gd name="connsiteY531" fmla="*/ 2707 h 10000"/>
                <a:gd name="connsiteX532" fmla="*/ 1098 w 10000"/>
                <a:gd name="connsiteY532" fmla="*/ 2659 h 10000"/>
                <a:gd name="connsiteX533" fmla="*/ 1167 w 10000"/>
                <a:gd name="connsiteY533" fmla="*/ 2563 h 10000"/>
                <a:gd name="connsiteX534" fmla="*/ 1236 w 10000"/>
                <a:gd name="connsiteY534" fmla="*/ 2455 h 10000"/>
                <a:gd name="connsiteX535" fmla="*/ 1355 w 10000"/>
                <a:gd name="connsiteY535" fmla="*/ 2240 h 10000"/>
                <a:gd name="connsiteX536" fmla="*/ 1474 w 10000"/>
                <a:gd name="connsiteY536" fmla="*/ 2024 h 10000"/>
                <a:gd name="connsiteX537" fmla="*/ 1543 w 10000"/>
                <a:gd name="connsiteY537" fmla="*/ 1928 h 10000"/>
                <a:gd name="connsiteX538" fmla="*/ 1612 w 10000"/>
                <a:gd name="connsiteY538" fmla="*/ 1844 h 10000"/>
                <a:gd name="connsiteX539" fmla="*/ 1650 w 10000"/>
                <a:gd name="connsiteY539" fmla="*/ 1796 h 10000"/>
                <a:gd name="connsiteX540" fmla="*/ 1694 w 10000"/>
                <a:gd name="connsiteY540" fmla="*/ 1760 h 10000"/>
                <a:gd name="connsiteX541" fmla="*/ 1738 w 10000"/>
                <a:gd name="connsiteY541" fmla="*/ 1731 h 10000"/>
                <a:gd name="connsiteX542" fmla="*/ 1788 w 10000"/>
                <a:gd name="connsiteY542" fmla="*/ 1701 h 10000"/>
                <a:gd name="connsiteX543" fmla="*/ 1750 w 10000"/>
                <a:gd name="connsiteY543" fmla="*/ 1629 h 10000"/>
                <a:gd name="connsiteX544" fmla="*/ 1719 w 10000"/>
                <a:gd name="connsiteY544" fmla="*/ 1563 h 10000"/>
                <a:gd name="connsiteX545" fmla="*/ 1713 w 10000"/>
                <a:gd name="connsiteY545" fmla="*/ 1533 h 10000"/>
                <a:gd name="connsiteX546" fmla="*/ 1706 w 10000"/>
                <a:gd name="connsiteY546" fmla="*/ 1503 h 10000"/>
                <a:gd name="connsiteX547" fmla="*/ 1706 w 10000"/>
                <a:gd name="connsiteY547" fmla="*/ 1467 h 10000"/>
                <a:gd name="connsiteX548" fmla="*/ 1706 w 10000"/>
                <a:gd name="connsiteY548" fmla="*/ 1437 h 10000"/>
                <a:gd name="connsiteX549" fmla="*/ 1713 w 10000"/>
                <a:gd name="connsiteY549" fmla="*/ 1407 h 10000"/>
                <a:gd name="connsiteX550" fmla="*/ 1719 w 10000"/>
                <a:gd name="connsiteY550" fmla="*/ 1377 h 10000"/>
                <a:gd name="connsiteX551" fmla="*/ 1731 w 10000"/>
                <a:gd name="connsiteY551" fmla="*/ 1353 h 10000"/>
                <a:gd name="connsiteX552" fmla="*/ 1757 w 10000"/>
                <a:gd name="connsiteY552" fmla="*/ 1329 h 10000"/>
                <a:gd name="connsiteX553" fmla="*/ 1775 w 10000"/>
                <a:gd name="connsiteY553" fmla="*/ 1311 h 10000"/>
                <a:gd name="connsiteX554" fmla="*/ 1801 w 10000"/>
                <a:gd name="connsiteY554" fmla="*/ 1293 h 10000"/>
                <a:gd name="connsiteX555" fmla="*/ 1838 w 10000"/>
                <a:gd name="connsiteY555" fmla="*/ 1275 h 10000"/>
                <a:gd name="connsiteX556" fmla="*/ 1870 w 10000"/>
                <a:gd name="connsiteY556" fmla="*/ 1257 h 10000"/>
                <a:gd name="connsiteX557" fmla="*/ 1688 w 10000"/>
                <a:gd name="connsiteY557" fmla="*/ 1096 h 10000"/>
                <a:gd name="connsiteX558" fmla="*/ 1550 w 10000"/>
                <a:gd name="connsiteY558" fmla="*/ 976 h 10000"/>
                <a:gd name="connsiteX559" fmla="*/ 1487 w 10000"/>
                <a:gd name="connsiteY559" fmla="*/ 916 h 10000"/>
                <a:gd name="connsiteX560" fmla="*/ 1424 w 10000"/>
                <a:gd name="connsiteY560" fmla="*/ 850 h 10000"/>
                <a:gd name="connsiteX561" fmla="*/ 1361 w 10000"/>
                <a:gd name="connsiteY561" fmla="*/ 766 h 10000"/>
                <a:gd name="connsiteX562" fmla="*/ 1286 w 10000"/>
                <a:gd name="connsiteY562" fmla="*/ 665 h 10000"/>
                <a:gd name="connsiteX563" fmla="*/ 1286 w 10000"/>
                <a:gd name="connsiteY563" fmla="*/ 407 h 10000"/>
                <a:gd name="connsiteX564" fmla="*/ 1437 w 10000"/>
                <a:gd name="connsiteY564" fmla="*/ 407 h 10000"/>
                <a:gd name="connsiteX565" fmla="*/ 1606 w 10000"/>
                <a:gd name="connsiteY565" fmla="*/ 395 h 10000"/>
                <a:gd name="connsiteX566" fmla="*/ 1694 w 10000"/>
                <a:gd name="connsiteY566" fmla="*/ 389 h 10000"/>
                <a:gd name="connsiteX567" fmla="*/ 1775 w 10000"/>
                <a:gd name="connsiteY567" fmla="*/ 377 h 10000"/>
                <a:gd name="connsiteX568" fmla="*/ 1863 w 10000"/>
                <a:gd name="connsiteY568" fmla="*/ 359 h 10000"/>
                <a:gd name="connsiteX569" fmla="*/ 1945 w 10000"/>
                <a:gd name="connsiteY569" fmla="*/ 341 h 10000"/>
                <a:gd name="connsiteX570" fmla="*/ 2020 w 10000"/>
                <a:gd name="connsiteY570" fmla="*/ 323 h 10000"/>
                <a:gd name="connsiteX571" fmla="*/ 2102 w 10000"/>
                <a:gd name="connsiteY571" fmla="*/ 293 h 10000"/>
                <a:gd name="connsiteX572" fmla="*/ 2177 w 10000"/>
                <a:gd name="connsiteY572" fmla="*/ 263 h 10000"/>
                <a:gd name="connsiteX573" fmla="*/ 2240 w 10000"/>
                <a:gd name="connsiteY573" fmla="*/ 222 h 10000"/>
                <a:gd name="connsiteX574" fmla="*/ 2296 w 10000"/>
                <a:gd name="connsiteY574" fmla="*/ 180 h 10000"/>
                <a:gd name="connsiteX575" fmla="*/ 2415 w 10000"/>
                <a:gd name="connsiteY575" fmla="*/ 17 h 10000"/>
                <a:gd name="connsiteX576" fmla="*/ 2631 w 10000"/>
                <a:gd name="connsiteY576" fmla="*/ 93 h 10000"/>
                <a:gd name="connsiteX577" fmla="*/ 2415 w 10000"/>
                <a:gd name="connsiteY577" fmla="*/ 136 h 10000"/>
                <a:gd name="connsiteX0" fmla="*/ 2690 w 10000"/>
                <a:gd name="connsiteY0" fmla="*/ 122 h 9986"/>
                <a:gd name="connsiteX1" fmla="*/ 2509 w 10000"/>
                <a:gd name="connsiteY1" fmla="*/ 82 h 9986"/>
                <a:gd name="connsiteX2" fmla="*/ 2818 w 10000"/>
                <a:gd name="connsiteY2" fmla="*/ 48 h 9986"/>
                <a:gd name="connsiteX3" fmla="*/ 2776 w 10000"/>
                <a:gd name="connsiteY3" fmla="*/ 130 h 9986"/>
                <a:gd name="connsiteX4" fmla="*/ 2817 w 10000"/>
                <a:gd name="connsiteY4" fmla="*/ 110 h 9986"/>
                <a:gd name="connsiteX5" fmla="*/ 3052 w 10000"/>
                <a:gd name="connsiteY5" fmla="*/ 145 h 9986"/>
                <a:gd name="connsiteX6" fmla="*/ 3121 w 10000"/>
                <a:gd name="connsiteY6" fmla="*/ 250 h 9986"/>
                <a:gd name="connsiteX7" fmla="*/ 3086 w 10000"/>
                <a:gd name="connsiteY7" fmla="*/ 471 h 9986"/>
                <a:gd name="connsiteX8" fmla="*/ 3152 w 10000"/>
                <a:gd name="connsiteY8" fmla="*/ 507 h 9986"/>
                <a:gd name="connsiteX9" fmla="*/ 3093 w 10000"/>
                <a:gd name="connsiteY9" fmla="*/ 537 h 9986"/>
                <a:gd name="connsiteX10" fmla="*/ 2992 w 10000"/>
                <a:gd name="connsiteY10" fmla="*/ 627 h 9986"/>
                <a:gd name="connsiteX11" fmla="*/ 3043 w 10000"/>
                <a:gd name="connsiteY11" fmla="*/ 651 h 9986"/>
                <a:gd name="connsiteX12" fmla="*/ 3087 w 10000"/>
                <a:gd name="connsiteY12" fmla="*/ 693 h 9986"/>
                <a:gd name="connsiteX13" fmla="*/ 3130 w 10000"/>
                <a:gd name="connsiteY13" fmla="*/ 740 h 9986"/>
                <a:gd name="connsiteX14" fmla="*/ 3174 w 10000"/>
                <a:gd name="connsiteY14" fmla="*/ 788 h 9986"/>
                <a:gd name="connsiteX15" fmla="*/ 3212 w 10000"/>
                <a:gd name="connsiteY15" fmla="*/ 848 h 9986"/>
                <a:gd name="connsiteX16" fmla="*/ 3256 w 10000"/>
                <a:gd name="connsiteY16" fmla="*/ 902 h 9986"/>
                <a:gd name="connsiteX17" fmla="*/ 3281 w 10000"/>
                <a:gd name="connsiteY17" fmla="*/ 962 h 9986"/>
                <a:gd name="connsiteX18" fmla="*/ 3312 w 10000"/>
                <a:gd name="connsiteY18" fmla="*/ 1028 h 9986"/>
                <a:gd name="connsiteX19" fmla="*/ 3331 w 10000"/>
                <a:gd name="connsiteY19" fmla="*/ 1094 h 9986"/>
                <a:gd name="connsiteX20" fmla="*/ 3043 w 10000"/>
                <a:gd name="connsiteY20" fmla="*/ 1094 h 9986"/>
                <a:gd name="connsiteX21" fmla="*/ 3043 w 10000"/>
                <a:gd name="connsiteY21" fmla="*/ 1279 h 9986"/>
                <a:gd name="connsiteX22" fmla="*/ 3074 w 10000"/>
                <a:gd name="connsiteY22" fmla="*/ 1357 h 9986"/>
                <a:gd name="connsiteX23" fmla="*/ 3118 w 10000"/>
                <a:gd name="connsiteY23" fmla="*/ 1423 h 9986"/>
                <a:gd name="connsiteX24" fmla="*/ 3168 w 10000"/>
                <a:gd name="connsiteY24" fmla="*/ 1483 h 9986"/>
                <a:gd name="connsiteX25" fmla="*/ 3225 w 10000"/>
                <a:gd name="connsiteY25" fmla="*/ 1525 h 9986"/>
                <a:gd name="connsiteX26" fmla="*/ 3281 w 10000"/>
                <a:gd name="connsiteY26" fmla="*/ 1567 h 9986"/>
                <a:gd name="connsiteX27" fmla="*/ 3350 w 10000"/>
                <a:gd name="connsiteY27" fmla="*/ 1597 h 9986"/>
                <a:gd name="connsiteX28" fmla="*/ 3413 w 10000"/>
                <a:gd name="connsiteY28" fmla="*/ 1627 h 9986"/>
                <a:gd name="connsiteX29" fmla="*/ 3488 w 10000"/>
                <a:gd name="connsiteY29" fmla="*/ 1651 h 9986"/>
                <a:gd name="connsiteX30" fmla="*/ 3626 w 10000"/>
                <a:gd name="connsiteY30" fmla="*/ 1705 h 9986"/>
                <a:gd name="connsiteX31" fmla="*/ 3764 w 10000"/>
                <a:gd name="connsiteY31" fmla="*/ 1758 h 9986"/>
                <a:gd name="connsiteX32" fmla="*/ 3827 w 10000"/>
                <a:gd name="connsiteY32" fmla="*/ 1794 h 9986"/>
                <a:gd name="connsiteX33" fmla="*/ 3890 w 10000"/>
                <a:gd name="connsiteY33" fmla="*/ 1842 h 9986"/>
                <a:gd name="connsiteX34" fmla="*/ 3946 w 10000"/>
                <a:gd name="connsiteY34" fmla="*/ 1890 h 9986"/>
                <a:gd name="connsiteX35" fmla="*/ 4003 w 10000"/>
                <a:gd name="connsiteY35" fmla="*/ 1944 h 9986"/>
                <a:gd name="connsiteX36" fmla="*/ 3959 w 10000"/>
                <a:gd name="connsiteY36" fmla="*/ 2501 h 9986"/>
                <a:gd name="connsiteX37" fmla="*/ 4034 w 10000"/>
                <a:gd name="connsiteY37" fmla="*/ 2555 h 9986"/>
                <a:gd name="connsiteX38" fmla="*/ 4141 w 10000"/>
                <a:gd name="connsiteY38" fmla="*/ 2621 h 9986"/>
                <a:gd name="connsiteX39" fmla="*/ 4260 w 10000"/>
                <a:gd name="connsiteY39" fmla="*/ 2681 h 9986"/>
                <a:gd name="connsiteX40" fmla="*/ 4398 w 10000"/>
                <a:gd name="connsiteY40" fmla="*/ 2735 h 9986"/>
                <a:gd name="connsiteX41" fmla="*/ 4536 w 10000"/>
                <a:gd name="connsiteY41" fmla="*/ 2788 h 9986"/>
                <a:gd name="connsiteX42" fmla="*/ 4668 w 10000"/>
                <a:gd name="connsiteY42" fmla="*/ 2830 h 9986"/>
                <a:gd name="connsiteX43" fmla="*/ 4724 w 10000"/>
                <a:gd name="connsiteY43" fmla="*/ 2848 h 9986"/>
                <a:gd name="connsiteX44" fmla="*/ 4780 w 10000"/>
                <a:gd name="connsiteY44" fmla="*/ 2860 h 9986"/>
                <a:gd name="connsiteX45" fmla="*/ 4831 w 10000"/>
                <a:gd name="connsiteY45" fmla="*/ 2866 h 9986"/>
                <a:gd name="connsiteX46" fmla="*/ 4875 w 10000"/>
                <a:gd name="connsiteY46" fmla="*/ 2866 h 9986"/>
                <a:gd name="connsiteX47" fmla="*/ 4887 w 10000"/>
                <a:gd name="connsiteY47" fmla="*/ 2908 h 9986"/>
                <a:gd name="connsiteX48" fmla="*/ 4918 w 10000"/>
                <a:gd name="connsiteY48" fmla="*/ 2944 h 9986"/>
                <a:gd name="connsiteX49" fmla="*/ 4950 w 10000"/>
                <a:gd name="connsiteY49" fmla="*/ 2962 h 9986"/>
                <a:gd name="connsiteX50" fmla="*/ 4987 w 10000"/>
                <a:gd name="connsiteY50" fmla="*/ 2974 h 9986"/>
                <a:gd name="connsiteX51" fmla="*/ 5019 w 10000"/>
                <a:gd name="connsiteY51" fmla="*/ 2986 h 9986"/>
                <a:gd name="connsiteX52" fmla="*/ 5063 w 10000"/>
                <a:gd name="connsiteY52" fmla="*/ 2986 h 9986"/>
                <a:gd name="connsiteX53" fmla="*/ 5107 w 10000"/>
                <a:gd name="connsiteY53" fmla="*/ 2980 h 9986"/>
                <a:gd name="connsiteX54" fmla="*/ 5157 w 10000"/>
                <a:gd name="connsiteY54" fmla="*/ 2974 h 9986"/>
                <a:gd name="connsiteX55" fmla="*/ 5245 w 10000"/>
                <a:gd name="connsiteY55" fmla="*/ 2956 h 9986"/>
                <a:gd name="connsiteX56" fmla="*/ 5345 w 10000"/>
                <a:gd name="connsiteY56" fmla="*/ 2932 h 9986"/>
                <a:gd name="connsiteX57" fmla="*/ 5383 w 10000"/>
                <a:gd name="connsiteY57" fmla="*/ 2932 h 9986"/>
                <a:gd name="connsiteX58" fmla="*/ 5427 w 10000"/>
                <a:gd name="connsiteY58" fmla="*/ 2926 h 9986"/>
                <a:gd name="connsiteX59" fmla="*/ 5464 w 10000"/>
                <a:gd name="connsiteY59" fmla="*/ 2932 h 9986"/>
                <a:gd name="connsiteX60" fmla="*/ 5502 w 10000"/>
                <a:gd name="connsiteY60" fmla="*/ 2938 h 9986"/>
                <a:gd name="connsiteX61" fmla="*/ 5558 w 10000"/>
                <a:gd name="connsiteY61" fmla="*/ 2974 h 9986"/>
                <a:gd name="connsiteX62" fmla="*/ 5596 w 10000"/>
                <a:gd name="connsiteY62" fmla="*/ 3004 h 9986"/>
                <a:gd name="connsiteX63" fmla="*/ 5634 w 10000"/>
                <a:gd name="connsiteY63" fmla="*/ 3046 h 9986"/>
                <a:gd name="connsiteX64" fmla="*/ 5665 w 10000"/>
                <a:gd name="connsiteY64" fmla="*/ 3082 h 9986"/>
                <a:gd name="connsiteX65" fmla="*/ 5696 w 10000"/>
                <a:gd name="connsiteY65" fmla="*/ 3118 h 9986"/>
                <a:gd name="connsiteX66" fmla="*/ 5734 w 10000"/>
                <a:gd name="connsiteY66" fmla="*/ 3154 h 9986"/>
                <a:gd name="connsiteX67" fmla="*/ 5759 w 10000"/>
                <a:gd name="connsiteY67" fmla="*/ 3172 h 9986"/>
                <a:gd name="connsiteX68" fmla="*/ 5778 w 10000"/>
                <a:gd name="connsiteY68" fmla="*/ 3184 h 9986"/>
                <a:gd name="connsiteX69" fmla="*/ 5803 w 10000"/>
                <a:gd name="connsiteY69" fmla="*/ 3196 h 9986"/>
                <a:gd name="connsiteX70" fmla="*/ 5834 w 10000"/>
                <a:gd name="connsiteY70" fmla="*/ 3202 h 9986"/>
                <a:gd name="connsiteX71" fmla="*/ 5935 w 10000"/>
                <a:gd name="connsiteY71" fmla="*/ 3220 h 9986"/>
                <a:gd name="connsiteX72" fmla="*/ 6073 w 10000"/>
                <a:gd name="connsiteY72" fmla="*/ 3255 h 9986"/>
                <a:gd name="connsiteX73" fmla="*/ 6230 w 10000"/>
                <a:gd name="connsiteY73" fmla="*/ 3291 h 9986"/>
                <a:gd name="connsiteX74" fmla="*/ 6405 w 10000"/>
                <a:gd name="connsiteY74" fmla="*/ 3333 h 9986"/>
                <a:gd name="connsiteX75" fmla="*/ 6568 w 10000"/>
                <a:gd name="connsiteY75" fmla="*/ 3363 h 9986"/>
                <a:gd name="connsiteX76" fmla="*/ 6719 w 10000"/>
                <a:gd name="connsiteY76" fmla="*/ 3387 h 9986"/>
                <a:gd name="connsiteX77" fmla="*/ 6788 w 10000"/>
                <a:gd name="connsiteY77" fmla="*/ 3393 h 9986"/>
                <a:gd name="connsiteX78" fmla="*/ 6838 w 10000"/>
                <a:gd name="connsiteY78" fmla="*/ 3399 h 9986"/>
                <a:gd name="connsiteX79" fmla="*/ 6888 w 10000"/>
                <a:gd name="connsiteY79" fmla="*/ 3393 h 9986"/>
                <a:gd name="connsiteX80" fmla="*/ 6913 w 10000"/>
                <a:gd name="connsiteY80" fmla="*/ 3381 h 9986"/>
                <a:gd name="connsiteX81" fmla="*/ 6888 w 10000"/>
                <a:gd name="connsiteY81" fmla="*/ 3339 h 9986"/>
                <a:gd name="connsiteX82" fmla="*/ 6857 w 10000"/>
                <a:gd name="connsiteY82" fmla="*/ 3291 h 9986"/>
                <a:gd name="connsiteX83" fmla="*/ 6838 w 10000"/>
                <a:gd name="connsiteY83" fmla="*/ 3243 h 9986"/>
                <a:gd name="connsiteX84" fmla="*/ 6826 w 10000"/>
                <a:gd name="connsiteY84" fmla="*/ 3190 h 9986"/>
                <a:gd name="connsiteX85" fmla="*/ 6794 w 10000"/>
                <a:gd name="connsiteY85" fmla="*/ 3100 h 9986"/>
                <a:gd name="connsiteX86" fmla="*/ 6788 w 10000"/>
                <a:gd name="connsiteY86" fmla="*/ 3052 h 9986"/>
                <a:gd name="connsiteX87" fmla="*/ 6788 w 10000"/>
                <a:gd name="connsiteY87" fmla="*/ 2866 h 9986"/>
                <a:gd name="connsiteX88" fmla="*/ 6788 w 10000"/>
                <a:gd name="connsiteY88" fmla="*/ 2681 h 9986"/>
                <a:gd name="connsiteX89" fmla="*/ 6995 w 10000"/>
                <a:gd name="connsiteY89" fmla="*/ 2681 h 9986"/>
                <a:gd name="connsiteX90" fmla="*/ 7033 w 10000"/>
                <a:gd name="connsiteY90" fmla="*/ 2746 h 9986"/>
                <a:gd name="connsiteX91" fmla="*/ 7058 w 10000"/>
                <a:gd name="connsiteY91" fmla="*/ 2788 h 9986"/>
                <a:gd name="connsiteX92" fmla="*/ 7095 w 10000"/>
                <a:gd name="connsiteY92" fmla="*/ 2824 h 9986"/>
                <a:gd name="connsiteX93" fmla="*/ 7127 w 10000"/>
                <a:gd name="connsiteY93" fmla="*/ 2866 h 9986"/>
                <a:gd name="connsiteX94" fmla="*/ 7120 w 10000"/>
                <a:gd name="connsiteY94" fmla="*/ 2962 h 9986"/>
                <a:gd name="connsiteX95" fmla="*/ 7102 w 10000"/>
                <a:gd name="connsiteY95" fmla="*/ 3022 h 9986"/>
                <a:gd name="connsiteX96" fmla="*/ 7089 w 10000"/>
                <a:gd name="connsiteY96" fmla="*/ 3070 h 9986"/>
                <a:gd name="connsiteX97" fmla="*/ 7077 w 10000"/>
                <a:gd name="connsiteY97" fmla="*/ 3124 h 9986"/>
                <a:gd name="connsiteX98" fmla="*/ 7208 w 10000"/>
                <a:gd name="connsiteY98" fmla="*/ 3160 h 9986"/>
                <a:gd name="connsiteX99" fmla="*/ 7334 w 10000"/>
                <a:gd name="connsiteY99" fmla="*/ 3196 h 9986"/>
                <a:gd name="connsiteX100" fmla="*/ 7396 w 10000"/>
                <a:gd name="connsiteY100" fmla="*/ 3214 h 9986"/>
                <a:gd name="connsiteX101" fmla="*/ 7459 w 10000"/>
                <a:gd name="connsiteY101" fmla="*/ 3226 h 9986"/>
                <a:gd name="connsiteX102" fmla="*/ 7522 w 10000"/>
                <a:gd name="connsiteY102" fmla="*/ 3232 h 9986"/>
                <a:gd name="connsiteX103" fmla="*/ 7585 w 10000"/>
                <a:gd name="connsiteY103" fmla="*/ 3237 h 9986"/>
                <a:gd name="connsiteX104" fmla="*/ 7591 w 10000"/>
                <a:gd name="connsiteY104" fmla="*/ 3261 h 9986"/>
                <a:gd name="connsiteX105" fmla="*/ 7604 w 10000"/>
                <a:gd name="connsiteY105" fmla="*/ 3285 h 9986"/>
                <a:gd name="connsiteX106" fmla="*/ 7622 w 10000"/>
                <a:gd name="connsiteY106" fmla="*/ 3303 h 9986"/>
                <a:gd name="connsiteX107" fmla="*/ 7654 w 10000"/>
                <a:gd name="connsiteY107" fmla="*/ 3321 h 9986"/>
                <a:gd name="connsiteX108" fmla="*/ 7704 w 10000"/>
                <a:gd name="connsiteY108" fmla="*/ 3339 h 9986"/>
                <a:gd name="connsiteX109" fmla="*/ 7748 w 10000"/>
                <a:gd name="connsiteY109" fmla="*/ 3345 h 9986"/>
                <a:gd name="connsiteX110" fmla="*/ 7798 w 10000"/>
                <a:gd name="connsiteY110" fmla="*/ 3345 h 9986"/>
                <a:gd name="connsiteX111" fmla="*/ 7836 w 10000"/>
                <a:gd name="connsiteY111" fmla="*/ 3333 h 9986"/>
                <a:gd name="connsiteX112" fmla="*/ 7880 w 10000"/>
                <a:gd name="connsiteY112" fmla="*/ 3315 h 9986"/>
                <a:gd name="connsiteX113" fmla="*/ 7911 w 10000"/>
                <a:gd name="connsiteY113" fmla="*/ 3297 h 9986"/>
                <a:gd name="connsiteX114" fmla="*/ 7949 w 10000"/>
                <a:gd name="connsiteY114" fmla="*/ 3273 h 9986"/>
                <a:gd name="connsiteX115" fmla="*/ 7980 w 10000"/>
                <a:gd name="connsiteY115" fmla="*/ 3243 h 9986"/>
                <a:gd name="connsiteX116" fmla="*/ 8011 w 10000"/>
                <a:gd name="connsiteY116" fmla="*/ 3214 h 9986"/>
                <a:gd name="connsiteX117" fmla="*/ 8036 w 10000"/>
                <a:gd name="connsiteY117" fmla="*/ 3184 h 9986"/>
                <a:gd name="connsiteX118" fmla="*/ 8087 w 10000"/>
                <a:gd name="connsiteY118" fmla="*/ 3106 h 9986"/>
                <a:gd name="connsiteX119" fmla="*/ 8118 w 10000"/>
                <a:gd name="connsiteY119" fmla="*/ 3034 h 9986"/>
                <a:gd name="connsiteX120" fmla="*/ 8149 w 10000"/>
                <a:gd name="connsiteY120" fmla="*/ 2968 h 9986"/>
                <a:gd name="connsiteX121" fmla="*/ 8168 w 10000"/>
                <a:gd name="connsiteY121" fmla="*/ 2902 h 9986"/>
                <a:gd name="connsiteX122" fmla="*/ 8231 w 10000"/>
                <a:gd name="connsiteY122" fmla="*/ 2836 h 9986"/>
                <a:gd name="connsiteX123" fmla="*/ 8294 w 10000"/>
                <a:gd name="connsiteY123" fmla="*/ 2770 h 9986"/>
                <a:gd name="connsiteX124" fmla="*/ 8363 w 10000"/>
                <a:gd name="connsiteY124" fmla="*/ 2717 h 9986"/>
                <a:gd name="connsiteX125" fmla="*/ 8432 w 10000"/>
                <a:gd name="connsiteY125" fmla="*/ 2657 h 9986"/>
                <a:gd name="connsiteX126" fmla="*/ 8507 w 10000"/>
                <a:gd name="connsiteY126" fmla="*/ 2609 h 9986"/>
                <a:gd name="connsiteX127" fmla="*/ 8576 w 10000"/>
                <a:gd name="connsiteY127" fmla="*/ 2561 h 9986"/>
                <a:gd name="connsiteX128" fmla="*/ 8651 w 10000"/>
                <a:gd name="connsiteY128" fmla="*/ 2519 h 9986"/>
                <a:gd name="connsiteX129" fmla="*/ 8726 w 10000"/>
                <a:gd name="connsiteY129" fmla="*/ 2477 h 9986"/>
                <a:gd name="connsiteX130" fmla="*/ 8808 w 10000"/>
                <a:gd name="connsiteY130" fmla="*/ 2435 h 9986"/>
                <a:gd name="connsiteX131" fmla="*/ 8890 w 10000"/>
                <a:gd name="connsiteY131" fmla="*/ 2399 h 9986"/>
                <a:gd name="connsiteX132" fmla="*/ 8971 w 10000"/>
                <a:gd name="connsiteY132" fmla="*/ 2369 h 9986"/>
                <a:gd name="connsiteX133" fmla="*/ 9059 w 10000"/>
                <a:gd name="connsiteY133" fmla="*/ 2339 h 9986"/>
                <a:gd name="connsiteX134" fmla="*/ 9235 w 10000"/>
                <a:gd name="connsiteY134" fmla="*/ 2285 h 9986"/>
                <a:gd name="connsiteX135" fmla="*/ 9417 w 10000"/>
                <a:gd name="connsiteY135" fmla="*/ 2243 h 9986"/>
                <a:gd name="connsiteX136" fmla="*/ 9454 w 10000"/>
                <a:gd name="connsiteY136" fmla="*/ 2291 h 9986"/>
                <a:gd name="connsiteX137" fmla="*/ 9504 w 10000"/>
                <a:gd name="connsiteY137" fmla="*/ 2351 h 9986"/>
                <a:gd name="connsiteX138" fmla="*/ 9573 w 10000"/>
                <a:gd name="connsiteY138" fmla="*/ 2417 h 9986"/>
                <a:gd name="connsiteX139" fmla="*/ 9642 w 10000"/>
                <a:gd name="connsiteY139" fmla="*/ 2489 h 9986"/>
                <a:gd name="connsiteX140" fmla="*/ 9718 w 10000"/>
                <a:gd name="connsiteY140" fmla="*/ 2549 h 9986"/>
                <a:gd name="connsiteX141" fmla="*/ 9799 w 10000"/>
                <a:gd name="connsiteY141" fmla="*/ 2597 h 9986"/>
                <a:gd name="connsiteX142" fmla="*/ 9837 w 10000"/>
                <a:gd name="connsiteY142" fmla="*/ 2621 h 9986"/>
                <a:gd name="connsiteX143" fmla="*/ 9875 w 10000"/>
                <a:gd name="connsiteY143" fmla="*/ 2633 h 9986"/>
                <a:gd name="connsiteX144" fmla="*/ 9918 w 10000"/>
                <a:gd name="connsiteY144" fmla="*/ 2645 h 9986"/>
                <a:gd name="connsiteX145" fmla="*/ 9956 w 10000"/>
                <a:gd name="connsiteY145" fmla="*/ 2645 h 9986"/>
                <a:gd name="connsiteX146" fmla="*/ 10000 w 10000"/>
                <a:gd name="connsiteY146" fmla="*/ 2573 h 9986"/>
                <a:gd name="connsiteX147" fmla="*/ 9975 w 10000"/>
                <a:gd name="connsiteY147" fmla="*/ 2699 h 9986"/>
                <a:gd name="connsiteX148" fmla="*/ 9944 w 10000"/>
                <a:gd name="connsiteY148" fmla="*/ 2842 h 9986"/>
                <a:gd name="connsiteX149" fmla="*/ 9931 w 10000"/>
                <a:gd name="connsiteY149" fmla="*/ 2908 h 9986"/>
                <a:gd name="connsiteX150" fmla="*/ 9906 w 10000"/>
                <a:gd name="connsiteY150" fmla="*/ 2968 h 9986"/>
                <a:gd name="connsiteX151" fmla="*/ 9887 w 10000"/>
                <a:gd name="connsiteY151" fmla="*/ 2992 h 9986"/>
                <a:gd name="connsiteX152" fmla="*/ 9875 w 10000"/>
                <a:gd name="connsiteY152" fmla="*/ 3016 h 9986"/>
                <a:gd name="connsiteX153" fmla="*/ 9856 w 10000"/>
                <a:gd name="connsiteY153" fmla="*/ 3034 h 9986"/>
                <a:gd name="connsiteX154" fmla="*/ 9837 w 10000"/>
                <a:gd name="connsiteY154" fmla="*/ 3052 h 9986"/>
                <a:gd name="connsiteX155" fmla="*/ 9749 w 10000"/>
                <a:gd name="connsiteY155" fmla="*/ 3070 h 9986"/>
                <a:gd name="connsiteX156" fmla="*/ 9605 w 10000"/>
                <a:gd name="connsiteY156" fmla="*/ 3118 h 9986"/>
                <a:gd name="connsiteX157" fmla="*/ 9536 w 10000"/>
                <a:gd name="connsiteY157" fmla="*/ 3160 h 9986"/>
                <a:gd name="connsiteX158" fmla="*/ 9479 w 10000"/>
                <a:gd name="connsiteY158" fmla="*/ 3196 h 9986"/>
                <a:gd name="connsiteX159" fmla="*/ 9448 w 10000"/>
                <a:gd name="connsiteY159" fmla="*/ 3214 h 9986"/>
                <a:gd name="connsiteX160" fmla="*/ 9435 w 10000"/>
                <a:gd name="connsiteY160" fmla="*/ 3232 h 9986"/>
                <a:gd name="connsiteX161" fmla="*/ 9423 w 10000"/>
                <a:gd name="connsiteY161" fmla="*/ 3255 h 9986"/>
                <a:gd name="connsiteX162" fmla="*/ 9417 w 10000"/>
                <a:gd name="connsiteY162" fmla="*/ 3273 h 9986"/>
                <a:gd name="connsiteX163" fmla="*/ 9423 w 10000"/>
                <a:gd name="connsiteY163" fmla="*/ 3483 h 9986"/>
                <a:gd name="connsiteX164" fmla="*/ 9417 w 10000"/>
                <a:gd name="connsiteY164" fmla="*/ 3723 h 9986"/>
                <a:gd name="connsiteX165" fmla="*/ 9398 w 10000"/>
                <a:gd name="connsiteY165" fmla="*/ 3782 h 9986"/>
                <a:gd name="connsiteX166" fmla="*/ 9391 w 10000"/>
                <a:gd name="connsiteY166" fmla="*/ 3848 h 9986"/>
                <a:gd name="connsiteX167" fmla="*/ 9379 w 10000"/>
                <a:gd name="connsiteY167" fmla="*/ 3902 h 9986"/>
                <a:gd name="connsiteX168" fmla="*/ 9366 w 10000"/>
                <a:gd name="connsiteY168" fmla="*/ 3956 h 9986"/>
                <a:gd name="connsiteX169" fmla="*/ 9348 w 10000"/>
                <a:gd name="connsiteY169" fmla="*/ 4004 h 9986"/>
                <a:gd name="connsiteX170" fmla="*/ 9316 w 10000"/>
                <a:gd name="connsiteY170" fmla="*/ 4052 h 9986"/>
                <a:gd name="connsiteX171" fmla="*/ 9285 w 10000"/>
                <a:gd name="connsiteY171" fmla="*/ 4088 h 9986"/>
                <a:gd name="connsiteX172" fmla="*/ 9247 w 10000"/>
                <a:gd name="connsiteY172" fmla="*/ 4118 h 9986"/>
                <a:gd name="connsiteX173" fmla="*/ 9228 w 10000"/>
                <a:gd name="connsiteY173" fmla="*/ 4136 h 9986"/>
                <a:gd name="connsiteX174" fmla="*/ 9184 w 10000"/>
                <a:gd name="connsiteY174" fmla="*/ 4142 h 9986"/>
                <a:gd name="connsiteX175" fmla="*/ 9141 w 10000"/>
                <a:gd name="connsiteY175" fmla="*/ 4148 h 9986"/>
                <a:gd name="connsiteX176" fmla="*/ 9090 w 10000"/>
                <a:gd name="connsiteY176" fmla="*/ 4154 h 9986"/>
                <a:gd name="connsiteX177" fmla="*/ 9040 w 10000"/>
                <a:gd name="connsiteY177" fmla="*/ 4160 h 9986"/>
                <a:gd name="connsiteX178" fmla="*/ 8996 w 10000"/>
                <a:gd name="connsiteY178" fmla="*/ 4178 h 9986"/>
                <a:gd name="connsiteX179" fmla="*/ 8977 w 10000"/>
                <a:gd name="connsiteY179" fmla="*/ 4184 h 9986"/>
                <a:gd name="connsiteX180" fmla="*/ 8965 w 10000"/>
                <a:gd name="connsiteY180" fmla="*/ 4202 h 9986"/>
                <a:gd name="connsiteX181" fmla="*/ 8959 w 10000"/>
                <a:gd name="connsiteY181" fmla="*/ 4214 h 9986"/>
                <a:gd name="connsiteX182" fmla="*/ 8959 w 10000"/>
                <a:gd name="connsiteY182" fmla="*/ 4232 h 9986"/>
                <a:gd name="connsiteX183" fmla="*/ 8952 w 10000"/>
                <a:gd name="connsiteY183" fmla="*/ 4303 h 9986"/>
                <a:gd name="connsiteX184" fmla="*/ 8952 w 10000"/>
                <a:gd name="connsiteY184" fmla="*/ 4387 h 9986"/>
                <a:gd name="connsiteX185" fmla="*/ 8940 w 10000"/>
                <a:gd name="connsiteY185" fmla="*/ 4477 h 9986"/>
                <a:gd name="connsiteX186" fmla="*/ 8927 w 10000"/>
                <a:gd name="connsiteY186" fmla="*/ 4561 h 9986"/>
                <a:gd name="connsiteX187" fmla="*/ 8908 w 10000"/>
                <a:gd name="connsiteY187" fmla="*/ 4645 h 9986"/>
                <a:gd name="connsiteX188" fmla="*/ 8890 w 10000"/>
                <a:gd name="connsiteY188" fmla="*/ 4723 h 9986"/>
                <a:gd name="connsiteX189" fmla="*/ 8864 w 10000"/>
                <a:gd name="connsiteY189" fmla="*/ 4794 h 9986"/>
                <a:gd name="connsiteX190" fmla="*/ 8833 w 10000"/>
                <a:gd name="connsiteY190" fmla="*/ 4860 h 9986"/>
                <a:gd name="connsiteX191" fmla="*/ 8538 w 10000"/>
                <a:gd name="connsiteY191" fmla="*/ 4375 h 9986"/>
                <a:gd name="connsiteX192" fmla="*/ 8526 w 10000"/>
                <a:gd name="connsiteY192" fmla="*/ 4399 h 9986"/>
                <a:gd name="connsiteX193" fmla="*/ 8494 w 10000"/>
                <a:gd name="connsiteY193" fmla="*/ 4453 h 9986"/>
                <a:gd name="connsiteX194" fmla="*/ 8463 w 10000"/>
                <a:gd name="connsiteY194" fmla="*/ 4483 h 9986"/>
                <a:gd name="connsiteX195" fmla="*/ 8438 w 10000"/>
                <a:gd name="connsiteY195" fmla="*/ 4507 h 9986"/>
                <a:gd name="connsiteX196" fmla="*/ 8407 w 10000"/>
                <a:gd name="connsiteY196" fmla="*/ 4525 h 9986"/>
                <a:gd name="connsiteX197" fmla="*/ 8375 w 10000"/>
                <a:gd name="connsiteY197" fmla="*/ 4531 h 9986"/>
                <a:gd name="connsiteX198" fmla="*/ 8338 w 10000"/>
                <a:gd name="connsiteY198" fmla="*/ 4525 h 9986"/>
                <a:gd name="connsiteX199" fmla="*/ 8312 w 10000"/>
                <a:gd name="connsiteY199" fmla="*/ 4519 h 9986"/>
                <a:gd name="connsiteX200" fmla="*/ 8287 w 10000"/>
                <a:gd name="connsiteY200" fmla="*/ 4501 h 9986"/>
                <a:gd name="connsiteX201" fmla="*/ 8256 w 10000"/>
                <a:gd name="connsiteY201" fmla="*/ 4483 h 9986"/>
                <a:gd name="connsiteX202" fmla="*/ 8237 w 10000"/>
                <a:gd name="connsiteY202" fmla="*/ 4453 h 9986"/>
                <a:gd name="connsiteX203" fmla="*/ 8225 w 10000"/>
                <a:gd name="connsiteY203" fmla="*/ 4429 h 9986"/>
                <a:gd name="connsiteX204" fmla="*/ 8206 w 10000"/>
                <a:gd name="connsiteY204" fmla="*/ 4405 h 9986"/>
                <a:gd name="connsiteX205" fmla="*/ 8206 w 10000"/>
                <a:gd name="connsiteY205" fmla="*/ 4375 h 9986"/>
                <a:gd name="connsiteX206" fmla="*/ 8206 w 10000"/>
                <a:gd name="connsiteY206" fmla="*/ 4339 h 9986"/>
                <a:gd name="connsiteX207" fmla="*/ 8225 w 10000"/>
                <a:gd name="connsiteY207" fmla="*/ 4303 h 9986"/>
                <a:gd name="connsiteX208" fmla="*/ 8237 w 10000"/>
                <a:gd name="connsiteY208" fmla="*/ 4267 h 9986"/>
                <a:gd name="connsiteX209" fmla="*/ 8250 w 10000"/>
                <a:gd name="connsiteY209" fmla="*/ 4232 h 9986"/>
                <a:gd name="connsiteX210" fmla="*/ 8300 w 10000"/>
                <a:gd name="connsiteY210" fmla="*/ 4166 h 9986"/>
                <a:gd name="connsiteX211" fmla="*/ 8356 w 10000"/>
                <a:gd name="connsiteY211" fmla="*/ 4100 h 9986"/>
                <a:gd name="connsiteX212" fmla="*/ 8407 w 10000"/>
                <a:gd name="connsiteY212" fmla="*/ 4040 h 9986"/>
                <a:gd name="connsiteX213" fmla="*/ 8457 w 10000"/>
                <a:gd name="connsiteY213" fmla="*/ 3974 h 9986"/>
                <a:gd name="connsiteX214" fmla="*/ 8469 w 10000"/>
                <a:gd name="connsiteY214" fmla="*/ 3938 h 9986"/>
                <a:gd name="connsiteX215" fmla="*/ 8482 w 10000"/>
                <a:gd name="connsiteY215" fmla="*/ 3908 h 9986"/>
                <a:gd name="connsiteX216" fmla="*/ 8501 w 10000"/>
                <a:gd name="connsiteY216" fmla="*/ 3866 h 9986"/>
                <a:gd name="connsiteX217" fmla="*/ 8501 w 10000"/>
                <a:gd name="connsiteY217" fmla="*/ 3830 h 9986"/>
                <a:gd name="connsiteX218" fmla="*/ 7748 w 10000"/>
                <a:gd name="connsiteY218" fmla="*/ 3830 h 9986"/>
                <a:gd name="connsiteX219" fmla="*/ 7723 w 10000"/>
                <a:gd name="connsiteY219" fmla="*/ 3824 h 9986"/>
                <a:gd name="connsiteX220" fmla="*/ 7685 w 10000"/>
                <a:gd name="connsiteY220" fmla="*/ 3806 h 9986"/>
                <a:gd name="connsiteX221" fmla="*/ 7660 w 10000"/>
                <a:gd name="connsiteY221" fmla="*/ 3770 h 9986"/>
                <a:gd name="connsiteX222" fmla="*/ 7635 w 10000"/>
                <a:gd name="connsiteY222" fmla="*/ 3735 h 9986"/>
                <a:gd name="connsiteX223" fmla="*/ 7616 w 10000"/>
                <a:gd name="connsiteY223" fmla="*/ 3687 h 9986"/>
                <a:gd name="connsiteX224" fmla="*/ 7597 w 10000"/>
                <a:gd name="connsiteY224" fmla="*/ 3639 h 9986"/>
                <a:gd name="connsiteX225" fmla="*/ 7591 w 10000"/>
                <a:gd name="connsiteY225" fmla="*/ 3585 h 9986"/>
                <a:gd name="connsiteX226" fmla="*/ 7585 w 10000"/>
                <a:gd name="connsiteY226" fmla="*/ 3531 h 9986"/>
                <a:gd name="connsiteX227" fmla="*/ 7547 w 10000"/>
                <a:gd name="connsiteY227" fmla="*/ 3531 h 9986"/>
                <a:gd name="connsiteX228" fmla="*/ 7516 w 10000"/>
                <a:gd name="connsiteY228" fmla="*/ 3525 h 9986"/>
                <a:gd name="connsiteX229" fmla="*/ 7478 w 10000"/>
                <a:gd name="connsiteY229" fmla="*/ 3519 h 9986"/>
                <a:gd name="connsiteX230" fmla="*/ 7447 w 10000"/>
                <a:gd name="connsiteY230" fmla="*/ 3507 h 9986"/>
                <a:gd name="connsiteX231" fmla="*/ 7415 w 10000"/>
                <a:gd name="connsiteY231" fmla="*/ 3489 h 9986"/>
                <a:gd name="connsiteX232" fmla="*/ 7396 w 10000"/>
                <a:gd name="connsiteY232" fmla="*/ 3471 h 9986"/>
                <a:gd name="connsiteX233" fmla="*/ 7384 w 10000"/>
                <a:gd name="connsiteY233" fmla="*/ 3441 h 9986"/>
                <a:gd name="connsiteX234" fmla="*/ 7378 w 10000"/>
                <a:gd name="connsiteY234" fmla="*/ 3417 h 9986"/>
                <a:gd name="connsiteX235" fmla="*/ 7321 w 10000"/>
                <a:gd name="connsiteY235" fmla="*/ 3417 h 9986"/>
                <a:gd name="connsiteX236" fmla="*/ 7271 w 10000"/>
                <a:gd name="connsiteY236" fmla="*/ 3417 h 9986"/>
                <a:gd name="connsiteX237" fmla="*/ 7221 w 10000"/>
                <a:gd name="connsiteY237" fmla="*/ 3417 h 9986"/>
                <a:gd name="connsiteX238" fmla="*/ 7171 w 10000"/>
                <a:gd name="connsiteY238" fmla="*/ 3417 h 9986"/>
                <a:gd name="connsiteX239" fmla="*/ 7127 w 10000"/>
                <a:gd name="connsiteY239" fmla="*/ 3423 h 9986"/>
                <a:gd name="connsiteX240" fmla="*/ 7095 w 10000"/>
                <a:gd name="connsiteY240" fmla="*/ 3429 h 9986"/>
                <a:gd name="connsiteX241" fmla="*/ 7051 w 10000"/>
                <a:gd name="connsiteY241" fmla="*/ 3447 h 9986"/>
                <a:gd name="connsiteX242" fmla="*/ 7008 w 10000"/>
                <a:gd name="connsiteY242" fmla="*/ 3471 h 9986"/>
                <a:gd name="connsiteX243" fmla="*/ 6976 w 10000"/>
                <a:gd name="connsiteY243" fmla="*/ 3501 h 9986"/>
                <a:gd name="connsiteX244" fmla="*/ 6939 w 10000"/>
                <a:gd name="connsiteY244" fmla="*/ 3531 h 9986"/>
                <a:gd name="connsiteX245" fmla="*/ 6920 w 10000"/>
                <a:gd name="connsiteY245" fmla="*/ 3567 h 9986"/>
                <a:gd name="connsiteX246" fmla="*/ 6913 w 10000"/>
                <a:gd name="connsiteY246" fmla="*/ 3603 h 9986"/>
                <a:gd name="connsiteX247" fmla="*/ 6926 w 10000"/>
                <a:gd name="connsiteY247" fmla="*/ 3627 h 9986"/>
                <a:gd name="connsiteX248" fmla="*/ 6964 w 10000"/>
                <a:gd name="connsiteY248" fmla="*/ 3657 h 9986"/>
                <a:gd name="connsiteX249" fmla="*/ 7008 w 10000"/>
                <a:gd name="connsiteY249" fmla="*/ 3693 h 9986"/>
                <a:gd name="connsiteX250" fmla="*/ 7070 w 10000"/>
                <a:gd name="connsiteY250" fmla="*/ 3729 h 9986"/>
                <a:gd name="connsiteX251" fmla="*/ 7133 w 10000"/>
                <a:gd name="connsiteY251" fmla="*/ 3764 h 9986"/>
                <a:gd name="connsiteX252" fmla="*/ 7196 w 10000"/>
                <a:gd name="connsiteY252" fmla="*/ 3794 h 9986"/>
                <a:gd name="connsiteX253" fmla="*/ 7252 w 10000"/>
                <a:gd name="connsiteY253" fmla="*/ 3818 h 9986"/>
                <a:gd name="connsiteX254" fmla="*/ 7290 w 10000"/>
                <a:gd name="connsiteY254" fmla="*/ 3830 h 9986"/>
                <a:gd name="connsiteX255" fmla="*/ 7208 w 10000"/>
                <a:gd name="connsiteY255" fmla="*/ 3890 h 9986"/>
                <a:gd name="connsiteX256" fmla="*/ 7114 w 10000"/>
                <a:gd name="connsiteY256" fmla="*/ 3962 h 9986"/>
                <a:gd name="connsiteX257" fmla="*/ 7070 w 10000"/>
                <a:gd name="connsiteY257" fmla="*/ 3998 h 9986"/>
                <a:gd name="connsiteX258" fmla="*/ 7033 w 10000"/>
                <a:gd name="connsiteY258" fmla="*/ 4040 h 9986"/>
                <a:gd name="connsiteX259" fmla="*/ 7020 w 10000"/>
                <a:gd name="connsiteY259" fmla="*/ 4058 h 9986"/>
                <a:gd name="connsiteX260" fmla="*/ 7008 w 10000"/>
                <a:gd name="connsiteY260" fmla="*/ 4076 h 9986"/>
                <a:gd name="connsiteX261" fmla="*/ 7001 w 10000"/>
                <a:gd name="connsiteY261" fmla="*/ 4100 h 9986"/>
                <a:gd name="connsiteX262" fmla="*/ 6995 w 10000"/>
                <a:gd name="connsiteY262" fmla="*/ 4118 h 9986"/>
                <a:gd name="connsiteX263" fmla="*/ 7001 w 10000"/>
                <a:gd name="connsiteY263" fmla="*/ 4148 h 9986"/>
                <a:gd name="connsiteX264" fmla="*/ 7008 w 10000"/>
                <a:gd name="connsiteY264" fmla="*/ 4166 h 9986"/>
                <a:gd name="connsiteX265" fmla="*/ 7026 w 10000"/>
                <a:gd name="connsiteY265" fmla="*/ 4190 h 9986"/>
                <a:gd name="connsiteX266" fmla="*/ 7039 w 10000"/>
                <a:gd name="connsiteY266" fmla="*/ 4214 h 9986"/>
                <a:gd name="connsiteX267" fmla="*/ 7089 w 10000"/>
                <a:gd name="connsiteY267" fmla="*/ 4261 h 9986"/>
                <a:gd name="connsiteX268" fmla="*/ 7146 w 10000"/>
                <a:gd name="connsiteY268" fmla="*/ 4309 h 9986"/>
                <a:gd name="connsiteX269" fmla="*/ 7208 w 10000"/>
                <a:gd name="connsiteY269" fmla="*/ 4351 h 9986"/>
                <a:gd name="connsiteX270" fmla="*/ 7277 w 10000"/>
                <a:gd name="connsiteY270" fmla="*/ 4387 h 9986"/>
                <a:gd name="connsiteX271" fmla="*/ 7315 w 10000"/>
                <a:gd name="connsiteY271" fmla="*/ 4399 h 9986"/>
                <a:gd name="connsiteX272" fmla="*/ 7346 w 10000"/>
                <a:gd name="connsiteY272" fmla="*/ 4405 h 9986"/>
                <a:gd name="connsiteX273" fmla="*/ 7384 w 10000"/>
                <a:gd name="connsiteY273" fmla="*/ 4411 h 9986"/>
                <a:gd name="connsiteX274" fmla="*/ 7415 w 10000"/>
                <a:gd name="connsiteY274" fmla="*/ 4417 h 9986"/>
                <a:gd name="connsiteX275" fmla="*/ 7585 w 10000"/>
                <a:gd name="connsiteY275" fmla="*/ 5040 h 9986"/>
                <a:gd name="connsiteX276" fmla="*/ 7491 w 10000"/>
                <a:gd name="connsiteY276" fmla="*/ 5040 h 9986"/>
                <a:gd name="connsiteX277" fmla="*/ 7403 w 10000"/>
                <a:gd name="connsiteY277" fmla="*/ 5040 h 9986"/>
                <a:gd name="connsiteX278" fmla="*/ 7321 w 10000"/>
                <a:gd name="connsiteY278" fmla="*/ 5040 h 9986"/>
                <a:gd name="connsiteX279" fmla="*/ 7252 w 10000"/>
                <a:gd name="connsiteY279" fmla="*/ 5040 h 9986"/>
                <a:gd name="connsiteX280" fmla="*/ 7208 w 10000"/>
                <a:gd name="connsiteY280" fmla="*/ 5034 h 9986"/>
                <a:gd name="connsiteX281" fmla="*/ 7164 w 10000"/>
                <a:gd name="connsiteY281" fmla="*/ 5004 h 9986"/>
                <a:gd name="connsiteX282" fmla="*/ 7133 w 10000"/>
                <a:gd name="connsiteY282" fmla="*/ 4992 h 9986"/>
                <a:gd name="connsiteX283" fmla="*/ 7102 w 10000"/>
                <a:gd name="connsiteY283" fmla="*/ 4980 h 9986"/>
                <a:gd name="connsiteX284" fmla="*/ 7070 w 10000"/>
                <a:gd name="connsiteY284" fmla="*/ 4974 h 9986"/>
                <a:gd name="connsiteX285" fmla="*/ 7039 w 10000"/>
                <a:gd name="connsiteY285" fmla="*/ 4968 h 9986"/>
                <a:gd name="connsiteX286" fmla="*/ 7008 w 10000"/>
                <a:gd name="connsiteY286" fmla="*/ 4980 h 9986"/>
                <a:gd name="connsiteX287" fmla="*/ 6957 w 10000"/>
                <a:gd name="connsiteY287" fmla="*/ 5010 h 9986"/>
                <a:gd name="connsiteX288" fmla="*/ 6895 w 10000"/>
                <a:gd name="connsiteY288" fmla="*/ 5052 h 9986"/>
                <a:gd name="connsiteX289" fmla="*/ 6819 w 10000"/>
                <a:gd name="connsiteY289" fmla="*/ 5100 h 9986"/>
                <a:gd name="connsiteX290" fmla="*/ 6744 w 10000"/>
                <a:gd name="connsiteY290" fmla="*/ 5160 h 9986"/>
                <a:gd name="connsiteX291" fmla="*/ 6681 w 10000"/>
                <a:gd name="connsiteY291" fmla="*/ 5208 h 9986"/>
                <a:gd name="connsiteX292" fmla="*/ 6637 w 10000"/>
                <a:gd name="connsiteY292" fmla="*/ 5243 h 9986"/>
                <a:gd name="connsiteX293" fmla="*/ 6625 w 10000"/>
                <a:gd name="connsiteY293" fmla="*/ 5267 h 9986"/>
                <a:gd name="connsiteX294" fmla="*/ 6750 w 10000"/>
                <a:gd name="connsiteY294" fmla="*/ 5339 h 9986"/>
                <a:gd name="connsiteX295" fmla="*/ 6744 w 10000"/>
                <a:gd name="connsiteY295" fmla="*/ 5375 h 9986"/>
                <a:gd name="connsiteX296" fmla="*/ 6725 w 10000"/>
                <a:gd name="connsiteY296" fmla="*/ 5417 h 9986"/>
                <a:gd name="connsiteX297" fmla="*/ 6706 w 10000"/>
                <a:gd name="connsiteY297" fmla="*/ 5447 h 9986"/>
                <a:gd name="connsiteX298" fmla="*/ 6688 w 10000"/>
                <a:gd name="connsiteY298" fmla="*/ 5489 h 9986"/>
                <a:gd name="connsiteX299" fmla="*/ 6637 w 10000"/>
                <a:gd name="connsiteY299" fmla="*/ 5543 h 9986"/>
                <a:gd name="connsiteX300" fmla="*/ 6581 w 10000"/>
                <a:gd name="connsiteY300" fmla="*/ 5597 h 9986"/>
                <a:gd name="connsiteX301" fmla="*/ 6518 w 10000"/>
                <a:gd name="connsiteY301" fmla="*/ 5645 h 9986"/>
                <a:gd name="connsiteX302" fmla="*/ 6443 w 10000"/>
                <a:gd name="connsiteY302" fmla="*/ 5687 h 9986"/>
                <a:gd name="connsiteX303" fmla="*/ 6374 w 10000"/>
                <a:gd name="connsiteY303" fmla="*/ 5723 h 9986"/>
                <a:gd name="connsiteX304" fmla="*/ 6299 w 10000"/>
                <a:gd name="connsiteY304" fmla="*/ 5758 h 9986"/>
                <a:gd name="connsiteX305" fmla="*/ 6223 w 10000"/>
                <a:gd name="connsiteY305" fmla="*/ 5806 h 9986"/>
                <a:gd name="connsiteX306" fmla="*/ 6154 w 10000"/>
                <a:gd name="connsiteY306" fmla="*/ 5842 h 9986"/>
                <a:gd name="connsiteX307" fmla="*/ 6092 w 10000"/>
                <a:gd name="connsiteY307" fmla="*/ 5884 h 9986"/>
                <a:gd name="connsiteX308" fmla="*/ 6035 w 10000"/>
                <a:gd name="connsiteY308" fmla="*/ 5932 h 9986"/>
                <a:gd name="connsiteX309" fmla="*/ 6004 w 10000"/>
                <a:gd name="connsiteY309" fmla="*/ 5956 h 9986"/>
                <a:gd name="connsiteX310" fmla="*/ 5985 w 10000"/>
                <a:gd name="connsiteY310" fmla="*/ 5980 h 9986"/>
                <a:gd name="connsiteX311" fmla="*/ 5966 w 10000"/>
                <a:gd name="connsiteY311" fmla="*/ 6010 h 9986"/>
                <a:gd name="connsiteX312" fmla="*/ 5947 w 10000"/>
                <a:gd name="connsiteY312" fmla="*/ 6040 h 9986"/>
                <a:gd name="connsiteX313" fmla="*/ 5935 w 10000"/>
                <a:gd name="connsiteY313" fmla="*/ 6076 h 9986"/>
                <a:gd name="connsiteX314" fmla="*/ 5922 w 10000"/>
                <a:gd name="connsiteY314" fmla="*/ 6106 h 9986"/>
                <a:gd name="connsiteX315" fmla="*/ 5916 w 10000"/>
                <a:gd name="connsiteY315" fmla="*/ 6148 h 9986"/>
                <a:gd name="connsiteX316" fmla="*/ 5916 w 10000"/>
                <a:gd name="connsiteY316" fmla="*/ 6190 h 9986"/>
                <a:gd name="connsiteX317" fmla="*/ 5859 w 10000"/>
                <a:gd name="connsiteY317" fmla="*/ 6208 h 9986"/>
                <a:gd name="connsiteX318" fmla="*/ 5809 w 10000"/>
                <a:gd name="connsiteY318" fmla="*/ 6226 h 9986"/>
                <a:gd name="connsiteX319" fmla="*/ 5765 w 10000"/>
                <a:gd name="connsiteY319" fmla="*/ 6249 h 9986"/>
                <a:gd name="connsiteX320" fmla="*/ 5721 w 10000"/>
                <a:gd name="connsiteY320" fmla="*/ 6273 h 9986"/>
                <a:gd name="connsiteX321" fmla="*/ 5634 w 10000"/>
                <a:gd name="connsiteY321" fmla="*/ 6333 h 9986"/>
                <a:gd name="connsiteX322" fmla="*/ 5558 w 10000"/>
                <a:gd name="connsiteY322" fmla="*/ 6405 h 9986"/>
                <a:gd name="connsiteX323" fmla="*/ 5420 w 10000"/>
                <a:gd name="connsiteY323" fmla="*/ 6567 h 9986"/>
                <a:gd name="connsiteX324" fmla="*/ 5289 w 10000"/>
                <a:gd name="connsiteY324" fmla="*/ 6740 h 9986"/>
                <a:gd name="connsiteX325" fmla="*/ 5220 w 10000"/>
                <a:gd name="connsiteY325" fmla="*/ 6830 h 9986"/>
                <a:gd name="connsiteX326" fmla="*/ 5151 w 10000"/>
                <a:gd name="connsiteY326" fmla="*/ 6908 h 9986"/>
                <a:gd name="connsiteX327" fmla="*/ 5075 w 10000"/>
                <a:gd name="connsiteY327" fmla="*/ 6980 h 9986"/>
                <a:gd name="connsiteX328" fmla="*/ 4994 w 10000"/>
                <a:gd name="connsiteY328" fmla="*/ 7046 h 9986"/>
                <a:gd name="connsiteX329" fmla="*/ 4944 w 10000"/>
                <a:gd name="connsiteY329" fmla="*/ 7076 h 9986"/>
                <a:gd name="connsiteX330" fmla="*/ 4893 w 10000"/>
                <a:gd name="connsiteY330" fmla="*/ 7100 h 9986"/>
                <a:gd name="connsiteX331" fmla="*/ 4849 w 10000"/>
                <a:gd name="connsiteY331" fmla="*/ 7124 h 9986"/>
                <a:gd name="connsiteX332" fmla="*/ 4793 w 10000"/>
                <a:gd name="connsiteY332" fmla="*/ 7148 h 9986"/>
                <a:gd name="connsiteX333" fmla="*/ 4730 w 10000"/>
                <a:gd name="connsiteY333" fmla="*/ 7166 h 9986"/>
                <a:gd name="connsiteX334" fmla="*/ 4674 w 10000"/>
                <a:gd name="connsiteY334" fmla="*/ 7178 h 9986"/>
                <a:gd name="connsiteX335" fmla="*/ 4605 w 10000"/>
                <a:gd name="connsiteY335" fmla="*/ 7184 h 9986"/>
                <a:gd name="connsiteX336" fmla="*/ 4536 w 10000"/>
                <a:gd name="connsiteY336" fmla="*/ 7184 h 9986"/>
                <a:gd name="connsiteX337" fmla="*/ 4536 w 10000"/>
                <a:gd name="connsiteY337" fmla="*/ 7237 h 9986"/>
                <a:gd name="connsiteX338" fmla="*/ 4536 w 10000"/>
                <a:gd name="connsiteY338" fmla="*/ 7291 h 9986"/>
                <a:gd name="connsiteX339" fmla="*/ 4536 w 10000"/>
                <a:gd name="connsiteY339" fmla="*/ 7333 h 9986"/>
                <a:gd name="connsiteX340" fmla="*/ 4536 w 10000"/>
                <a:gd name="connsiteY340" fmla="*/ 7369 h 9986"/>
                <a:gd name="connsiteX341" fmla="*/ 4536 w 10000"/>
                <a:gd name="connsiteY341" fmla="*/ 7435 h 9986"/>
                <a:gd name="connsiteX342" fmla="*/ 4536 w 10000"/>
                <a:gd name="connsiteY342" fmla="*/ 7537 h 9986"/>
                <a:gd name="connsiteX343" fmla="*/ 4536 w 10000"/>
                <a:gd name="connsiteY343" fmla="*/ 7645 h 9986"/>
                <a:gd name="connsiteX344" fmla="*/ 4548 w 10000"/>
                <a:gd name="connsiteY344" fmla="*/ 7758 h 9986"/>
                <a:gd name="connsiteX345" fmla="*/ 4561 w 10000"/>
                <a:gd name="connsiteY345" fmla="*/ 7818 h 9986"/>
                <a:gd name="connsiteX346" fmla="*/ 4573 w 10000"/>
                <a:gd name="connsiteY346" fmla="*/ 7872 h 9986"/>
                <a:gd name="connsiteX347" fmla="*/ 4586 w 10000"/>
                <a:gd name="connsiteY347" fmla="*/ 7920 h 9986"/>
                <a:gd name="connsiteX348" fmla="*/ 4611 w 10000"/>
                <a:gd name="connsiteY348" fmla="*/ 7962 h 9986"/>
                <a:gd name="connsiteX349" fmla="*/ 4636 w 10000"/>
                <a:gd name="connsiteY349" fmla="*/ 8004 h 9986"/>
                <a:gd name="connsiteX350" fmla="*/ 4668 w 10000"/>
                <a:gd name="connsiteY350" fmla="*/ 8034 h 9986"/>
                <a:gd name="connsiteX351" fmla="*/ 4705 w 10000"/>
                <a:gd name="connsiteY351" fmla="*/ 8058 h 9986"/>
                <a:gd name="connsiteX352" fmla="*/ 4749 w 10000"/>
                <a:gd name="connsiteY352" fmla="*/ 8070 h 9986"/>
                <a:gd name="connsiteX353" fmla="*/ 4711 w 10000"/>
                <a:gd name="connsiteY353" fmla="*/ 8166 h 9986"/>
                <a:gd name="connsiteX354" fmla="*/ 4668 w 10000"/>
                <a:gd name="connsiteY354" fmla="*/ 8249 h 9986"/>
                <a:gd name="connsiteX355" fmla="*/ 4617 w 10000"/>
                <a:gd name="connsiteY355" fmla="*/ 8327 h 9986"/>
                <a:gd name="connsiteX356" fmla="*/ 4573 w 10000"/>
                <a:gd name="connsiteY356" fmla="*/ 8399 h 9986"/>
                <a:gd name="connsiteX357" fmla="*/ 4523 w 10000"/>
                <a:gd name="connsiteY357" fmla="*/ 8483 h 9986"/>
                <a:gd name="connsiteX358" fmla="*/ 4492 w 10000"/>
                <a:gd name="connsiteY358" fmla="*/ 8561 h 9986"/>
                <a:gd name="connsiteX359" fmla="*/ 4473 w 10000"/>
                <a:gd name="connsiteY359" fmla="*/ 8597 h 9986"/>
                <a:gd name="connsiteX360" fmla="*/ 4467 w 10000"/>
                <a:gd name="connsiteY360" fmla="*/ 8639 h 9986"/>
                <a:gd name="connsiteX361" fmla="*/ 4460 w 10000"/>
                <a:gd name="connsiteY361" fmla="*/ 8687 h 9986"/>
                <a:gd name="connsiteX362" fmla="*/ 4454 w 10000"/>
                <a:gd name="connsiteY362" fmla="*/ 8729 h 9986"/>
                <a:gd name="connsiteX363" fmla="*/ 4460 w 10000"/>
                <a:gd name="connsiteY363" fmla="*/ 8746 h 9986"/>
                <a:gd name="connsiteX364" fmla="*/ 4467 w 10000"/>
                <a:gd name="connsiteY364" fmla="*/ 8758 h 9986"/>
                <a:gd name="connsiteX365" fmla="*/ 4479 w 10000"/>
                <a:gd name="connsiteY365" fmla="*/ 8770 h 9986"/>
                <a:gd name="connsiteX366" fmla="*/ 4504 w 10000"/>
                <a:gd name="connsiteY366" fmla="*/ 8782 h 9986"/>
                <a:gd name="connsiteX367" fmla="*/ 4542 w 10000"/>
                <a:gd name="connsiteY367" fmla="*/ 8806 h 9986"/>
                <a:gd name="connsiteX368" fmla="*/ 4580 w 10000"/>
                <a:gd name="connsiteY368" fmla="*/ 8812 h 9986"/>
                <a:gd name="connsiteX369" fmla="*/ 4580 w 10000"/>
                <a:gd name="connsiteY369" fmla="*/ 9028 h 9986"/>
                <a:gd name="connsiteX370" fmla="*/ 4529 w 10000"/>
                <a:gd name="connsiteY370" fmla="*/ 9112 h 9986"/>
                <a:gd name="connsiteX371" fmla="*/ 4492 w 10000"/>
                <a:gd name="connsiteY371" fmla="*/ 9202 h 9986"/>
                <a:gd name="connsiteX372" fmla="*/ 4460 w 10000"/>
                <a:gd name="connsiteY372" fmla="*/ 9237 h 9986"/>
                <a:gd name="connsiteX373" fmla="*/ 4429 w 10000"/>
                <a:gd name="connsiteY373" fmla="*/ 9261 h 9986"/>
                <a:gd name="connsiteX374" fmla="*/ 4404 w 10000"/>
                <a:gd name="connsiteY374" fmla="*/ 9273 h 9986"/>
                <a:gd name="connsiteX375" fmla="*/ 4385 w 10000"/>
                <a:gd name="connsiteY375" fmla="*/ 9279 h 9986"/>
                <a:gd name="connsiteX376" fmla="*/ 4360 w 10000"/>
                <a:gd name="connsiteY376" fmla="*/ 9285 h 9986"/>
                <a:gd name="connsiteX377" fmla="*/ 4329 w 10000"/>
                <a:gd name="connsiteY377" fmla="*/ 9285 h 9986"/>
                <a:gd name="connsiteX378" fmla="*/ 4329 w 10000"/>
                <a:gd name="connsiteY378" fmla="*/ 9333 h 9986"/>
                <a:gd name="connsiteX379" fmla="*/ 4335 w 10000"/>
                <a:gd name="connsiteY379" fmla="*/ 9393 h 9986"/>
                <a:gd name="connsiteX380" fmla="*/ 4348 w 10000"/>
                <a:gd name="connsiteY380" fmla="*/ 9423 h 9986"/>
                <a:gd name="connsiteX381" fmla="*/ 4354 w 10000"/>
                <a:gd name="connsiteY381" fmla="*/ 9447 h 9986"/>
                <a:gd name="connsiteX382" fmla="*/ 4360 w 10000"/>
                <a:gd name="connsiteY382" fmla="*/ 9465 h 9986"/>
                <a:gd name="connsiteX383" fmla="*/ 4373 w 10000"/>
                <a:gd name="connsiteY383" fmla="*/ 9471 h 9986"/>
                <a:gd name="connsiteX384" fmla="*/ 4210 w 10000"/>
                <a:gd name="connsiteY384" fmla="*/ 9597 h 9986"/>
                <a:gd name="connsiteX385" fmla="*/ 4072 w 10000"/>
                <a:gd name="connsiteY385" fmla="*/ 9699 h 9986"/>
                <a:gd name="connsiteX386" fmla="*/ 4009 w 10000"/>
                <a:gd name="connsiteY386" fmla="*/ 9758 h 9986"/>
                <a:gd name="connsiteX387" fmla="*/ 3952 w 10000"/>
                <a:gd name="connsiteY387" fmla="*/ 9824 h 9986"/>
                <a:gd name="connsiteX388" fmla="*/ 3890 w 10000"/>
                <a:gd name="connsiteY388" fmla="*/ 9902 h 9986"/>
                <a:gd name="connsiteX389" fmla="*/ 3833 w 10000"/>
                <a:gd name="connsiteY389" fmla="*/ 9986 h 9986"/>
                <a:gd name="connsiteX390" fmla="*/ 3733 w 10000"/>
                <a:gd name="connsiteY390" fmla="*/ 9944 h 9986"/>
                <a:gd name="connsiteX391" fmla="*/ 3664 w 10000"/>
                <a:gd name="connsiteY391" fmla="*/ 9902 h 9986"/>
                <a:gd name="connsiteX392" fmla="*/ 3607 w 10000"/>
                <a:gd name="connsiteY392" fmla="*/ 9860 h 9986"/>
                <a:gd name="connsiteX393" fmla="*/ 3563 w 10000"/>
                <a:gd name="connsiteY393" fmla="*/ 9812 h 9986"/>
                <a:gd name="connsiteX394" fmla="*/ 3532 w 10000"/>
                <a:gd name="connsiteY394" fmla="*/ 9752 h 9986"/>
                <a:gd name="connsiteX395" fmla="*/ 3513 w 10000"/>
                <a:gd name="connsiteY395" fmla="*/ 9693 h 9986"/>
                <a:gd name="connsiteX396" fmla="*/ 3482 w 10000"/>
                <a:gd name="connsiteY396" fmla="*/ 9621 h 9986"/>
                <a:gd name="connsiteX397" fmla="*/ 3457 w 10000"/>
                <a:gd name="connsiteY397" fmla="*/ 9549 h 9986"/>
                <a:gd name="connsiteX398" fmla="*/ 3400 w 10000"/>
                <a:gd name="connsiteY398" fmla="*/ 9411 h 9986"/>
                <a:gd name="connsiteX399" fmla="*/ 3325 w 10000"/>
                <a:gd name="connsiteY399" fmla="*/ 9279 h 9986"/>
                <a:gd name="connsiteX400" fmla="*/ 3237 w 10000"/>
                <a:gd name="connsiteY400" fmla="*/ 9142 h 9986"/>
                <a:gd name="connsiteX401" fmla="*/ 3143 w 10000"/>
                <a:gd name="connsiteY401" fmla="*/ 8998 h 9986"/>
                <a:gd name="connsiteX402" fmla="*/ 3049 w 10000"/>
                <a:gd name="connsiteY402" fmla="*/ 8866 h 9986"/>
                <a:gd name="connsiteX403" fmla="*/ 2967 w 10000"/>
                <a:gd name="connsiteY403" fmla="*/ 8735 h 9986"/>
                <a:gd name="connsiteX404" fmla="*/ 2892 w 10000"/>
                <a:gd name="connsiteY404" fmla="*/ 8615 h 9986"/>
                <a:gd name="connsiteX405" fmla="*/ 2829 w 10000"/>
                <a:gd name="connsiteY405" fmla="*/ 8513 h 9986"/>
                <a:gd name="connsiteX406" fmla="*/ 2773 w 10000"/>
                <a:gd name="connsiteY406" fmla="*/ 8399 h 9986"/>
                <a:gd name="connsiteX407" fmla="*/ 2735 w 10000"/>
                <a:gd name="connsiteY407" fmla="*/ 8297 h 9986"/>
                <a:gd name="connsiteX408" fmla="*/ 2698 w 10000"/>
                <a:gd name="connsiteY408" fmla="*/ 8190 h 9986"/>
                <a:gd name="connsiteX409" fmla="*/ 2666 w 10000"/>
                <a:gd name="connsiteY409" fmla="*/ 8082 h 9986"/>
                <a:gd name="connsiteX410" fmla="*/ 2629 w 10000"/>
                <a:gd name="connsiteY410" fmla="*/ 7974 h 9986"/>
                <a:gd name="connsiteX411" fmla="*/ 2597 w 10000"/>
                <a:gd name="connsiteY411" fmla="*/ 7866 h 9986"/>
                <a:gd name="connsiteX412" fmla="*/ 2553 w 10000"/>
                <a:gd name="connsiteY412" fmla="*/ 7746 h 9986"/>
                <a:gd name="connsiteX413" fmla="*/ 2497 w 10000"/>
                <a:gd name="connsiteY413" fmla="*/ 7627 h 9986"/>
                <a:gd name="connsiteX414" fmla="*/ 2359 w 10000"/>
                <a:gd name="connsiteY414" fmla="*/ 7435 h 9986"/>
                <a:gd name="connsiteX415" fmla="*/ 2208 w 10000"/>
                <a:gd name="connsiteY415" fmla="*/ 7255 h 9986"/>
                <a:gd name="connsiteX416" fmla="*/ 2139 w 10000"/>
                <a:gd name="connsiteY416" fmla="*/ 7172 h 9986"/>
                <a:gd name="connsiteX417" fmla="*/ 2070 w 10000"/>
                <a:gd name="connsiteY417" fmla="*/ 7076 h 9986"/>
                <a:gd name="connsiteX418" fmla="*/ 2008 w 10000"/>
                <a:gd name="connsiteY418" fmla="*/ 6986 h 9986"/>
                <a:gd name="connsiteX419" fmla="*/ 1957 w 10000"/>
                <a:gd name="connsiteY419" fmla="*/ 6890 h 9986"/>
                <a:gd name="connsiteX420" fmla="*/ 1888 w 10000"/>
                <a:gd name="connsiteY420" fmla="*/ 6657 h 9986"/>
                <a:gd name="connsiteX421" fmla="*/ 1832 w 10000"/>
                <a:gd name="connsiteY421" fmla="*/ 6441 h 9986"/>
                <a:gd name="connsiteX422" fmla="*/ 1782 w 10000"/>
                <a:gd name="connsiteY422" fmla="*/ 6232 h 9986"/>
                <a:gd name="connsiteX423" fmla="*/ 1757 w 10000"/>
                <a:gd name="connsiteY423" fmla="*/ 6022 h 9986"/>
                <a:gd name="connsiteX424" fmla="*/ 1725 w 10000"/>
                <a:gd name="connsiteY424" fmla="*/ 5818 h 9986"/>
                <a:gd name="connsiteX425" fmla="*/ 1713 w 10000"/>
                <a:gd name="connsiteY425" fmla="*/ 5603 h 9986"/>
                <a:gd name="connsiteX426" fmla="*/ 1706 w 10000"/>
                <a:gd name="connsiteY426" fmla="*/ 5381 h 9986"/>
                <a:gd name="connsiteX427" fmla="*/ 1706 w 10000"/>
                <a:gd name="connsiteY427" fmla="*/ 5160 h 9986"/>
                <a:gd name="connsiteX428" fmla="*/ 1681 w 10000"/>
                <a:gd name="connsiteY428" fmla="*/ 5154 h 9986"/>
                <a:gd name="connsiteX429" fmla="*/ 1650 w 10000"/>
                <a:gd name="connsiteY429" fmla="*/ 5148 h 9986"/>
                <a:gd name="connsiteX430" fmla="*/ 1625 w 10000"/>
                <a:gd name="connsiteY430" fmla="*/ 5142 h 9986"/>
                <a:gd name="connsiteX431" fmla="*/ 1606 w 10000"/>
                <a:gd name="connsiteY431" fmla="*/ 5118 h 9986"/>
                <a:gd name="connsiteX432" fmla="*/ 1581 w 10000"/>
                <a:gd name="connsiteY432" fmla="*/ 5106 h 9986"/>
                <a:gd name="connsiteX433" fmla="*/ 1568 w 10000"/>
                <a:gd name="connsiteY433" fmla="*/ 5088 h 9986"/>
                <a:gd name="connsiteX434" fmla="*/ 1550 w 10000"/>
                <a:gd name="connsiteY434" fmla="*/ 5064 h 9986"/>
                <a:gd name="connsiteX435" fmla="*/ 1543 w 10000"/>
                <a:gd name="connsiteY435" fmla="*/ 5040 h 9986"/>
                <a:gd name="connsiteX436" fmla="*/ 1518 w 10000"/>
                <a:gd name="connsiteY436" fmla="*/ 4992 h 9986"/>
                <a:gd name="connsiteX437" fmla="*/ 1506 w 10000"/>
                <a:gd name="connsiteY437" fmla="*/ 4938 h 9986"/>
                <a:gd name="connsiteX438" fmla="*/ 1499 w 10000"/>
                <a:gd name="connsiteY438" fmla="*/ 4878 h 9986"/>
                <a:gd name="connsiteX439" fmla="*/ 1499 w 10000"/>
                <a:gd name="connsiteY439" fmla="*/ 4824 h 9986"/>
                <a:gd name="connsiteX440" fmla="*/ 1443 w 10000"/>
                <a:gd name="connsiteY440" fmla="*/ 4860 h 9986"/>
                <a:gd name="connsiteX441" fmla="*/ 1405 w 10000"/>
                <a:gd name="connsiteY441" fmla="*/ 4902 h 9986"/>
                <a:gd name="connsiteX442" fmla="*/ 1361 w 10000"/>
                <a:gd name="connsiteY442" fmla="*/ 4944 h 9986"/>
                <a:gd name="connsiteX443" fmla="*/ 1317 w 10000"/>
                <a:gd name="connsiteY443" fmla="*/ 4992 h 9986"/>
                <a:gd name="connsiteX444" fmla="*/ 1261 w 10000"/>
                <a:gd name="connsiteY444" fmla="*/ 5088 h 9986"/>
                <a:gd name="connsiteX445" fmla="*/ 1205 w 10000"/>
                <a:gd name="connsiteY445" fmla="*/ 5190 h 9986"/>
                <a:gd name="connsiteX446" fmla="*/ 1167 w 10000"/>
                <a:gd name="connsiteY446" fmla="*/ 5232 h 9986"/>
                <a:gd name="connsiteX447" fmla="*/ 1142 w 10000"/>
                <a:gd name="connsiteY447" fmla="*/ 5273 h 9986"/>
                <a:gd name="connsiteX448" fmla="*/ 1104 w 10000"/>
                <a:gd name="connsiteY448" fmla="*/ 5315 h 9986"/>
                <a:gd name="connsiteX449" fmla="*/ 1073 w 10000"/>
                <a:gd name="connsiteY449" fmla="*/ 5345 h 9986"/>
                <a:gd name="connsiteX450" fmla="*/ 1029 w 10000"/>
                <a:gd name="connsiteY450" fmla="*/ 5375 h 9986"/>
                <a:gd name="connsiteX451" fmla="*/ 985 w 10000"/>
                <a:gd name="connsiteY451" fmla="*/ 5393 h 9986"/>
                <a:gd name="connsiteX452" fmla="*/ 928 w 10000"/>
                <a:gd name="connsiteY452" fmla="*/ 5405 h 9986"/>
                <a:gd name="connsiteX453" fmla="*/ 872 w 10000"/>
                <a:gd name="connsiteY453" fmla="*/ 5411 h 9986"/>
                <a:gd name="connsiteX454" fmla="*/ 841 w 10000"/>
                <a:gd name="connsiteY454" fmla="*/ 5405 h 9986"/>
                <a:gd name="connsiteX455" fmla="*/ 797 w 10000"/>
                <a:gd name="connsiteY455" fmla="*/ 5393 h 9986"/>
                <a:gd name="connsiteX456" fmla="*/ 753 w 10000"/>
                <a:gd name="connsiteY456" fmla="*/ 5375 h 9986"/>
                <a:gd name="connsiteX457" fmla="*/ 709 w 10000"/>
                <a:gd name="connsiteY457" fmla="*/ 5345 h 9986"/>
                <a:gd name="connsiteX458" fmla="*/ 659 w 10000"/>
                <a:gd name="connsiteY458" fmla="*/ 5309 h 9986"/>
                <a:gd name="connsiteX459" fmla="*/ 609 w 10000"/>
                <a:gd name="connsiteY459" fmla="*/ 5273 h 9986"/>
                <a:gd name="connsiteX460" fmla="*/ 565 w 10000"/>
                <a:gd name="connsiteY460" fmla="*/ 5232 h 9986"/>
                <a:gd name="connsiteX461" fmla="*/ 514 w 10000"/>
                <a:gd name="connsiteY461" fmla="*/ 5184 h 9986"/>
                <a:gd name="connsiteX462" fmla="*/ 471 w 10000"/>
                <a:gd name="connsiteY462" fmla="*/ 5136 h 9986"/>
                <a:gd name="connsiteX463" fmla="*/ 433 w 10000"/>
                <a:gd name="connsiteY463" fmla="*/ 5082 h 9986"/>
                <a:gd name="connsiteX464" fmla="*/ 389 w 10000"/>
                <a:gd name="connsiteY464" fmla="*/ 5028 h 9986"/>
                <a:gd name="connsiteX465" fmla="*/ 358 w 10000"/>
                <a:gd name="connsiteY465" fmla="*/ 4974 h 9986"/>
                <a:gd name="connsiteX466" fmla="*/ 326 w 10000"/>
                <a:gd name="connsiteY466" fmla="*/ 4926 h 9986"/>
                <a:gd name="connsiteX467" fmla="*/ 307 w 10000"/>
                <a:gd name="connsiteY467" fmla="*/ 4878 h 9986"/>
                <a:gd name="connsiteX468" fmla="*/ 295 w 10000"/>
                <a:gd name="connsiteY468" fmla="*/ 4830 h 9986"/>
                <a:gd name="connsiteX469" fmla="*/ 289 w 10000"/>
                <a:gd name="connsiteY469" fmla="*/ 4782 h 9986"/>
                <a:gd name="connsiteX470" fmla="*/ 320 w 10000"/>
                <a:gd name="connsiteY470" fmla="*/ 4764 h 9986"/>
                <a:gd name="connsiteX471" fmla="*/ 395 w 10000"/>
                <a:gd name="connsiteY471" fmla="*/ 4729 h 9986"/>
                <a:gd name="connsiteX472" fmla="*/ 483 w 10000"/>
                <a:gd name="connsiteY472" fmla="*/ 4693 h 9986"/>
                <a:gd name="connsiteX473" fmla="*/ 533 w 10000"/>
                <a:gd name="connsiteY473" fmla="*/ 4675 h 9986"/>
                <a:gd name="connsiteX474" fmla="*/ 483 w 10000"/>
                <a:gd name="connsiteY474" fmla="*/ 4675 h 9986"/>
                <a:gd name="connsiteX475" fmla="*/ 420 w 10000"/>
                <a:gd name="connsiteY475" fmla="*/ 4669 h 9986"/>
                <a:gd name="connsiteX476" fmla="*/ 370 w 10000"/>
                <a:gd name="connsiteY476" fmla="*/ 4657 h 9986"/>
                <a:gd name="connsiteX477" fmla="*/ 320 w 10000"/>
                <a:gd name="connsiteY477" fmla="*/ 4651 h 9986"/>
                <a:gd name="connsiteX478" fmla="*/ 276 w 10000"/>
                <a:gd name="connsiteY478" fmla="*/ 4633 h 9986"/>
                <a:gd name="connsiteX479" fmla="*/ 232 w 10000"/>
                <a:gd name="connsiteY479" fmla="*/ 4621 h 9986"/>
                <a:gd name="connsiteX480" fmla="*/ 188 w 10000"/>
                <a:gd name="connsiteY480" fmla="*/ 4603 h 9986"/>
                <a:gd name="connsiteX481" fmla="*/ 157 w 10000"/>
                <a:gd name="connsiteY481" fmla="*/ 4579 h 9986"/>
                <a:gd name="connsiteX482" fmla="*/ 132 w 10000"/>
                <a:gd name="connsiteY482" fmla="*/ 4555 h 9986"/>
                <a:gd name="connsiteX483" fmla="*/ 100 w 10000"/>
                <a:gd name="connsiteY483" fmla="*/ 4531 h 9986"/>
                <a:gd name="connsiteX484" fmla="*/ 75 w 10000"/>
                <a:gd name="connsiteY484" fmla="*/ 4501 h 9986"/>
                <a:gd name="connsiteX485" fmla="*/ 50 w 10000"/>
                <a:gd name="connsiteY485" fmla="*/ 4477 h 9986"/>
                <a:gd name="connsiteX486" fmla="*/ 19 w 10000"/>
                <a:gd name="connsiteY486" fmla="*/ 4405 h 9986"/>
                <a:gd name="connsiteX487" fmla="*/ 0 w 10000"/>
                <a:gd name="connsiteY487" fmla="*/ 4339 h 9986"/>
                <a:gd name="connsiteX488" fmla="*/ 63 w 10000"/>
                <a:gd name="connsiteY488" fmla="*/ 4291 h 9986"/>
                <a:gd name="connsiteX489" fmla="*/ 132 w 10000"/>
                <a:gd name="connsiteY489" fmla="*/ 4255 h 9986"/>
                <a:gd name="connsiteX490" fmla="*/ 201 w 10000"/>
                <a:gd name="connsiteY490" fmla="*/ 4226 h 9986"/>
                <a:gd name="connsiteX491" fmla="*/ 276 w 10000"/>
                <a:gd name="connsiteY491" fmla="*/ 4202 h 9986"/>
                <a:gd name="connsiteX492" fmla="*/ 420 w 10000"/>
                <a:gd name="connsiteY492" fmla="*/ 4172 h 9986"/>
                <a:gd name="connsiteX493" fmla="*/ 565 w 10000"/>
                <a:gd name="connsiteY493" fmla="*/ 4148 h 9986"/>
                <a:gd name="connsiteX494" fmla="*/ 640 w 10000"/>
                <a:gd name="connsiteY494" fmla="*/ 4136 h 9986"/>
                <a:gd name="connsiteX495" fmla="*/ 709 w 10000"/>
                <a:gd name="connsiteY495" fmla="*/ 4112 h 9986"/>
                <a:gd name="connsiteX496" fmla="*/ 772 w 10000"/>
                <a:gd name="connsiteY496" fmla="*/ 4094 h 9986"/>
                <a:gd name="connsiteX497" fmla="*/ 834 w 10000"/>
                <a:gd name="connsiteY497" fmla="*/ 4064 h 9986"/>
                <a:gd name="connsiteX498" fmla="*/ 891 w 10000"/>
                <a:gd name="connsiteY498" fmla="*/ 4034 h 9986"/>
                <a:gd name="connsiteX499" fmla="*/ 947 w 10000"/>
                <a:gd name="connsiteY499" fmla="*/ 3986 h 9986"/>
                <a:gd name="connsiteX500" fmla="*/ 997 w 10000"/>
                <a:gd name="connsiteY500" fmla="*/ 3932 h 9986"/>
                <a:gd name="connsiteX501" fmla="*/ 1035 w 10000"/>
                <a:gd name="connsiteY501" fmla="*/ 3866 h 9986"/>
                <a:gd name="connsiteX502" fmla="*/ 1010 w 10000"/>
                <a:gd name="connsiteY502" fmla="*/ 3854 h 9986"/>
                <a:gd name="connsiteX503" fmla="*/ 985 w 10000"/>
                <a:gd name="connsiteY503" fmla="*/ 3836 h 9986"/>
                <a:gd name="connsiteX504" fmla="*/ 947 w 10000"/>
                <a:gd name="connsiteY504" fmla="*/ 3812 h 9986"/>
                <a:gd name="connsiteX505" fmla="*/ 910 w 10000"/>
                <a:gd name="connsiteY505" fmla="*/ 3776 h 9986"/>
                <a:gd name="connsiteX506" fmla="*/ 822 w 10000"/>
                <a:gd name="connsiteY506" fmla="*/ 3705 h 9986"/>
                <a:gd name="connsiteX507" fmla="*/ 740 w 10000"/>
                <a:gd name="connsiteY507" fmla="*/ 3621 h 9986"/>
                <a:gd name="connsiteX508" fmla="*/ 665 w 10000"/>
                <a:gd name="connsiteY508" fmla="*/ 3531 h 9986"/>
                <a:gd name="connsiteX509" fmla="*/ 596 w 10000"/>
                <a:gd name="connsiteY509" fmla="*/ 3435 h 9986"/>
                <a:gd name="connsiteX510" fmla="*/ 577 w 10000"/>
                <a:gd name="connsiteY510" fmla="*/ 3393 h 9986"/>
                <a:gd name="connsiteX511" fmla="*/ 558 w 10000"/>
                <a:gd name="connsiteY511" fmla="*/ 3351 h 9986"/>
                <a:gd name="connsiteX512" fmla="*/ 540 w 10000"/>
                <a:gd name="connsiteY512" fmla="*/ 3309 h 9986"/>
                <a:gd name="connsiteX513" fmla="*/ 533 w 10000"/>
                <a:gd name="connsiteY513" fmla="*/ 3273 h 9986"/>
                <a:gd name="connsiteX514" fmla="*/ 508 w 10000"/>
                <a:gd name="connsiteY514" fmla="*/ 3267 h 9986"/>
                <a:gd name="connsiteX515" fmla="*/ 483 w 10000"/>
                <a:gd name="connsiteY515" fmla="*/ 3261 h 9986"/>
                <a:gd name="connsiteX516" fmla="*/ 458 w 10000"/>
                <a:gd name="connsiteY516" fmla="*/ 3249 h 9986"/>
                <a:gd name="connsiteX517" fmla="*/ 439 w 10000"/>
                <a:gd name="connsiteY517" fmla="*/ 3226 h 9986"/>
                <a:gd name="connsiteX518" fmla="*/ 402 w 10000"/>
                <a:gd name="connsiteY518" fmla="*/ 3184 h 9986"/>
                <a:gd name="connsiteX519" fmla="*/ 370 w 10000"/>
                <a:gd name="connsiteY519" fmla="*/ 3124 h 9986"/>
                <a:gd name="connsiteX520" fmla="*/ 370 w 10000"/>
                <a:gd name="connsiteY520" fmla="*/ 2980 h 9986"/>
                <a:gd name="connsiteX521" fmla="*/ 458 w 10000"/>
                <a:gd name="connsiteY521" fmla="*/ 2974 h 9986"/>
                <a:gd name="connsiteX522" fmla="*/ 540 w 10000"/>
                <a:gd name="connsiteY522" fmla="*/ 2968 h 9986"/>
                <a:gd name="connsiteX523" fmla="*/ 615 w 10000"/>
                <a:gd name="connsiteY523" fmla="*/ 2956 h 9986"/>
                <a:gd name="connsiteX524" fmla="*/ 684 w 10000"/>
                <a:gd name="connsiteY524" fmla="*/ 2932 h 9986"/>
                <a:gd name="connsiteX525" fmla="*/ 747 w 10000"/>
                <a:gd name="connsiteY525" fmla="*/ 2914 h 9986"/>
                <a:gd name="connsiteX526" fmla="*/ 809 w 10000"/>
                <a:gd name="connsiteY526" fmla="*/ 2884 h 9986"/>
                <a:gd name="connsiteX527" fmla="*/ 866 w 10000"/>
                <a:gd name="connsiteY527" fmla="*/ 2854 h 9986"/>
                <a:gd name="connsiteX528" fmla="*/ 922 w 10000"/>
                <a:gd name="connsiteY528" fmla="*/ 2818 h 9986"/>
                <a:gd name="connsiteX529" fmla="*/ 966 w 10000"/>
                <a:gd name="connsiteY529" fmla="*/ 2776 h 9986"/>
                <a:gd name="connsiteX530" fmla="*/ 1016 w 10000"/>
                <a:gd name="connsiteY530" fmla="*/ 2735 h 9986"/>
                <a:gd name="connsiteX531" fmla="*/ 1060 w 10000"/>
                <a:gd name="connsiteY531" fmla="*/ 2693 h 9986"/>
                <a:gd name="connsiteX532" fmla="*/ 1098 w 10000"/>
                <a:gd name="connsiteY532" fmla="*/ 2645 h 9986"/>
                <a:gd name="connsiteX533" fmla="*/ 1167 w 10000"/>
                <a:gd name="connsiteY533" fmla="*/ 2549 h 9986"/>
                <a:gd name="connsiteX534" fmla="*/ 1236 w 10000"/>
                <a:gd name="connsiteY534" fmla="*/ 2441 h 9986"/>
                <a:gd name="connsiteX535" fmla="*/ 1355 w 10000"/>
                <a:gd name="connsiteY535" fmla="*/ 2226 h 9986"/>
                <a:gd name="connsiteX536" fmla="*/ 1474 w 10000"/>
                <a:gd name="connsiteY536" fmla="*/ 2010 h 9986"/>
                <a:gd name="connsiteX537" fmla="*/ 1543 w 10000"/>
                <a:gd name="connsiteY537" fmla="*/ 1914 h 9986"/>
                <a:gd name="connsiteX538" fmla="*/ 1612 w 10000"/>
                <a:gd name="connsiteY538" fmla="*/ 1830 h 9986"/>
                <a:gd name="connsiteX539" fmla="*/ 1650 w 10000"/>
                <a:gd name="connsiteY539" fmla="*/ 1782 h 9986"/>
                <a:gd name="connsiteX540" fmla="*/ 1694 w 10000"/>
                <a:gd name="connsiteY540" fmla="*/ 1746 h 9986"/>
                <a:gd name="connsiteX541" fmla="*/ 1738 w 10000"/>
                <a:gd name="connsiteY541" fmla="*/ 1717 h 9986"/>
                <a:gd name="connsiteX542" fmla="*/ 1788 w 10000"/>
                <a:gd name="connsiteY542" fmla="*/ 1687 h 9986"/>
                <a:gd name="connsiteX543" fmla="*/ 1750 w 10000"/>
                <a:gd name="connsiteY543" fmla="*/ 1615 h 9986"/>
                <a:gd name="connsiteX544" fmla="*/ 1719 w 10000"/>
                <a:gd name="connsiteY544" fmla="*/ 1549 h 9986"/>
                <a:gd name="connsiteX545" fmla="*/ 1713 w 10000"/>
                <a:gd name="connsiteY545" fmla="*/ 1519 h 9986"/>
                <a:gd name="connsiteX546" fmla="*/ 1706 w 10000"/>
                <a:gd name="connsiteY546" fmla="*/ 1489 h 9986"/>
                <a:gd name="connsiteX547" fmla="*/ 1706 w 10000"/>
                <a:gd name="connsiteY547" fmla="*/ 1453 h 9986"/>
                <a:gd name="connsiteX548" fmla="*/ 1706 w 10000"/>
                <a:gd name="connsiteY548" fmla="*/ 1423 h 9986"/>
                <a:gd name="connsiteX549" fmla="*/ 1713 w 10000"/>
                <a:gd name="connsiteY549" fmla="*/ 1393 h 9986"/>
                <a:gd name="connsiteX550" fmla="*/ 1719 w 10000"/>
                <a:gd name="connsiteY550" fmla="*/ 1363 h 9986"/>
                <a:gd name="connsiteX551" fmla="*/ 1731 w 10000"/>
                <a:gd name="connsiteY551" fmla="*/ 1339 h 9986"/>
                <a:gd name="connsiteX552" fmla="*/ 1757 w 10000"/>
                <a:gd name="connsiteY552" fmla="*/ 1315 h 9986"/>
                <a:gd name="connsiteX553" fmla="*/ 1775 w 10000"/>
                <a:gd name="connsiteY553" fmla="*/ 1297 h 9986"/>
                <a:gd name="connsiteX554" fmla="*/ 1801 w 10000"/>
                <a:gd name="connsiteY554" fmla="*/ 1279 h 9986"/>
                <a:gd name="connsiteX555" fmla="*/ 1838 w 10000"/>
                <a:gd name="connsiteY555" fmla="*/ 1261 h 9986"/>
                <a:gd name="connsiteX556" fmla="*/ 1870 w 10000"/>
                <a:gd name="connsiteY556" fmla="*/ 1243 h 9986"/>
                <a:gd name="connsiteX557" fmla="*/ 1688 w 10000"/>
                <a:gd name="connsiteY557" fmla="*/ 1082 h 9986"/>
                <a:gd name="connsiteX558" fmla="*/ 1550 w 10000"/>
                <a:gd name="connsiteY558" fmla="*/ 962 h 9986"/>
                <a:gd name="connsiteX559" fmla="*/ 1487 w 10000"/>
                <a:gd name="connsiteY559" fmla="*/ 902 h 9986"/>
                <a:gd name="connsiteX560" fmla="*/ 1424 w 10000"/>
                <a:gd name="connsiteY560" fmla="*/ 836 h 9986"/>
                <a:gd name="connsiteX561" fmla="*/ 1361 w 10000"/>
                <a:gd name="connsiteY561" fmla="*/ 752 h 9986"/>
                <a:gd name="connsiteX562" fmla="*/ 1286 w 10000"/>
                <a:gd name="connsiteY562" fmla="*/ 651 h 9986"/>
                <a:gd name="connsiteX563" fmla="*/ 1286 w 10000"/>
                <a:gd name="connsiteY563" fmla="*/ 393 h 9986"/>
                <a:gd name="connsiteX564" fmla="*/ 1437 w 10000"/>
                <a:gd name="connsiteY564" fmla="*/ 393 h 9986"/>
                <a:gd name="connsiteX565" fmla="*/ 1606 w 10000"/>
                <a:gd name="connsiteY565" fmla="*/ 381 h 9986"/>
                <a:gd name="connsiteX566" fmla="*/ 1694 w 10000"/>
                <a:gd name="connsiteY566" fmla="*/ 375 h 9986"/>
                <a:gd name="connsiteX567" fmla="*/ 1775 w 10000"/>
                <a:gd name="connsiteY567" fmla="*/ 363 h 9986"/>
                <a:gd name="connsiteX568" fmla="*/ 1863 w 10000"/>
                <a:gd name="connsiteY568" fmla="*/ 345 h 9986"/>
                <a:gd name="connsiteX569" fmla="*/ 1945 w 10000"/>
                <a:gd name="connsiteY569" fmla="*/ 327 h 9986"/>
                <a:gd name="connsiteX570" fmla="*/ 2020 w 10000"/>
                <a:gd name="connsiteY570" fmla="*/ 309 h 9986"/>
                <a:gd name="connsiteX571" fmla="*/ 2102 w 10000"/>
                <a:gd name="connsiteY571" fmla="*/ 279 h 9986"/>
                <a:gd name="connsiteX572" fmla="*/ 2177 w 10000"/>
                <a:gd name="connsiteY572" fmla="*/ 249 h 9986"/>
                <a:gd name="connsiteX573" fmla="*/ 2240 w 10000"/>
                <a:gd name="connsiteY573" fmla="*/ 208 h 9986"/>
                <a:gd name="connsiteX574" fmla="*/ 2296 w 10000"/>
                <a:gd name="connsiteY574" fmla="*/ 166 h 9986"/>
                <a:gd name="connsiteX575" fmla="*/ 2415 w 10000"/>
                <a:gd name="connsiteY575" fmla="*/ 3 h 9986"/>
                <a:gd name="connsiteX576" fmla="*/ 2631 w 10000"/>
                <a:gd name="connsiteY576" fmla="*/ 79 h 9986"/>
                <a:gd name="connsiteX577" fmla="*/ 2415 w 10000"/>
                <a:gd name="connsiteY577" fmla="*/ 122 h 9986"/>
                <a:gd name="connsiteX0" fmla="*/ 2690 w 10000"/>
                <a:gd name="connsiteY0" fmla="*/ 75 h 9953"/>
                <a:gd name="connsiteX1" fmla="*/ 2509 w 10000"/>
                <a:gd name="connsiteY1" fmla="*/ 35 h 9953"/>
                <a:gd name="connsiteX2" fmla="*/ 2818 w 10000"/>
                <a:gd name="connsiteY2" fmla="*/ 1 h 9953"/>
                <a:gd name="connsiteX3" fmla="*/ 2776 w 10000"/>
                <a:gd name="connsiteY3" fmla="*/ 83 h 9953"/>
                <a:gd name="connsiteX4" fmla="*/ 2817 w 10000"/>
                <a:gd name="connsiteY4" fmla="*/ 63 h 9953"/>
                <a:gd name="connsiteX5" fmla="*/ 3052 w 10000"/>
                <a:gd name="connsiteY5" fmla="*/ 98 h 9953"/>
                <a:gd name="connsiteX6" fmla="*/ 3121 w 10000"/>
                <a:gd name="connsiteY6" fmla="*/ 203 h 9953"/>
                <a:gd name="connsiteX7" fmla="*/ 3086 w 10000"/>
                <a:gd name="connsiteY7" fmla="*/ 425 h 9953"/>
                <a:gd name="connsiteX8" fmla="*/ 3152 w 10000"/>
                <a:gd name="connsiteY8" fmla="*/ 461 h 9953"/>
                <a:gd name="connsiteX9" fmla="*/ 3093 w 10000"/>
                <a:gd name="connsiteY9" fmla="*/ 491 h 9953"/>
                <a:gd name="connsiteX10" fmla="*/ 2992 w 10000"/>
                <a:gd name="connsiteY10" fmla="*/ 581 h 9953"/>
                <a:gd name="connsiteX11" fmla="*/ 3043 w 10000"/>
                <a:gd name="connsiteY11" fmla="*/ 605 h 9953"/>
                <a:gd name="connsiteX12" fmla="*/ 3087 w 10000"/>
                <a:gd name="connsiteY12" fmla="*/ 647 h 9953"/>
                <a:gd name="connsiteX13" fmla="*/ 3130 w 10000"/>
                <a:gd name="connsiteY13" fmla="*/ 694 h 9953"/>
                <a:gd name="connsiteX14" fmla="*/ 3174 w 10000"/>
                <a:gd name="connsiteY14" fmla="*/ 742 h 9953"/>
                <a:gd name="connsiteX15" fmla="*/ 3212 w 10000"/>
                <a:gd name="connsiteY15" fmla="*/ 802 h 9953"/>
                <a:gd name="connsiteX16" fmla="*/ 3256 w 10000"/>
                <a:gd name="connsiteY16" fmla="*/ 856 h 9953"/>
                <a:gd name="connsiteX17" fmla="*/ 3281 w 10000"/>
                <a:gd name="connsiteY17" fmla="*/ 916 h 9953"/>
                <a:gd name="connsiteX18" fmla="*/ 3312 w 10000"/>
                <a:gd name="connsiteY18" fmla="*/ 982 h 9953"/>
                <a:gd name="connsiteX19" fmla="*/ 3331 w 10000"/>
                <a:gd name="connsiteY19" fmla="*/ 1049 h 9953"/>
                <a:gd name="connsiteX20" fmla="*/ 3043 w 10000"/>
                <a:gd name="connsiteY20" fmla="*/ 1049 h 9953"/>
                <a:gd name="connsiteX21" fmla="*/ 3043 w 10000"/>
                <a:gd name="connsiteY21" fmla="*/ 1234 h 9953"/>
                <a:gd name="connsiteX22" fmla="*/ 3074 w 10000"/>
                <a:gd name="connsiteY22" fmla="*/ 1312 h 9953"/>
                <a:gd name="connsiteX23" fmla="*/ 3118 w 10000"/>
                <a:gd name="connsiteY23" fmla="*/ 1378 h 9953"/>
                <a:gd name="connsiteX24" fmla="*/ 3168 w 10000"/>
                <a:gd name="connsiteY24" fmla="*/ 1438 h 9953"/>
                <a:gd name="connsiteX25" fmla="*/ 3225 w 10000"/>
                <a:gd name="connsiteY25" fmla="*/ 1480 h 9953"/>
                <a:gd name="connsiteX26" fmla="*/ 3281 w 10000"/>
                <a:gd name="connsiteY26" fmla="*/ 1522 h 9953"/>
                <a:gd name="connsiteX27" fmla="*/ 3350 w 10000"/>
                <a:gd name="connsiteY27" fmla="*/ 1552 h 9953"/>
                <a:gd name="connsiteX28" fmla="*/ 3413 w 10000"/>
                <a:gd name="connsiteY28" fmla="*/ 1582 h 9953"/>
                <a:gd name="connsiteX29" fmla="*/ 3488 w 10000"/>
                <a:gd name="connsiteY29" fmla="*/ 1606 h 9953"/>
                <a:gd name="connsiteX30" fmla="*/ 3626 w 10000"/>
                <a:gd name="connsiteY30" fmla="*/ 1660 h 9953"/>
                <a:gd name="connsiteX31" fmla="*/ 3764 w 10000"/>
                <a:gd name="connsiteY31" fmla="*/ 1713 h 9953"/>
                <a:gd name="connsiteX32" fmla="*/ 3827 w 10000"/>
                <a:gd name="connsiteY32" fmla="*/ 1750 h 9953"/>
                <a:gd name="connsiteX33" fmla="*/ 3890 w 10000"/>
                <a:gd name="connsiteY33" fmla="*/ 1798 h 9953"/>
                <a:gd name="connsiteX34" fmla="*/ 3946 w 10000"/>
                <a:gd name="connsiteY34" fmla="*/ 1846 h 9953"/>
                <a:gd name="connsiteX35" fmla="*/ 4003 w 10000"/>
                <a:gd name="connsiteY35" fmla="*/ 1900 h 9953"/>
                <a:gd name="connsiteX36" fmla="*/ 3959 w 10000"/>
                <a:gd name="connsiteY36" fmla="*/ 2458 h 9953"/>
                <a:gd name="connsiteX37" fmla="*/ 4034 w 10000"/>
                <a:gd name="connsiteY37" fmla="*/ 2512 h 9953"/>
                <a:gd name="connsiteX38" fmla="*/ 4141 w 10000"/>
                <a:gd name="connsiteY38" fmla="*/ 2578 h 9953"/>
                <a:gd name="connsiteX39" fmla="*/ 4260 w 10000"/>
                <a:gd name="connsiteY39" fmla="*/ 2638 h 9953"/>
                <a:gd name="connsiteX40" fmla="*/ 4398 w 10000"/>
                <a:gd name="connsiteY40" fmla="*/ 2692 h 9953"/>
                <a:gd name="connsiteX41" fmla="*/ 4536 w 10000"/>
                <a:gd name="connsiteY41" fmla="*/ 2745 h 9953"/>
                <a:gd name="connsiteX42" fmla="*/ 4668 w 10000"/>
                <a:gd name="connsiteY42" fmla="*/ 2787 h 9953"/>
                <a:gd name="connsiteX43" fmla="*/ 4724 w 10000"/>
                <a:gd name="connsiteY43" fmla="*/ 2805 h 9953"/>
                <a:gd name="connsiteX44" fmla="*/ 4780 w 10000"/>
                <a:gd name="connsiteY44" fmla="*/ 2817 h 9953"/>
                <a:gd name="connsiteX45" fmla="*/ 4831 w 10000"/>
                <a:gd name="connsiteY45" fmla="*/ 2823 h 9953"/>
                <a:gd name="connsiteX46" fmla="*/ 4875 w 10000"/>
                <a:gd name="connsiteY46" fmla="*/ 2823 h 9953"/>
                <a:gd name="connsiteX47" fmla="*/ 4887 w 10000"/>
                <a:gd name="connsiteY47" fmla="*/ 2865 h 9953"/>
                <a:gd name="connsiteX48" fmla="*/ 4918 w 10000"/>
                <a:gd name="connsiteY48" fmla="*/ 2901 h 9953"/>
                <a:gd name="connsiteX49" fmla="*/ 4950 w 10000"/>
                <a:gd name="connsiteY49" fmla="*/ 2919 h 9953"/>
                <a:gd name="connsiteX50" fmla="*/ 4987 w 10000"/>
                <a:gd name="connsiteY50" fmla="*/ 2931 h 9953"/>
                <a:gd name="connsiteX51" fmla="*/ 5019 w 10000"/>
                <a:gd name="connsiteY51" fmla="*/ 2943 h 9953"/>
                <a:gd name="connsiteX52" fmla="*/ 5063 w 10000"/>
                <a:gd name="connsiteY52" fmla="*/ 2943 h 9953"/>
                <a:gd name="connsiteX53" fmla="*/ 5107 w 10000"/>
                <a:gd name="connsiteY53" fmla="*/ 2937 h 9953"/>
                <a:gd name="connsiteX54" fmla="*/ 5157 w 10000"/>
                <a:gd name="connsiteY54" fmla="*/ 2931 h 9953"/>
                <a:gd name="connsiteX55" fmla="*/ 5245 w 10000"/>
                <a:gd name="connsiteY55" fmla="*/ 2913 h 9953"/>
                <a:gd name="connsiteX56" fmla="*/ 5345 w 10000"/>
                <a:gd name="connsiteY56" fmla="*/ 2889 h 9953"/>
                <a:gd name="connsiteX57" fmla="*/ 5383 w 10000"/>
                <a:gd name="connsiteY57" fmla="*/ 2889 h 9953"/>
                <a:gd name="connsiteX58" fmla="*/ 5427 w 10000"/>
                <a:gd name="connsiteY58" fmla="*/ 2883 h 9953"/>
                <a:gd name="connsiteX59" fmla="*/ 5464 w 10000"/>
                <a:gd name="connsiteY59" fmla="*/ 2889 h 9953"/>
                <a:gd name="connsiteX60" fmla="*/ 5502 w 10000"/>
                <a:gd name="connsiteY60" fmla="*/ 2895 h 9953"/>
                <a:gd name="connsiteX61" fmla="*/ 5558 w 10000"/>
                <a:gd name="connsiteY61" fmla="*/ 2931 h 9953"/>
                <a:gd name="connsiteX62" fmla="*/ 5596 w 10000"/>
                <a:gd name="connsiteY62" fmla="*/ 2961 h 9953"/>
                <a:gd name="connsiteX63" fmla="*/ 5634 w 10000"/>
                <a:gd name="connsiteY63" fmla="*/ 3003 h 9953"/>
                <a:gd name="connsiteX64" fmla="*/ 5665 w 10000"/>
                <a:gd name="connsiteY64" fmla="*/ 3039 h 9953"/>
                <a:gd name="connsiteX65" fmla="*/ 5696 w 10000"/>
                <a:gd name="connsiteY65" fmla="*/ 3075 h 9953"/>
                <a:gd name="connsiteX66" fmla="*/ 5734 w 10000"/>
                <a:gd name="connsiteY66" fmla="*/ 3111 h 9953"/>
                <a:gd name="connsiteX67" fmla="*/ 5759 w 10000"/>
                <a:gd name="connsiteY67" fmla="*/ 3129 h 9953"/>
                <a:gd name="connsiteX68" fmla="*/ 5778 w 10000"/>
                <a:gd name="connsiteY68" fmla="*/ 3141 h 9953"/>
                <a:gd name="connsiteX69" fmla="*/ 5803 w 10000"/>
                <a:gd name="connsiteY69" fmla="*/ 3153 h 9953"/>
                <a:gd name="connsiteX70" fmla="*/ 5834 w 10000"/>
                <a:gd name="connsiteY70" fmla="*/ 3159 h 9953"/>
                <a:gd name="connsiteX71" fmla="*/ 5935 w 10000"/>
                <a:gd name="connsiteY71" fmla="*/ 3178 h 9953"/>
                <a:gd name="connsiteX72" fmla="*/ 6073 w 10000"/>
                <a:gd name="connsiteY72" fmla="*/ 3213 h 9953"/>
                <a:gd name="connsiteX73" fmla="*/ 6230 w 10000"/>
                <a:gd name="connsiteY73" fmla="*/ 3249 h 9953"/>
                <a:gd name="connsiteX74" fmla="*/ 6405 w 10000"/>
                <a:gd name="connsiteY74" fmla="*/ 3291 h 9953"/>
                <a:gd name="connsiteX75" fmla="*/ 6568 w 10000"/>
                <a:gd name="connsiteY75" fmla="*/ 3321 h 9953"/>
                <a:gd name="connsiteX76" fmla="*/ 6719 w 10000"/>
                <a:gd name="connsiteY76" fmla="*/ 3345 h 9953"/>
                <a:gd name="connsiteX77" fmla="*/ 6788 w 10000"/>
                <a:gd name="connsiteY77" fmla="*/ 3351 h 9953"/>
                <a:gd name="connsiteX78" fmla="*/ 6838 w 10000"/>
                <a:gd name="connsiteY78" fmla="*/ 3357 h 9953"/>
                <a:gd name="connsiteX79" fmla="*/ 6888 w 10000"/>
                <a:gd name="connsiteY79" fmla="*/ 3351 h 9953"/>
                <a:gd name="connsiteX80" fmla="*/ 6913 w 10000"/>
                <a:gd name="connsiteY80" fmla="*/ 3339 h 9953"/>
                <a:gd name="connsiteX81" fmla="*/ 6888 w 10000"/>
                <a:gd name="connsiteY81" fmla="*/ 3297 h 9953"/>
                <a:gd name="connsiteX82" fmla="*/ 6857 w 10000"/>
                <a:gd name="connsiteY82" fmla="*/ 3249 h 9953"/>
                <a:gd name="connsiteX83" fmla="*/ 6838 w 10000"/>
                <a:gd name="connsiteY83" fmla="*/ 3201 h 9953"/>
                <a:gd name="connsiteX84" fmla="*/ 6826 w 10000"/>
                <a:gd name="connsiteY84" fmla="*/ 3147 h 9953"/>
                <a:gd name="connsiteX85" fmla="*/ 6794 w 10000"/>
                <a:gd name="connsiteY85" fmla="*/ 3057 h 9953"/>
                <a:gd name="connsiteX86" fmla="*/ 6788 w 10000"/>
                <a:gd name="connsiteY86" fmla="*/ 3009 h 9953"/>
                <a:gd name="connsiteX87" fmla="*/ 6788 w 10000"/>
                <a:gd name="connsiteY87" fmla="*/ 2823 h 9953"/>
                <a:gd name="connsiteX88" fmla="*/ 6788 w 10000"/>
                <a:gd name="connsiteY88" fmla="*/ 2638 h 9953"/>
                <a:gd name="connsiteX89" fmla="*/ 6995 w 10000"/>
                <a:gd name="connsiteY89" fmla="*/ 2638 h 9953"/>
                <a:gd name="connsiteX90" fmla="*/ 7033 w 10000"/>
                <a:gd name="connsiteY90" fmla="*/ 2703 h 9953"/>
                <a:gd name="connsiteX91" fmla="*/ 7058 w 10000"/>
                <a:gd name="connsiteY91" fmla="*/ 2745 h 9953"/>
                <a:gd name="connsiteX92" fmla="*/ 7095 w 10000"/>
                <a:gd name="connsiteY92" fmla="*/ 2781 h 9953"/>
                <a:gd name="connsiteX93" fmla="*/ 7127 w 10000"/>
                <a:gd name="connsiteY93" fmla="*/ 2823 h 9953"/>
                <a:gd name="connsiteX94" fmla="*/ 7120 w 10000"/>
                <a:gd name="connsiteY94" fmla="*/ 2919 h 9953"/>
                <a:gd name="connsiteX95" fmla="*/ 7102 w 10000"/>
                <a:gd name="connsiteY95" fmla="*/ 2979 h 9953"/>
                <a:gd name="connsiteX96" fmla="*/ 7089 w 10000"/>
                <a:gd name="connsiteY96" fmla="*/ 3027 h 9953"/>
                <a:gd name="connsiteX97" fmla="*/ 7077 w 10000"/>
                <a:gd name="connsiteY97" fmla="*/ 3081 h 9953"/>
                <a:gd name="connsiteX98" fmla="*/ 7208 w 10000"/>
                <a:gd name="connsiteY98" fmla="*/ 3117 h 9953"/>
                <a:gd name="connsiteX99" fmla="*/ 7334 w 10000"/>
                <a:gd name="connsiteY99" fmla="*/ 3153 h 9953"/>
                <a:gd name="connsiteX100" fmla="*/ 7396 w 10000"/>
                <a:gd name="connsiteY100" fmla="*/ 3172 h 9953"/>
                <a:gd name="connsiteX101" fmla="*/ 7459 w 10000"/>
                <a:gd name="connsiteY101" fmla="*/ 3184 h 9953"/>
                <a:gd name="connsiteX102" fmla="*/ 7522 w 10000"/>
                <a:gd name="connsiteY102" fmla="*/ 3190 h 9953"/>
                <a:gd name="connsiteX103" fmla="*/ 7585 w 10000"/>
                <a:gd name="connsiteY103" fmla="*/ 3195 h 9953"/>
                <a:gd name="connsiteX104" fmla="*/ 7591 w 10000"/>
                <a:gd name="connsiteY104" fmla="*/ 3219 h 9953"/>
                <a:gd name="connsiteX105" fmla="*/ 7604 w 10000"/>
                <a:gd name="connsiteY105" fmla="*/ 3243 h 9953"/>
                <a:gd name="connsiteX106" fmla="*/ 7622 w 10000"/>
                <a:gd name="connsiteY106" fmla="*/ 3261 h 9953"/>
                <a:gd name="connsiteX107" fmla="*/ 7654 w 10000"/>
                <a:gd name="connsiteY107" fmla="*/ 3279 h 9953"/>
                <a:gd name="connsiteX108" fmla="*/ 7704 w 10000"/>
                <a:gd name="connsiteY108" fmla="*/ 3297 h 9953"/>
                <a:gd name="connsiteX109" fmla="*/ 7748 w 10000"/>
                <a:gd name="connsiteY109" fmla="*/ 3303 h 9953"/>
                <a:gd name="connsiteX110" fmla="*/ 7798 w 10000"/>
                <a:gd name="connsiteY110" fmla="*/ 3303 h 9953"/>
                <a:gd name="connsiteX111" fmla="*/ 7836 w 10000"/>
                <a:gd name="connsiteY111" fmla="*/ 3291 h 9953"/>
                <a:gd name="connsiteX112" fmla="*/ 7880 w 10000"/>
                <a:gd name="connsiteY112" fmla="*/ 3273 h 9953"/>
                <a:gd name="connsiteX113" fmla="*/ 7911 w 10000"/>
                <a:gd name="connsiteY113" fmla="*/ 3255 h 9953"/>
                <a:gd name="connsiteX114" fmla="*/ 7949 w 10000"/>
                <a:gd name="connsiteY114" fmla="*/ 3231 h 9953"/>
                <a:gd name="connsiteX115" fmla="*/ 7980 w 10000"/>
                <a:gd name="connsiteY115" fmla="*/ 3201 h 9953"/>
                <a:gd name="connsiteX116" fmla="*/ 8011 w 10000"/>
                <a:gd name="connsiteY116" fmla="*/ 3172 h 9953"/>
                <a:gd name="connsiteX117" fmla="*/ 8036 w 10000"/>
                <a:gd name="connsiteY117" fmla="*/ 3141 h 9953"/>
                <a:gd name="connsiteX118" fmla="*/ 8087 w 10000"/>
                <a:gd name="connsiteY118" fmla="*/ 3063 h 9953"/>
                <a:gd name="connsiteX119" fmla="*/ 8118 w 10000"/>
                <a:gd name="connsiteY119" fmla="*/ 2991 h 9953"/>
                <a:gd name="connsiteX120" fmla="*/ 8149 w 10000"/>
                <a:gd name="connsiteY120" fmla="*/ 2925 h 9953"/>
                <a:gd name="connsiteX121" fmla="*/ 8168 w 10000"/>
                <a:gd name="connsiteY121" fmla="*/ 2859 h 9953"/>
                <a:gd name="connsiteX122" fmla="*/ 8231 w 10000"/>
                <a:gd name="connsiteY122" fmla="*/ 2793 h 9953"/>
                <a:gd name="connsiteX123" fmla="*/ 8294 w 10000"/>
                <a:gd name="connsiteY123" fmla="*/ 2727 h 9953"/>
                <a:gd name="connsiteX124" fmla="*/ 8363 w 10000"/>
                <a:gd name="connsiteY124" fmla="*/ 2674 h 9953"/>
                <a:gd name="connsiteX125" fmla="*/ 8432 w 10000"/>
                <a:gd name="connsiteY125" fmla="*/ 2614 h 9953"/>
                <a:gd name="connsiteX126" fmla="*/ 8507 w 10000"/>
                <a:gd name="connsiteY126" fmla="*/ 2566 h 9953"/>
                <a:gd name="connsiteX127" fmla="*/ 8576 w 10000"/>
                <a:gd name="connsiteY127" fmla="*/ 2518 h 9953"/>
                <a:gd name="connsiteX128" fmla="*/ 8651 w 10000"/>
                <a:gd name="connsiteY128" fmla="*/ 2476 h 9953"/>
                <a:gd name="connsiteX129" fmla="*/ 8726 w 10000"/>
                <a:gd name="connsiteY129" fmla="*/ 2433 h 9953"/>
                <a:gd name="connsiteX130" fmla="*/ 8808 w 10000"/>
                <a:gd name="connsiteY130" fmla="*/ 2391 h 9953"/>
                <a:gd name="connsiteX131" fmla="*/ 8890 w 10000"/>
                <a:gd name="connsiteY131" fmla="*/ 2355 h 9953"/>
                <a:gd name="connsiteX132" fmla="*/ 8971 w 10000"/>
                <a:gd name="connsiteY132" fmla="*/ 2325 h 9953"/>
                <a:gd name="connsiteX133" fmla="*/ 9059 w 10000"/>
                <a:gd name="connsiteY133" fmla="*/ 2295 h 9953"/>
                <a:gd name="connsiteX134" fmla="*/ 9235 w 10000"/>
                <a:gd name="connsiteY134" fmla="*/ 2241 h 9953"/>
                <a:gd name="connsiteX135" fmla="*/ 9417 w 10000"/>
                <a:gd name="connsiteY135" fmla="*/ 2199 h 9953"/>
                <a:gd name="connsiteX136" fmla="*/ 9454 w 10000"/>
                <a:gd name="connsiteY136" fmla="*/ 2247 h 9953"/>
                <a:gd name="connsiteX137" fmla="*/ 9504 w 10000"/>
                <a:gd name="connsiteY137" fmla="*/ 2307 h 9953"/>
                <a:gd name="connsiteX138" fmla="*/ 9573 w 10000"/>
                <a:gd name="connsiteY138" fmla="*/ 2373 h 9953"/>
                <a:gd name="connsiteX139" fmla="*/ 9642 w 10000"/>
                <a:gd name="connsiteY139" fmla="*/ 2445 h 9953"/>
                <a:gd name="connsiteX140" fmla="*/ 9718 w 10000"/>
                <a:gd name="connsiteY140" fmla="*/ 2506 h 9953"/>
                <a:gd name="connsiteX141" fmla="*/ 9799 w 10000"/>
                <a:gd name="connsiteY141" fmla="*/ 2554 h 9953"/>
                <a:gd name="connsiteX142" fmla="*/ 9837 w 10000"/>
                <a:gd name="connsiteY142" fmla="*/ 2578 h 9953"/>
                <a:gd name="connsiteX143" fmla="*/ 9875 w 10000"/>
                <a:gd name="connsiteY143" fmla="*/ 2590 h 9953"/>
                <a:gd name="connsiteX144" fmla="*/ 9918 w 10000"/>
                <a:gd name="connsiteY144" fmla="*/ 2602 h 9953"/>
                <a:gd name="connsiteX145" fmla="*/ 9956 w 10000"/>
                <a:gd name="connsiteY145" fmla="*/ 2602 h 9953"/>
                <a:gd name="connsiteX146" fmla="*/ 10000 w 10000"/>
                <a:gd name="connsiteY146" fmla="*/ 2530 h 9953"/>
                <a:gd name="connsiteX147" fmla="*/ 9975 w 10000"/>
                <a:gd name="connsiteY147" fmla="*/ 2656 h 9953"/>
                <a:gd name="connsiteX148" fmla="*/ 9944 w 10000"/>
                <a:gd name="connsiteY148" fmla="*/ 2799 h 9953"/>
                <a:gd name="connsiteX149" fmla="*/ 9931 w 10000"/>
                <a:gd name="connsiteY149" fmla="*/ 2865 h 9953"/>
                <a:gd name="connsiteX150" fmla="*/ 9906 w 10000"/>
                <a:gd name="connsiteY150" fmla="*/ 2925 h 9953"/>
                <a:gd name="connsiteX151" fmla="*/ 9887 w 10000"/>
                <a:gd name="connsiteY151" fmla="*/ 2949 h 9953"/>
                <a:gd name="connsiteX152" fmla="*/ 9875 w 10000"/>
                <a:gd name="connsiteY152" fmla="*/ 2973 h 9953"/>
                <a:gd name="connsiteX153" fmla="*/ 9856 w 10000"/>
                <a:gd name="connsiteY153" fmla="*/ 2991 h 9953"/>
                <a:gd name="connsiteX154" fmla="*/ 9837 w 10000"/>
                <a:gd name="connsiteY154" fmla="*/ 3009 h 9953"/>
                <a:gd name="connsiteX155" fmla="*/ 9749 w 10000"/>
                <a:gd name="connsiteY155" fmla="*/ 3027 h 9953"/>
                <a:gd name="connsiteX156" fmla="*/ 9605 w 10000"/>
                <a:gd name="connsiteY156" fmla="*/ 3075 h 9953"/>
                <a:gd name="connsiteX157" fmla="*/ 9536 w 10000"/>
                <a:gd name="connsiteY157" fmla="*/ 3117 h 9953"/>
                <a:gd name="connsiteX158" fmla="*/ 9479 w 10000"/>
                <a:gd name="connsiteY158" fmla="*/ 3153 h 9953"/>
                <a:gd name="connsiteX159" fmla="*/ 9448 w 10000"/>
                <a:gd name="connsiteY159" fmla="*/ 3172 h 9953"/>
                <a:gd name="connsiteX160" fmla="*/ 9435 w 10000"/>
                <a:gd name="connsiteY160" fmla="*/ 3190 h 9953"/>
                <a:gd name="connsiteX161" fmla="*/ 9423 w 10000"/>
                <a:gd name="connsiteY161" fmla="*/ 3213 h 9953"/>
                <a:gd name="connsiteX162" fmla="*/ 9417 w 10000"/>
                <a:gd name="connsiteY162" fmla="*/ 3231 h 9953"/>
                <a:gd name="connsiteX163" fmla="*/ 9423 w 10000"/>
                <a:gd name="connsiteY163" fmla="*/ 3441 h 9953"/>
                <a:gd name="connsiteX164" fmla="*/ 9417 w 10000"/>
                <a:gd name="connsiteY164" fmla="*/ 3681 h 9953"/>
                <a:gd name="connsiteX165" fmla="*/ 9398 w 10000"/>
                <a:gd name="connsiteY165" fmla="*/ 3740 h 9953"/>
                <a:gd name="connsiteX166" fmla="*/ 9391 w 10000"/>
                <a:gd name="connsiteY166" fmla="*/ 3806 h 9953"/>
                <a:gd name="connsiteX167" fmla="*/ 9379 w 10000"/>
                <a:gd name="connsiteY167" fmla="*/ 3860 h 9953"/>
                <a:gd name="connsiteX168" fmla="*/ 9366 w 10000"/>
                <a:gd name="connsiteY168" fmla="*/ 3915 h 9953"/>
                <a:gd name="connsiteX169" fmla="*/ 9348 w 10000"/>
                <a:gd name="connsiteY169" fmla="*/ 3963 h 9953"/>
                <a:gd name="connsiteX170" fmla="*/ 9316 w 10000"/>
                <a:gd name="connsiteY170" fmla="*/ 4011 h 9953"/>
                <a:gd name="connsiteX171" fmla="*/ 9285 w 10000"/>
                <a:gd name="connsiteY171" fmla="*/ 4047 h 9953"/>
                <a:gd name="connsiteX172" fmla="*/ 9247 w 10000"/>
                <a:gd name="connsiteY172" fmla="*/ 4077 h 9953"/>
                <a:gd name="connsiteX173" fmla="*/ 9228 w 10000"/>
                <a:gd name="connsiteY173" fmla="*/ 4095 h 9953"/>
                <a:gd name="connsiteX174" fmla="*/ 9184 w 10000"/>
                <a:gd name="connsiteY174" fmla="*/ 4101 h 9953"/>
                <a:gd name="connsiteX175" fmla="*/ 9141 w 10000"/>
                <a:gd name="connsiteY175" fmla="*/ 4107 h 9953"/>
                <a:gd name="connsiteX176" fmla="*/ 9090 w 10000"/>
                <a:gd name="connsiteY176" fmla="*/ 4113 h 9953"/>
                <a:gd name="connsiteX177" fmla="*/ 9040 w 10000"/>
                <a:gd name="connsiteY177" fmla="*/ 4119 h 9953"/>
                <a:gd name="connsiteX178" fmla="*/ 8996 w 10000"/>
                <a:gd name="connsiteY178" fmla="*/ 4137 h 9953"/>
                <a:gd name="connsiteX179" fmla="*/ 8977 w 10000"/>
                <a:gd name="connsiteY179" fmla="*/ 4143 h 9953"/>
                <a:gd name="connsiteX180" fmla="*/ 8965 w 10000"/>
                <a:gd name="connsiteY180" fmla="*/ 4161 h 9953"/>
                <a:gd name="connsiteX181" fmla="*/ 8959 w 10000"/>
                <a:gd name="connsiteY181" fmla="*/ 4173 h 9953"/>
                <a:gd name="connsiteX182" fmla="*/ 8959 w 10000"/>
                <a:gd name="connsiteY182" fmla="*/ 4191 h 9953"/>
                <a:gd name="connsiteX183" fmla="*/ 8952 w 10000"/>
                <a:gd name="connsiteY183" fmla="*/ 4262 h 9953"/>
                <a:gd name="connsiteX184" fmla="*/ 8952 w 10000"/>
                <a:gd name="connsiteY184" fmla="*/ 4346 h 9953"/>
                <a:gd name="connsiteX185" fmla="*/ 8940 w 10000"/>
                <a:gd name="connsiteY185" fmla="*/ 4436 h 9953"/>
                <a:gd name="connsiteX186" fmla="*/ 8927 w 10000"/>
                <a:gd name="connsiteY186" fmla="*/ 4520 h 9953"/>
                <a:gd name="connsiteX187" fmla="*/ 8908 w 10000"/>
                <a:gd name="connsiteY187" fmla="*/ 4605 h 9953"/>
                <a:gd name="connsiteX188" fmla="*/ 8890 w 10000"/>
                <a:gd name="connsiteY188" fmla="*/ 4683 h 9953"/>
                <a:gd name="connsiteX189" fmla="*/ 8864 w 10000"/>
                <a:gd name="connsiteY189" fmla="*/ 4754 h 9953"/>
                <a:gd name="connsiteX190" fmla="*/ 8833 w 10000"/>
                <a:gd name="connsiteY190" fmla="*/ 4820 h 9953"/>
                <a:gd name="connsiteX191" fmla="*/ 8538 w 10000"/>
                <a:gd name="connsiteY191" fmla="*/ 4334 h 9953"/>
                <a:gd name="connsiteX192" fmla="*/ 8526 w 10000"/>
                <a:gd name="connsiteY192" fmla="*/ 4358 h 9953"/>
                <a:gd name="connsiteX193" fmla="*/ 8494 w 10000"/>
                <a:gd name="connsiteY193" fmla="*/ 4412 h 9953"/>
                <a:gd name="connsiteX194" fmla="*/ 8463 w 10000"/>
                <a:gd name="connsiteY194" fmla="*/ 4442 h 9953"/>
                <a:gd name="connsiteX195" fmla="*/ 8438 w 10000"/>
                <a:gd name="connsiteY195" fmla="*/ 4466 h 9953"/>
                <a:gd name="connsiteX196" fmla="*/ 8407 w 10000"/>
                <a:gd name="connsiteY196" fmla="*/ 4484 h 9953"/>
                <a:gd name="connsiteX197" fmla="*/ 8375 w 10000"/>
                <a:gd name="connsiteY197" fmla="*/ 4490 h 9953"/>
                <a:gd name="connsiteX198" fmla="*/ 8338 w 10000"/>
                <a:gd name="connsiteY198" fmla="*/ 4484 h 9953"/>
                <a:gd name="connsiteX199" fmla="*/ 8312 w 10000"/>
                <a:gd name="connsiteY199" fmla="*/ 4478 h 9953"/>
                <a:gd name="connsiteX200" fmla="*/ 8287 w 10000"/>
                <a:gd name="connsiteY200" fmla="*/ 4460 h 9953"/>
                <a:gd name="connsiteX201" fmla="*/ 8256 w 10000"/>
                <a:gd name="connsiteY201" fmla="*/ 4442 h 9953"/>
                <a:gd name="connsiteX202" fmla="*/ 8237 w 10000"/>
                <a:gd name="connsiteY202" fmla="*/ 4412 h 9953"/>
                <a:gd name="connsiteX203" fmla="*/ 8225 w 10000"/>
                <a:gd name="connsiteY203" fmla="*/ 4388 h 9953"/>
                <a:gd name="connsiteX204" fmla="*/ 8206 w 10000"/>
                <a:gd name="connsiteY204" fmla="*/ 4364 h 9953"/>
                <a:gd name="connsiteX205" fmla="*/ 8206 w 10000"/>
                <a:gd name="connsiteY205" fmla="*/ 4334 h 9953"/>
                <a:gd name="connsiteX206" fmla="*/ 8206 w 10000"/>
                <a:gd name="connsiteY206" fmla="*/ 4298 h 9953"/>
                <a:gd name="connsiteX207" fmla="*/ 8225 w 10000"/>
                <a:gd name="connsiteY207" fmla="*/ 4262 h 9953"/>
                <a:gd name="connsiteX208" fmla="*/ 8237 w 10000"/>
                <a:gd name="connsiteY208" fmla="*/ 4226 h 9953"/>
                <a:gd name="connsiteX209" fmla="*/ 8250 w 10000"/>
                <a:gd name="connsiteY209" fmla="*/ 4191 h 9953"/>
                <a:gd name="connsiteX210" fmla="*/ 8300 w 10000"/>
                <a:gd name="connsiteY210" fmla="*/ 4125 h 9953"/>
                <a:gd name="connsiteX211" fmla="*/ 8356 w 10000"/>
                <a:gd name="connsiteY211" fmla="*/ 4059 h 9953"/>
                <a:gd name="connsiteX212" fmla="*/ 8407 w 10000"/>
                <a:gd name="connsiteY212" fmla="*/ 3999 h 9953"/>
                <a:gd name="connsiteX213" fmla="*/ 8457 w 10000"/>
                <a:gd name="connsiteY213" fmla="*/ 3933 h 9953"/>
                <a:gd name="connsiteX214" fmla="*/ 8469 w 10000"/>
                <a:gd name="connsiteY214" fmla="*/ 3897 h 9953"/>
                <a:gd name="connsiteX215" fmla="*/ 8482 w 10000"/>
                <a:gd name="connsiteY215" fmla="*/ 3866 h 9953"/>
                <a:gd name="connsiteX216" fmla="*/ 8501 w 10000"/>
                <a:gd name="connsiteY216" fmla="*/ 3824 h 9953"/>
                <a:gd name="connsiteX217" fmla="*/ 8501 w 10000"/>
                <a:gd name="connsiteY217" fmla="*/ 3788 h 9953"/>
                <a:gd name="connsiteX218" fmla="*/ 7748 w 10000"/>
                <a:gd name="connsiteY218" fmla="*/ 3788 h 9953"/>
                <a:gd name="connsiteX219" fmla="*/ 7723 w 10000"/>
                <a:gd name="connsiteY219" fmla="*/ 3782 h 9953"/>
                <a:gd name="connsiteX220" fmla="*/ 7685 w 10000"/>
                <a:gd name="connsiteY220" fmla="*/ 3764 h 9953"/>
                <a:gd name="connsiteX221" fmla="*/ 7660 w 10000"/>
                <a:gd name="connsiteY221" fmla="*/ 3728 h 9953"/>
                <a:gd name="connsiteX222" fmla="*/ 7635 w 10000"/>
                <a:gd name="connsiteY222" fmla="*/ 3693 h 9953"/>
                <a:gd name="connsiteX223" fmla="*/ 7616 w 10000"/>
                <a:gd name="connsiteY223" fmla="*/ 3645 h 9953"/>
                <a:gd name="connsiteX224" fmla="*/ 7597 w 10000"/>
                <a:gd name="connsiteY224" fmla="*/ 3597 h 9953"/>
                <a:gd name="connsiteX225" fmla="*/ 7591 w 10000"/>
                <a:gd name="connsiteY225" fmla="*/ 3543 h 9953"/>
                <a:gd name="connsiteX226" fmla="*/ 7585 w 10000"/>
                <a:gd name="connsiteY226" fmla="*/ 3489 h 9953"/>
                <a:gd name="connsiteX227" fmla="*/ 7547 w 10000"/>
                <a:gd name="connsiteY227" fmla="*/ 3489 h 9953"/>
                <a:gd name="connsiteX228" fmla="*/ 7516 w 10000"/>
                <a:gd name="connsiteY228" fmla="*/ 3483 h 9953"/>
                <a:gd name="connsiteX229" fmla="*/ 7478 w 10000"/>
                <a:gd name="connsiteY229" fmla="*/ 3477 h 9953"/>
                <a:gd name="connsiteX230" fmla="*/ 7447 w 10000"/>
                <a:gd name="connsiteY230" fmla="*/ 3465 h 9953"/>
                <a:gd name="connsiteX231" fmla="*/ 7415 w 10000"/>
                <a:gd name="connsiteY231" fmla="*/ 3447 h 9953"/>
                <a:gd name="connsiteX232" fmla="*/ 7396 w 10000"/>
                <a:gd name="connsiteY232" fmla="*/ 3429 h 9953"/>
                <a:gd name="connsiteX233" fmla="*/ 7384 w 10000"/>
                <a:gd name="connsiteY233" fmla="*/ 3399 h 9953"/>
                <a:gd name="connsiteX234" fmla="*/ 7378 w 10000"/>
                <a:gd name="connsiteY234" fmla="*/ 3375 h 9953"/>
                <a:gd name="connsiteX235" fmla="*/ 7321 w 10000"/>
                <a:gd name="connsiteY235" fmla="*/ 3375 h 9953"/>
                <a:gd name="connsiteX236" fmla="*/ 7271 w 10000"/>
                <a:gd name="connsiteY236" fmla="*/ 3375 h 9953"/>
                <a:gd name="connsiteX237" fmla="*/ 7221 w 10000"/>
                <a:gd name="connsiteY237" fmla="*/ 3375 h 9953"/>
                <a:gd name="connsiteX238" fmla="*/ 7171 w 10000"/>
                <a:gd name="connsiteY238" fmla="*/ 3375 h 9953"/>
                <a:gd name="connsiteX239" fmla="*/ 7127 w 10000"/>
                <a:gd name="connsiteY239" fmla="*/ 3381 h 9953"/>
                <a:gd name="connsiteX240" fmla="*/ 7095 w 10000"/>
                <a:gd name="connsiteY240" fmla="*/ 3387 h 9953"/>
                <a:gd name="connsiteX241" fmla="*/ 7051 w 10000"/>
                <a:gd name="connsiteY241" fmla="*/ 3405 h 9953"/>
                <a:gd name="connsiteX242" fmla="*/ 7008 w 10000"/>
                <a:gd name="connsiteY242" fmla="*/ 3429 h 9953"/>
                <a:gd name="connsiteX243" fmla="*/ 6976 w 10000"/>
                <a:gd name="connsiteY243" fmla="*/ 3459 h 9953"/>
                <a:gd name="connsiteX244" fmla="*/ 6939 w 10000"/>
                <a:gd name="connsiteY244" fmla="*/ 3489 h 9953"/>
                <a:gd name="connsiteX245" fmla="*/ 6920 w 10000"/>
                <a:gd name="connsiteY245" fmla="*/ 3525 h 9953"/>
                <a:gd name="connsiteX246" fmla="*/ 6913 w 10000"/>
                <a:gd name="connsiteY246" fmla="*/ 3561 h 9953"/>
                <a:gd name="connsiteX247" fmla="*/ 6926 w 10000"/>
                <a:gd name="connsiteY247" fmla="*/ 3585 h 9953"/>
                <a:gd name="connsiteX248" fmla="*/ 6964 w 10000"/>
                <a:gd name="connsiteY248" fmla="*/ 3615 h 9953"/>
                <a:gd name="connsiteX249" fmla="*/ 7008 w 10000"/>
                <a:gd name="connsiteY249" fmla="*/ 3651 h 9953"/>
                <a:gd name="connsiteX250" fmla="*/ 7070 w 10000"/>
                <a:gd name="connsiteY250" fmla="*/ 3687 h 9953"/>
                <a:gd name="connsiteX251" fmla="*/ 7133 w 10000"/>
                <a:gd name="connsiteY251" fmla="*/ 3722 h 9953"/>
                <a:gd name="connsiteX252" fmla="*/ 7196 w 10000"/>
                <a:gd name="connsiteY252" fmla="*/ 3752 h 9953"/>
                <a:gd name="connsiteX253" fmla="*/ 7252 w 10000"/>
                <a:gd name="connsiteY253" fmla="*/ 3776 h 9953"/>
                <a:gd name="connsiteX254" fmla="*/ 7290 w 10000"/>
                <a:gd name="connsiteY254" fmla="*/ 3788 h 9953"/>
                <a:gd name="connsiteX255" fmla="*/ 7208 w 10000"/>
                <a:gd name="connsiteY255" fmla="*/ 3848 h 9953"/>
                <a:gd name="connsiteX256" fmla="*/ 7114 w 10000"/>
                <a:gd name="connsiteY256" fmla="*/ 3921 h 9953"/>
                <a:gd name="connsiteX257" fmla="*/ 7070 w 10000"/>
                <a:gd name="connsiteY257" fmla="*/ 3957 h 9953"/>
                <a:gd name="connsiteX258" fmla="*/ 7033 w 10000"/>
                <a:gd name="connsiteY258" fmla="*/ 3999 h 9953"/>
                <a:gd name="connsiteX259" fmla="*/ 7020 w 10000"/>
                <a:gd name="connsiteY259" fmla="*/ 4017 h 9953"/>
                <a:gd name="connsiteX260" fmla="*/ 7008 w 10000"/>
                <a:gd name="connsiteY260" fmla="*/ 4035 h 9953"/>
                <a:gd name="connsiteX261" fmla="*/ 7001 w 10000"/>
                <a:gd name="connsiteY261" fmla="*/ 4059 h 9953"/>
                <a:gd name="connsiteX262" fmla="*/ 6995 w 10000"/>
                <a:gd name="connsiteY262" fmla="*/ 4077 h 9953"/>
                <a:gd name="connsiteX263" fmla="*/ 7001 w 10000"/>
                <a:gd name="connsiteY263" fmla="*/ 4107 h 9953"/>
                <a:gd name="connsiteX264" fmla="*/ 7008 w 10000"/>
                <a:gd name="connsiteY264" fmla="*/ 4125 h 9953"/>
                <a:gd name="connsiteX265" fmla="*/ 7026 w 10000"/>
                <a:gd name="connsiteY265" fmla="*/ 4149 h 9953"/>
                <a:gd name="connsiteX266" fmla="*/ 7039 w 10000"/>
                <a:gd name="connsiteY266" fmla="*/ 4173 h 9953"/>
                <a:gd name="connsiteX267" fmla="*/ 7089 w 10000"/>
                <a:gd name="connsiteY267" fmla="*/ 4220 h 9953"/>
                <a:gd name="connsiteX268" fmla="*/ 7146 w 10000"/>
                <a:gd name="connsiteY268" fmla="*/ 4268 h 9953"/>
                <a:gd name="connsiteX269" fmla="*/ 7208 w 10000"/>
                <a:gd name="connsiteY269" fmla="*/ 4310 h 9953"/>
                <a:gd name="connsiteX270" fmla="*/ 7277 w 10000"/>
                <a:gd name="connsiteY270" fmla="*/ 4346 h 9953"/>
                <a:gd name="connsiteX271" fmla="*/ 7315 w 10000"/>
                <a:gd name="connsiteY271" fmla="*/ 4358 h 9953"/>
                <a:gd name="connsiteX272" fmla="*/ 7346 w 10000"/>
                <a:gd name="connsiteY272" fmla="*/ 4364 h 9953"/>
                <a:gd name="connsiteX273" fmla="*/ 7384 w 10000"/>
                <a:gd name="connsiteY273" fmla="*/ 4370 h 9953"/>
                <a:gd name="connsiteX274" fmla="*/ 7415 w 10000"/>
                <a:gd name="connsiteY274" fmla="*/ 4376 h 9953"/>
                <a:gd name="connsiteX275" fmla="*/ 7585 w 10000"/>
                <a:gd name="connsiteY275" fmla="*/ 5000 h 9953"/>
                <a:gd name="connsiteX276" fmla="*/ 7491 w 10000"/>
                <a:gd name="connsiteY276" fmla="*/ 5000 h 9953"/>
                <a:gd name="connsiteX277" fmla="*/ 7403 w 10000"/>
                <a:gd name="connsiteY277" fmla="*/ 5000 h 9953"/>
                <a:gd name="connsiteX278" fmla="*/ 7321 w 10000"/>
                <a:gd name="connsiteY278" fmla="*/ 5000 h 9953"/>
                <a:gd name="connsiteX279" fmla="*/ 7252 w 10000"/>
                <a:gd name="connsiteY279" fmla="*/ 5000 h 9953"/>
                <a:gd name="connsiteX280" fmla="*/ 7208 w 10000"/>
                <a:gd name="connsiteY280" fmla="*/ 4994 h 9953"/>
                <a:gd name="connsiteX281" fmla="*/ 7164 w 10000"/>
                <a:gd name="connsiteY281" fmla="*/ 4964 h 9953"/>
                <a:gd name="connsiteX282" fmla="*/ 7133 w 10000"/>
                <a:gd name="connsiteY282" fmla="*/ 4952 h 9953"/>
                <a:gd name="connsiteX283" fmla="*/ 7102 w 10000"/>
                <a:gd name="connsiteY283" fmla="*/ 4940 h 9953"/>
                <a:gd name="connsiteX284" fmla="*/ 7070 w 10000"/>
                <a:gd name="connsiteY284" fmla="*/ 4934 h 9953"/>
                <a:gd name="connsiteX285" fmla="*/ 7039 w 10000"/>
                <a:gd name="connsiteY285" fmla="*/ 4928 h 9953"/>
                <a:gd name="connsiteX286" fmla="*/ 7008 w 10000"/>
                <a:gd name="connsiteY286" fmla="*/ 4940 h 9953"/>
                <a:gd name="connsiteX287" fmla="*/ 6957 w 10000"/>
                <a:gd name="connsiteY287" fmla="*/ 4970 h 9953"/>
                <a:gd name="connsiteX288" fmla="*/ 6895 w 10000"/>
                <a:gd name="connsiteY288" fmla="*/ 5012 h 9953"/>
                <a:gd name="connsiteX289" fmla="*/ 6819 w 10000"/>
                <a:gd name="connsiteY289" fmla="*/ 5060 h 9953"/>
                <a:gd name="connsiteX290" fmla="*/ 6744 w 10000"/>
                <a:gd name="connsiteY290" fmla="*/ 5120 h 9953"/>
                <a:gd name="connsiteX291" fmla="*/ 6681 w 10000"/>
                <a:gd name="connsiteY291" fmla="*/ 5168 h 9953"/>
                <a:gd name="connsiteX292" fmla="*/ 6637 w 10000"/>
                <a:gd name="connsiteY292" fmla="*/ 5203 h 9953"/>
                <a:gd name="connsiteX293" fmla="*/ 6625 w 10000"/>
                <a:gd name="connsiteY293" fmla="*/ 5227 h 9953"/>
                <a:gd name="connsiteX294" fmla="*/ 6750 w 10000"/>
                <a:gd name="connsiteY294" fmla="*/ 5299 h 9953"/>
                <a:gd name="connsiteX295" fmla="*/ 6744 w 10000"/>
                <a:gd name="connsiteY295" fmla="*/ 5336 h 9953"/>
                <a:gd name="connsiteX296" fmla="*/ 6725 w 10000"/>
                <a:gd name="connsiteY296" fmla="*/ 5378 h 9953"/>
                <a:gd name="connsiteX297" fmla="*/ 6706 w 10000"/>
                <a:gd name="connsiteY297" fmla="*/ 5408 h 9953"/>
                <a:gd name="connsiteX298" fmla="*/ 6688 w 10000"/>
                <a:gd name="connsiteY298" fmla="*/ 5450 h 9953"/>
                <a:gd name="connsiteX299" fmla="*/ 6637 w 10000"/>
                <a:gd name="connsiteY299" fmla="*/ 5504 h 9953"/>
                <a:gd name="connsiteX300" fmla="*/ 6581 w 10000"/>
                <a:gd name="connsiteY300" fmla="*/ 5558 h 9953"/>
                <a:gd name="connsiteX301" fmla="*/ 6518 w 10000"/>
                <a:gd name="connsiteY301" fmla="*/ 5606 h 9953"/>
                <a:gd name="connsiteX302" fmla="*/ 6443 w 10000"/>
                <a:gd name="connsiteY302" fmla="*/ 5648 h 9953"/>
                <a:gd name="connsiteX303" fmla="*/ 6374 w 10000"/>
                <a:gd name="connsiteY303" fmla="*/ 5684 h 9953"/>
                <a:gd name="connsiteX304" fmla="*/ 6299 w 10000"/>
                <a:gd name="connsiteY304" fmla="*/ 5719 h 9953"/>
                <a:gd name="connsiteX305" fmla="*/ 6223 w 10000"/>
                <a:gd name="connsiteY305" fmla="*/ 5767 h 9953"/>
                <a:gd name="connsiteX306" fmla="*/ 6154 w 10000"/>
                <a:gd name="connsiteY306" fmla="*/ 5803 h 9953"/>
                <a:gd name="connsiteX307" fmla="*/ 6092 w 10000"/>
                <a:gd name="connsiteY307" fmla="*/ 5845 h 9953"/>
                <a:gd name="connsiteX308" fmla="*/ 6035 w 10000"/>
                <a:gd name="connsiteY308" fmla="*/ 5893 h 9953"/>
                <a:gd name="connsiteX309" fmla="*/ 6004 w 10000"/>
                <a:gd name="connsiteY309" fmla="*/ 5917 h 9953"/>
                <a:gd name="connsiteX310" fmla="*/ 5985 w 10000"/>
                <a:gd name="connsiteY310" fmla="*/ 5941 h 9953"/>
                <a:gd name="connsiteX311" fmla="*/ 5966 w 10000"/>
                <a:gd name="connsiteY311" fmla="*/ 5971 h 9953"/>
                <a:gd name="connsiteX312" fmla="*/ 5947 w 10000"/>
                <a:gd name="connsiteY312" fmla="*/ 6001 h 9953"/>
                <a:gd name="connsiteX313" fmla="*/ 5935 w 10000"/>
                <a:gd name="connsiteY313" fmla="*/ 6038 h 9953"/>
                <a:gd name="connsiteX314" fmla="*/ 5922 w 10000"/>
                <a:gd name="connsiteY314" fmla="*/ 6068 h 9953"/>
                <a:gd name="connsiteX315" fmla="*/ 5916 w 10000"/>
                <a:gd name="connsiteY315" fmla="*/ 6110 h 9953"/>
                <a:gd name="connsiteX316" fmla="*/ 5916 w 10000"/>
                <a:gd name="connsiteY316" fmla="*/ 6152 h 9953"/>
                <a:gd name="connsiteX317" fmla="*/ 5859 w 10000"/>
                <a:gd name="connsiteY317" fmla="*/ 6170 h 9953"/>
                <a:gd name="connsiteX318" fmla="*/ 5809 w 10000"/>
                <a:gd name="connsiteY318" fmla="*/ 6188 h 9953"/>
                <a:gd name="connsiteX319" fmla="*/ 5765 w 10000"/>
                <a:gd name="connsiteY319" fmla="*/ 6211 h 9953"/>
                <a:gd name="connsiteX320" fmla="*/ 5721 w 10000"/>
                <a:gd name="connsiteY320" fmla="*/ 6235 h 9953"/>
                <a:gd name="connsiteX321" fmla="*/ 5634 w 10000"/>
                <a:gd name="connsiteY321" fmla="*/ 6295 h 9953"/>
                <a:gd name="connsiteX322" fmla="*/ 5558 w 10000"/>
                <a:gd name="connsiteY322" fmla="*/ 6367 h 9953"/>
                <a:gd name="connsiteX323" fmla="*/ 5420 w 10000"/>
                <a:gd name="connsiteY323" fmla="*/ 6529 h 9953"/>
                <a:gd name="connsiteX324" fmla="*/ 5289 w 10000"/>
                <a:gd name="connsiteY324" fmla="*/ 6702 h 9953"/>
                <a:gd name="connsiteX325" fmla="*/ 5220 w 10000"/>
                <a:gd name="connsiteY325" fmla="*/ 6793 h 9953"/>
                <a:gd name="connsiteX326" fmla="*/ 5151 w 10000"/>
                <a:gd name="connsiteY326" fmla="*/ 6871 h 9953"/>
                <a:gd name="connsiteX327" fmla="*/ 5075 w 10000"/>
                <a:gd name="connsiteY327" fmla="*/ 6943 h 9953"/>
                <a:gd name="connsiteX328" fmla="*/ 4994 w 10000"/>
                <a:gd name="connsiteY328" fmla="*/ 7009 h 9953"/>
                <a:gd name="connsiteX329" fmla="*/ 4944 w 10000"/>
                <a:gd name="connsiteY329" fmla="*/ 7039 h 9953"/>
                <a:gd name="connsiteX330" fmla="*/ 4893 w 10000"/>
                <a:gd name="connsiteY330" fmla="*/ 7063 h 9953"/>
                <a:gd name="connsiteX331" fmla="*/ 4849 w 10000"/>
                <a:gd name="connsiteY331" fmla="*/ 7087 h 9953"/>
                <a:gd name="connsiteX332" fmla="*/ 4793 w 10000"/>
                <a:gd name="connsiteY332" fmla="*/ 7111 h 9953"/>
                <a:gd name="connsiteX333" fmla="*/ 4730 w 10000"/>
                <a:gd name="connsiteY333" fmla="*/ 7129 h 9953"/>
                <a:gd name="connsiteX334" fmla="*/ 4674 w 10000"/>
                <a:gd name="connsiteY334" fmla="*/ 7141 h 9953"/>
                <a:gd name="connsiteX335" fmla="*/ 4605 w 10000"/>
                <a:gd name="connsiteY335" fmla="*/ 7147 h 9953"/>
                <a:gd name="connsiteX336" fmla="*/ 4536 w 10000"/>
                <a:gd name="connsiteY336" fmla="*/ 7147 h 9953"/>
                <a:gd name="connsiteX337" fmla="*/ 4536 w 10000"/>
                <a:gd name="connsiteY337" fmla="*/ 7200 h 9953"/>
                <a:gd name="connsiteX338" fmla="*/ 4536 w 10000"/>
                <a:gd name="connsiteY338" fmla="*/ 7254 h 9953"/>
                <a:gd name="connsiteX339" fmla="*/ 4536 w 10000"/>
                <a:gd name="connsiteY339" fmla="*/ 7296 h 9953"/>
                <a:gd name="connsiteX340" fmla="*/ 4536 w 10000"/>
                <a:gd name="connsiteY340" fmla="*/ 7332 h 9953"/>
                <a:gd name="connsiteX341" fmla="*/ 4536 w 10000"/>
                <a:gd name="connsiteY341" fmla="*/ 7398 h 9953"/>
                <a:gd name="connsiteX342" fmla="*/ 4536 w 10000"/>
                <a:gd name="connsiteY342" fmla="*/ 7501 h 9953"/>
                <a:gd name="connsiteX343" fmla="*/ 4536 w 10000"/>
                <a:gd name="connsiteY343" fmla="*/ 7609 h 9953"/>
                <a:gd name="connsiteX344" fmla="*/ 4548 w 10000"/>
                <a:gd name="connsiteY344" fmla="*/ 7722 h 9953"/>
                <a:gd name="connsiteX345" fmla="*/ 4561 w 10000"/>
                <a:gd name="connsiteY345" fmla="*/ 7782 h 9953"/>
                <a:gd name="connsiteX346" fmla="*/ 4573 w 10000"/>
                <a:gd name="connsiteY346" fmla="*/ 7836 h 9953"/>
                <a:gd name="connsiteX347" fmla="*/ 4586 w 10000"/>
                <a:gd name="connsiteY347" fmla="*/ 7884 h 9953"/>
                <a:gd name="connsiteX348" fmla="*/ 4611 w 10000"/>
                <a:gd name="connsiteY348" fmla="*/ 7926 h 9953"/>
                <a:gd name="connsiteX349" fmla="*/ 4636 w 10000"/>
                <a:gd name="connsiteY349" fmla="*/ 7968 h 9953"/>
                <a:gd name="connsiteX350" fmla="*/ 4668 w 10000"/>
                <a:gd name="connsiteY350" fmla="*/ 7998 h 9953"/>
                <a:gd name="connsiteX351" fmla="*/ 4705 w 10000"/>
                <a:gd name="connsiteY351" fmla="*/ 8022 h 9953"/>
                <a:gd name="connsiteX352" fmla="*/ 4749 w 10000"/>
                <a:gd name="connsiteY352" fmla="*/ 8034 h 9953"/>
                <a:gd name="connsiteX353" fmla="*/ 4711 w 10000"/>
                <a:gd name="connsiteY353" fmla="*/ 8130 h 9953"/>
                <a:gd name="connsiteX354" fmla="*/ 4668 w 10000"/>
                <a:gd name="connsiteY354" fmla="*/ 8214 h 9953"/>
                <a:gd name="connsiteX355" fmla="*/ 4617 w 10000"/>
                <a:gd name="connsiteY355" fmla="*/ 8292 h 9953"/>
                <a:gd name="connsiteX356" fmla="*/ 4573 w 10000"/>
                <a:gd name="connsiteY356" fmla="*/ 8364 h 9953"/>
                <a:gd name="connsiteX357" fmla="*/ 4523 w 10000"/>
                <a:gd name="connsiteY357" fmla="*/ 8448 h 9953"/>
                <a:gd name="connsiteX358" fmla="*/ 4492 w 10000"/>
                <a:gd name="connsiteY358" fmla="*/ 8526 h 9953"/>
                <a:gd name="connsiteX359" fmla="*/ 4473 w 10000"/>
                <a:gd name="connsiteY359" fmla="*/ 8562 h 9953"/>
                <a:gd name="connsiteX360" fmla="*/ 4467 w 10000"/>
                <a:gd name="connsiteY360" fmla="*/ 8604 h 9953"/>
                <a:gd name="connsiteX361" fmla="*/ 4460 w 10000"/>
                <a:gd name="connsiteY361" fmla="*/ 8652 h 9953"/>
                <a:gd name="connsiteX362" fmla="*/ 4454 w 10000"/>
                <a:gd name="connsiteY362" fmla="*/ 8694 h 9953"/>
                <a:gd name="connsiteX363" fmla="*/ 4460 w 10000"/>
                <a:gd name="connsiteY363" fmla="*/ 8711 h 9953"/>
                <a:gd name="connsiteX364" fmla="*/ 4467 w 10000"/>
                <a:gd name="connsiteY364" fmla="*/ 8723 h 9953"/>
                <a:gd name="connsiteX365" fmla="*/ 4479 w 10000"/>
                <a:gd name="connsiteY365" fmla="*/ 8735 h 9953"/>
                <a:gd name="connsiteX366" fmla="*/ 4504 w 10000"/>
                <a:gd name="connsiteY366" fmla="*/ 8747 h 9953"/>
                <a:gd name="connsiteX367" fmla="*/ 4542 w 10000"/>
                <a:gd name="connsiteY367" fmla="*/ 8771 h 9953"/>
                <a:gd name="connsiteX368" fmla="*/ 4580 w 10000"/>
                <a:gd name="connsiteY368" fmla="*/ 8777 h 9953"/>
                <a:gd name="connsiteX369" fmla="*/ 4580 w 10000"/>
                <a:gd name="connsiteY369" fmla="*/ 8994 h 9953"/>
                <a:gd name="connsiteX370" fmla="*/ 4529 w 10000"/>
                <a:gd name="connsiteY370" fmla="*/ 9078 h 9953"/>
                <a:gd name="connsiteX371" fmla="*/ 4492 w 10000"/>
                <a:gd name="connsiteY371" fmla="*/ 9168 h 9953"/>
                <a:gd name="connsiteX372" fmla="*/ 4460 w 10000"/>
                <a:gd name="connsiteY372" fmla="*/ 9203 h 9953"/>
                <a:gd name="connsiteX373" fmla="*/ 4429 w 10000"/>
                <a:gd name="connsiteY373" fmla="*/ 9227 h 9953"/>
                <a:gd name="connsiteX374" fmla="*/ 4404 w 10000"/>
                <a:gd name="connsiteY374" fmla="*/ 9239 h 9953"/>
                <a:gd name="connsiteX375" fmla="*/ 4385 w 10000"/>
                <a:gd name="connsiteY375" fmla="*/ 9245 h 9953"/>
                <a:gd name="connsiteX376" fmla="*/ 4360 w 10000"/>
                <a:gd name="connsiteY376" fmla="*/ 9251 h 9953"/>
                <a:gd name="connsiteX377" fmla="*/ 4329 w 10000"/>
                <a:gd name="connsiteY377" fmla="*/ 9251 h 9953"/>
                <a:gd name="connsiteX378" fmla="*/ 4329 w 10000"/>
                <a:gd name="connsiteY378" fmla="*/ 9299 h 9953"/>
                <a:gd name="connsiteX379" fmla="*/ 4335 w 10000"/>
                <a:gd name="connsiteY379" fmla="*/ 9359 h 9953"/>
                <a:gd name="connsiteX380" fmla="*/ 4348 w 10000"/>
                <a:gd name="connsiteY380" fmla="*/ 9389 h 9953"/>
                <a:gd name="connsiteX381" fmla="*/ 4354 w 10000"/>
                <a:gd name="connsiteY381" fmla="*/ 9413 h 9953"/>
                <a:gd name="connsiteX382" fmla="*/ 4360 w 10000"/>
                <a:gd name="connsiteY382" fmla="*/ 9431 h 9953"/>
                <a:gd name="connsiteX383" fmla="*/ 4373 w 10000"/>
                <a:gd name="connsiteY383" fmla="*/ 9437 h 9953"/>
                <a:gd name="connsiteX384" fmla="*/ 4210 w 10000"/>
                <a:gd name="connsiteY384" fmla="*/ 9563 h 9953"/>
                <a:gd name="connsiteX385" fmla="*/ 4072 w 10000"/>
                <a:gd name="connsiteY385" fmla="*/ 9666 h 9953"/>
                <a:gd name="connsiteX386" fmla="*/ 4009 w 10000"/>
                <a:gd name="connsiteY386" fmla="*/ 9725 h 9953"/>
                <a:gd name="connsiteX387" fmla="*/ 3952 w 10000"/>
                <a:gd name="connsiteY387" fmla="*/ 9791 h 9953"/>
                <a:gd name="connsiteX388" fmla="*/ 3890 w 10000"/>
                <a:gd name="connsiteY388" fmla="*/ 9869 h 9953"/>
                <a:gd name="connsiteX389" fmla="*/ 3833 w 10000"/>
                <a:gd name="connsiteY389" fmla="*/ 9953 h 9953"/>
                <a:gd name="connsiteX390" fmla="*/ 3733 w 10000"/>
                <a:gd name="connsiteY390" fmla="*/ 9911 h 9953"/>
                <a:gd name="connsiteX391" fmla="*/ 3664 w 10000"/>
                <a:gd name="connsiteY391" fmla="*/ 9869 h 9953"/>
                <a:gd name="connsiteX392" fmla="*/ 3607 w 10000"/>
                <a:gd name="connsiteY392" fmla="*/ 9827 h 9953"/>
                <a:gd name="connsiteX393" fmla="*/ 3563 w 10000"/>
                <a:gd name="connsiteY393" fmla="*/ 9779 h 9953"/>
                <a:gd name="connsiteX394" fmla="*/ 3532 w 10000"/>
                <a:gd name="connsiteY394" fmla="*/ 9719 h 9953"/>
                <a:gd name="connsiteX395" fmla="*/ 3513 w 10000"/>
                <a:gd name="connsiteY395" fmla="*/ 9660 h 9953"/>
                <a:gd name="connsiteX396" fmla="*/ 3482 w 10000"/>
                <a:gd name="connsiteY396" fmla="*/ 9587 h 9953"/>
                <a:gd name="connsiteX397" fmla="*/ 3457 w 10000"/>
                <a:gd name="connsiteY397" fmla="*/ 9515 h 9953"/>
                <a:gd name="connsiteX398" fmla="*/ 3400 w 10000"/>
                <a:gd name="connsiteY398" fmla="*/ 9377 h 9953"/>
                <a:gd name="connsiteX399" fmla="*/ 3325 w 10000"/>
                <a:gd name="connsiteY399" fmla="*/ 9245 h 9953"/>
                <a:gd name="connsiteX400" fmla="*/ 3237 w 10000"/>
                <a:gd name="connsiteY400" fmla="*/ 9108 h 9953"/>
                <a:gd name="connsiteX401" fmla="*/ 3143 w 10000"/>
                <a:gd name="connsiteY401" fmla="*/ 8964 h 9953"/>
                <a:gd name="connsiteX402" fmla="*/ 3049 w 10000"/>
                <a:gd name="connsiteY402" fmla="*/ 8831 h 9953"/>
                <a:gd name="connsiteX403" fmla="*/ 2967 w 10000"/>
                <a:gd name="connsiteY403" fmla="*/ 8700 h 9953"/>
                <a:gd name="connsiteX404" fmla="*/ 2892 w 10000"/>
                <a:gd name="connsiteY404" fmla="*/ 8580 h 9953"/>
                <a:gd name="connsiteX405" fmla="*/ 2829 w 10000"/>
                <a:gd name="connsiteY405" fmla="*/ 8478 h 9953"/>
                <a:gd name="connsiteX406" fmla="*/ 2773 w 10000"/>
                <a:gd name="connsiteY406" fmla="*/ 8364 h 9953"/>
                <a:gd name="connsiteX407" fmla="*/ 2735 w 10000"/>
                <a:gd name="connsiteY407" fmla="*/ 8262 h 9953"/>
                <a:gd name="connsiteX408" fmla="*/ 2698 w 10000"/>
                <a:gd name="connsiteY408" fmla="*/ 8154 h 9953"/>
                <a:gd name="connsiteX409" fmla="*/ 2666 w 10000"/>
                <a:gd name="connsiteY409" fmla="*/ 8046 h 9953"/>
                <a:gd name="connsiteX410" fmla="*/ 2629 w 10000"/>
                <a:gd name="connsiteY410" fmla="*/ 7938 h 9953"/>
                <a:gd name="connsiteX411" fmla="*/ 2597 w 10000"/>
                <a:gd name="connsiteY411" fmla="*/ 7830 h 9953"/>
                <a:gd name="connsiteX412" fmla="*/ 2553 w 10000"/>
                <a:gd name="connsiteY412" fmla="*/ 7710 h 9953"/>
                <a:gd name="connsiteX413" fmla="*/ 2497 w 10000"/>
                <a:gd name="connsiteY413" fmla="*/ 7591 h 9953"/>
                <a:gd name="connsiteX414" fmla="*/ 2359 w 10000"/>
                <a:gd name="connsiteY414" fmla="*/ 7398 h 9953"/>
                <a:gd name="connsiteX415" fmla="*/ 2208 w 10000"/>
                <a:gd name="connsiteY415" fmla="*/ 7218 h 9953"/>
                <a:gd name="connsiteX416" fmla="*/ 2139 w 10000"/>
                <a:gd name="connsiteY416" fmla="*/ 7135 h 9953"/>
                <a:gd name="connsiteX417" fmla="*/ 2070 w 10000"/>
                <a:gd name="connsiteY417" fmla="*/ 7039 h 9953"/>
                <a:gd name="connsiteX418" fmla="*/ 2008 w 10000"/>
                <a:gd name="connsiteY418" fmla="*/ 6949 h 9953"/>
                <a:gd name="connsiteX419" fmla="*/ 1957 w 10000"/>
                <a:gd name="connsiteY419" fmla="*/ 6853 h 9953"/>
                <a:gd name="connsiteX420" fmla="*/ 1888 w 10000"/>
                <a:gd name="connsiteY420" fmla="*/ 6619 h 9953"/>
                <a:gd name="connsiteX421" fmla="*/ 1832 w 10000"/>
                <a:gd name="connsiteY421" fmla="*/ 6403 h 9953"/>
                <a:gd name="connsiteX422" fmla="*/ 1782 w 10000"/>
                <a:gd name="connsiteY422" fmla="*/ 6194 h 9953"/>
                <a:gd name="connsiteX423" fmla="*/ 1757 w 10000"/>
                <a:gd name="connsiteY423" fmla="*/ 5983 h 9953"/>
                <a:gd name="connsiteX424" fmla="*/ 1725 w 10000"/>
                <a:gd name="connsiteY424" fmla="*/ 5779 h 9953"/>
                <a:gd name="connsiteX425" fmla="*/ 1713 w 10000"/>
                <a:gd name="connsiteY425" fmla="*/ 5564 h 9953"/>
                <a:gd name="connsiteX426" fmla="*/ 1706 w 10000"/>
                <a:gd name="connsiteY426" fmla="*/ 5342 h 9953"/>
                <a:gd name="connsiteX427" fmla="*/ 1706 w 10000"/>
                <a:gd name="connsiteY427" fmla="*/ 5120 h 9953"/>
                <a:gd name="connsiteX428" fmla="*/ 1681 w 10000"/>
                <a:gd name="connsiteY428" fmla="*/ 5114 h 9953"/>
                <a:gd name="connsiteX429" fmla="*/ 1650 w 10000"/>
                <a:gd name="connsiteY429" fmla="*/ 5108 h 9953"/>
                <a:gd name="connsiteX430" fmla="*/ 1625 w 10000"/>
                <a:gd name="connsiteY430" fmla="*/ 5102 h 9953"/>
                <a:gd name="connsiteX431" fmla="*/ 1606 w 10000"/>
                <a:gd name="connsiteY431" fmla="*/ 5078 h 9953"/>
                <a:gd name="connsiteX432" fmla="*/ 1581 w 10000"/>
                <a:gd name="connsiteY432" fmla="*/ 5066 h 9953"/>
                <a:gd name="connsiteX433" fmla="*/ 1568 w 10000"/>
                <a:gd name="connsiteY433" fmla="*/ 5048 h 9953"/>
                <a:gd name="connsiteX434" fmla="*/ 1550 w 10000"/>
                <a:gd name="connsiteY434" fmla="*/ 5024 h 9953"/>
                <a:gd name="connsiteX435" fmla="*/ 1543 w 10000"/>
                <a:gd name="connsiteY435" fmla="*/ 5000 h 9953"/>
                <a:gd name="connsiteX436" fmla="*/ 1518 w 10000"/>
                <a:gd name="connsiteY436" fmla="*/ 4952 h 9953"/>
                <a:gd name="connsiteX437" fmla="*/ 1506 w 10000"/>
                <a:gd name="connsiteY437" fmla="*/ 4898 h 9953"/>
                <a:gd name="connsiteX438" fmla="*/ 1499 w 10000"/>
                <a:gd name="connsiteY438" fmla="*/ 4838 h 9953"/>
                <a:gd name="connsiteX439" fmla="*/ 1499 w 10000"/>
                <a:gd name="connsiteY439" fmla="*/ 4784 h 9953"/>
                <a:gd name="connsiteX440" fmla="*/ 1443 w 10000"/>
                <a:gd name="connsiteY440" fmla="*/ 4820 h 9953"/>
                <a:gd name="connsiteX441" fmla="*/ 1405 w 10000"/>
                <a:gd name="connsiteY441" fmla="*/ 4862 h 9953"/>
                <a:gd name="connsiteX442" fmla="*/ 1361 w 10000"/>
                <a:gd name="connsiteY442" fmla="*/ 4904 h 9953"/>
                <a:gd name="connsiteX443" fmla="*/ 1317 w 10000"/>
                <a:gd name="connsiteY443" fmla="*/ 4952 h 9953"/>
                <a:gd name="connsiteX444" fmla="*/ 1261 w 10000"/>
                <a:gd name="connsiteY444" fmla="*/ 5048 h 9953"/>
                <a:gd name="connsiteX445" fmla="*/ 1205 w 10000"/>
                <a:gd name="connsiteY445" fmla="*/ 5150 h 9953"/>
                <a:gd name="connsiteX446" fmla="*/ 1167 w 10000"/>
                <a:gd name="connsiteY446" fmla="*/ 5192 h 9953"/>
                <a:gd name="connsiteX447" fmla="*/ 1142 w 10000"/>
                <a:gd name="connsiteY447" fmla="*/ 5233 h 9953"/>
                <a:gd name="connsiteX448" fmla="*/ 1104 w 10000"/>
                <a:gd name="connsiteY448" fmla="*/ 5275 h 9953"/>
                <a:gd name="connsiteX449" fmla="*/ 1073 w 10000"/>
                <a:gd name="connsiteY449" fmla="*/ 5305 h 9953"/>
                <a:gd name="connsiteX450" fmla="*/ 1029 w 10000"/>
                <a:gd name="connsiteY450" fmla="*/ 5336 h 9953"/>
                <a:gd name="connsiteX451" fmla="*/ 985 w 10000"/>
                <a:gd name="connsiteY451" fmla="*/ 5354 h 9953"/>
                <a:gd name="connsiteX452" fmla="*/ 928 w 10000"/>
                <a:gd name="connsiteY452" fmla="*/ 5366 h 9953"/>
                <a:gd name="connsiteX453" fmla="*/ 872 w 10000"/>
                <a:gd name="connsiteY453" fmla="*/ 5372 h 9953"/>
                <a:gd name="connsiteX454" fmla="*/ 841 w 10000"/>
                <a:gd name="connsiteY454" fmla="*/ 5366 h 9953"/>
                <a:gd name="connsiteX455" fmla="*/ 797 w 10000"/>
                <a:gd name="connsiteY455" fmla="*/ 5354 h 9953"/>
                <a:gd name="connsiteX456" fmla="*/ 753 w 10000"/>
                <a:gd name="connsiteY456" fmla="*/ 5336 h 9953"/>
                <a:gd name="connsiteX457" fmla="*/ 709 w 10000"/>
                <a:gd name="connsiteY457" fmla="*/ 5305 h 9953"/>
                <a:gd name="connsiteX458" fmla="*/ 659 w 10000"/>
                <a:gd name="connsiteY458" fmla="*/ 5269 h 9953"/>
                <a:gd name="connsiteX459" fmla="*/ 609 w 10000"/>
                <a:gd name="connsiteY459" fmla="*/ 5233 h 9953"/>
                <a:gd name="connsiteX460" fmla="*/ 565 w 10000"/>
                <a:gd name="connsiteY460" fmla="*/ 5192 h 9953"/>
                <a:gd name="connsiteX461" fmla="*/ 514 w 10000"/>
                <a:gd name="connsiteY461" fmla="*/ 5144 h 9953"/>
                <a:gd name="connsiteX462" fmla="*/ 471 w 10000"/>
                <a:gd name="connsiteY462" fmla="*/ 5096 h 9953"/>
                <a:gd name="connsiteX463" fmla="*/ 433 w 10000"/>
                <a:gd name="connsiteY463" fmla="*/ 5042 h 9953"/>
                <a:gd name="connsiteX464" fmla="*/ 389 w 10000"/>
                <a:gd name="connsiteY464" fmla="*/ 4988 h 9953"/>
                <a:gd name="connsiteX465" fmla="*/ 358 w 10000"/>
                <a:gd name="connsiteY465" fmla="*/ 4934 h 9953"/>
                <a:gd name="connsiteX466" fmla="*/ 326 w 10000"/>
                <a:gd name="connsiteY466" fmla="*/ 4886 h 9953"/>
                <a:gd name="connsiteX467" fmla="*/ 307 w 10000"/>
                <a:gd name="connsiteY467" fmla="*/ 4838 h 9953"/>
                <a:gd name="connsiteX468" fmla="*/ 295 w 10000"/>
                <a:gd name="connsiteY468" fmla="*/ 4790 h 9953"/>
                <a:gd name="connsiteX469" fmla="*/ 289 w 10000"/>
                <a:gd name="connsiteY469" fmla="*/ 4742 h 9953"/>
                <a:gd name="connsiteX470" fmla="*/ 320 w 10000"/>
                <a:gd name="connsiteY470" fmla="*/ 4724 h 9953"/>
                <a:gd name="connsiteX471" fmla="*/ 395 w 10000"/>
                <a:gd name="connsiteY471" fmla="*/ 4689 h 9953"/>
                <a:gd name="connsiteX472" fmla="*/ 483 w 10000"/>
                <a:gd name="connsiteY472" fmla="*/ 4653 h 9953"/>
                <a:gd name="connsiteX473" fmla="*/ 533 w 10000"/>
                <a:gd name="connsiteY473" fmla="*/ 4635 h 9953"/>
                <a:gd name="connsiteX474" fmla="*/ 483 w 10000"/>
                <a:gd name="connsiteY474" fmla="*/ 4635 h 9953"/>
                <a:gd name="connsiteX475" fmla="*/ 420 w 10000"/>
                <a:gd name="connsiteY475" fmla="*/ 4629 h 9953"/>
                <a:gd name="connsiteX476" fmla="*/ 370 w 10000"/>
                <a:gd name="connsiteY476" fmla="*/ 4617 h 9953"/>
                <a:gd name="connsiteX477" fmla="*/ 320 w 10000"/>
                <a:gd name="connsiteY477" fmla="*/ 4611 h 9953"/>
                <a:gd name="connsiteX478" fmla="*/ 276 w 10000"/>
                <a:gd name="connsiteY478" fmla="*/ 4592 h 9953"/>
                <a:gd name="connsiteX479" fmla="*/ 232 w 10000"/>
                <a:gd name="connsiteY479" fmla="*/ 4580 h 9953"/>
                <a:gd name="connsiteX480" fmla="*/ 188 w 10000"/>
                <a:gd name="connsiteY480" fmla="*/ 4562 h 9953"/>
                <a:gd name="connsiteX481" fmla="*/ 157 w 10000"/>
                <a:gd name="connsiteY481" fmla="*/ 4538 h 9953"/>
                <a:gd name="connsiteX482" fmla="*/ 132 w 10000"/>
                <a:gd name="connsiteY482" fmla="*/ 4514 h 9953"/>
                <a:gd name="connsiteX483" fmla="*/ 100 w 10000"/>
                <a:gd name="connsiteY483" fmla="*/ 4490 h 9953"/>
                <a:gd name="connsiteX484" fmla="*/ 75 w 10000"/>
                <a:gd name="connsiteY484" fmla="*/ 4460 h 9953"/>
                <a:gd name="connsiteX485" fmla="*/ 50 w 10000"/>
                <a:gd name="connsiteY485" fmla="*/ 4436 h 9953"/>
                <a:gd name="connsiteX486" fmla="*/ 19 w 10000"/>
                <a:gd name="connsiteY486" fmla="*/ 4364 h 9953"/>
                <a:gd name="connsiteX487" fmla="*/ 0 w 10000"/>
                <a:gd name="connsiteY487" fmla="*/ 4298 h 9953"/>
                <a:gd name="connsiteX488" fmla="*/ 63 w 10000"/>
                <a:gd name="connsiteY488" fmla="*/ 4250 h 9953"/>
                <a:gd name="connsiteX489" fmla="*/ 132 w 10000"/>
                <a:gd name="connsiteY489" fmla="*/ 4214 h 9953"/>
                <a:gd name="connsiteX490" fmla="*/ 201 w 10000"/>
                <a:gd name="connsiteY490" fmla="*/ 4185 h 9953"/>
                <a:gd name="connsiteX491" fmla="*/ 276 w 10000"/>
                <a:gd name="connsiteY491" fmla="*/ 4161 h 9953"/>
                <a:gd name="connsiteX492" fmla="*/ 420 w 10000"/>
                <a:gd name="connsiteY492" fmla="*/ 4131 h 9953"/>
                <a:gd name="connsiteX493" fmla="*/ 565 w 10000"/>
                <a:gd name="connsiteY493" fmla="*/ 4107 h 9953"/>
                <a:gd name="connsiteX494" fmla="*/ 640 w 10000"/>
                <a:gd name="connsiteY494" fmla="*/ 4095 h 9953"/>
                <a:gd name="connsiteX495" fmla="*/ 709 w 10000"/>
                <a:gd name="connsiteY495" fmla="*/ 4071 h 9953"/>
                <a:gd name="connsiteX496" fmla="*/ 772 w 10000"/>
                <a:gd name="connsiteY496" fmla="*/ 4053 h 9953"/>
                <a:gd name="connsiteX497" fmla="*/ 834 w 10000"/>
                <a:gd name="connsiteY497" fmla="*/ 4023 h 9953"/>
                <a:gd name="connsiteX498" fmla="*/ 891 w 10000"/>
                <a:gd name="connsiteY498" fmla="*/ 3993 h 9953"/>
                <a:gd name="connsiteX499" fmla="*/ 947 w 10000"/>
                <a:gd name="connsiteY499" fmla="*/ 3945 h 9953"/>
                <a:gd name="connsiteX500" fmla="*/ 997 w 10000"/>
                <a:gd name="connsiteY500" fmla="*/ 3891 h 9953"/>
                <a:gd name="connsiteX501" fmla="*/ 1035 w 10000"/>
                <a:gd name="connsiteY501" fmla="*/ 3824 h 9953"/>
                <a:gd name="connsiteX502" fmla="*/ 1010 w 10000"/>
                <a:gd name="connsiteY502" fmla="*/ 3812 h 9953"/>
                <a:gd name="connsiteX503" fmla="*/ 985 w 10000"/>
                <a:gd name="connsiteY503" fmla="*/ 3794 h 9953"/>
                <a:gd name="connsiteX504" fmla="*/ 947 w 10000"/>
                <a:gd name="connsiteY504" fmla="*/ 3770 h 9953"/>
                <a:gd name="connsiteX505" fmla="*/ 910 w 10000"/>
                <a:gd name="connsiteY505" fmla="*/ 3734 h 9953"/>
                <a:gd name="connsiteX506" fmla="*/ 822 w 10000"/>
                <a:gd name="connsiteY506" fmla="*/ 3663 h 9953"/>
                <a:gd name="connsiteX507" fmla="*/ 740 w 10000"/>
                <a:gd name="connsiteY507" fmla="*/ 3579 h 9953"/>
                <a:gd name="connsiteX508" fmla="*/ 665 w 10000"/>
                <a:gd name="connsiteY508" fmla="*/ 3489 h 9953"/>
                <a:gd name="connsiteX509" fmla="*/ 596 w 10000"/>
                <a:gd name="connsiteY509" fmla="*/ 3393 h 9953"/>
                <a:gd name="connsiteX510" fmla="*/ 577 w 10000"/>
                <a:gd name="connsiteY510" fmla="*/ 3351 h 9953"/>
                <a:gd name="connsiteX511" fmla="*/ 558 w 10000"/>
                <a:gd name="connsiteY511" fmla="*/ 3309 h 9953"/>
                <a:gd name="connsiteX512" fmla="*/ 540 w 10000"/>
                <a:gd name="connsiteY512" fmla="*/ 3267 h 9953"/>
                <a:gd name="connsiteX513" fmla="*/ 533 w 10000"/>
                <a:gd name="connsiteY513" fmla="*/ 3231 h 9953"/>
                <a:gd name="connsiteX514" fmla="*/ 508 w 10000"/>
                <a:gd name="connsiteY514" fmla="*/ 3225 h 9953"/>
                <a:gd name="connsiteX515" fmla="*/ 483 w 10000"/>
                <a:gd name="connsiteY515" fmla="*/ 3219 h 9953"/>
                <a:gd name="connsiteX516" fmla="*/ 458 w 10000"/>
                <a:gd name="connsiteY516" fmla="*/ 3207 h 9953"/>
                <a:gd name="connsiteX517" fmla="*/ 439 w 10000"/>
                <a:gd name="connsiteY517" fmla="*/ 3184 h 9953"/>
                <a:gd name="connsiteX518" fmla="*/ 402 w 10000"/>
                <a:gd name="connsiteY518" fmla="*/ 3141 h 9953"/>
                <a:gd name="connsiteX519" fmla="*/ 370 w 10000"/>
                <a:gd name="connsiteY519" fmla="*/ 3081 h 9953"/>
                <a:gd name="connsiteX520" fmla="*/ 370 w 10000"/>
                <a:gd name="connsiteY520" fmla="*/ 2937 h 9953"/>
                <a:gd name="connsiteX521" fmla="*/ 458 w 10000"/>
                <a:gd name="connsiteY521" fmla="*/ 2931 h 9953"/>
                <a:gd name="connsiteX522" fmla="*/ 540 w 10000"/>
                <a:gd name="connsiteY522" fmla="*/ 2925 h 9953"/>
                <a:gd name="connsiteX523" fmla="*/ 615 w 10000"/>
                <a:gd name="connsiteY523" fmla="*/ 2913 h 9953"/>
                <a:gd name="connsiteX524" fmla="*/ 684 w 10000"/>
                <a:gd name="connsiteY524" fmla="*/ 2889 h 9953"/>
                <a:gd name="connsiteX525" fmla="*/ 747 w 10000"/>
                <a:gd name="connsiteY525" fmla="*/ 2871 h 9953"/>
                <a:gd name="connsiteX526" fmla="*/ 809 w 10000"/>
                <a:gd name="connsiteY526" fmla="*/ 2841 h 9953"/>
                <a:gd name="connsiteX527" fmla="*/ 866 w 10000"/>
                <a:gd name="connsiteY527" fmla="*/ 2811 h 9953"/>
                <a:gd name="connsiteX528" fmla="*/ 922 w 10000"/>
                <a:gd name="connsiteY528" fmla="*/ 2775 h 9953"/>
                <a:gd name="connsiteX529" fmla="*/ 966 w 10000"/>
                <a:gd name="connsiteY529" fmla="*/ 2733 h 9953"/>
                <a:gd name="connsiteX530" fmla="*/ 1016 w 10000"/>
                <a:gd name="connsiteY530" fmla="*/ 2692 h 9953"/>
                <a:gd name="connsiteX531" fmla="*/ 1060 w 10000"/>
                <a:gd name="connsiteY531" fmla="*/ 2650 h 9953"/>
                <a:gd name="connsiteX532" fmla="*/ 1098 w 10000"/>
                <a:gd name="connsiteY532" fmla="*/ 2602 h 9953"/>
                <a:gd name="connsiteX533" fmla="*/ 1167 w 10000"/>
                <a:gd name="connsiteY533" fmla="*/ 2506 h 9953"/>
                <a:gd name="connsiteX534" fmla="*/ 1236 w 10000"/>
                <a:gd name="connsiteY534" fmla="*/ 2397 h 9953"/>
                <a:gd name="connsiteX535" fmla="*/ 1355 w 10000"/>
                <a:gd name="connsiteY535" fmla="*/ 2182 h 9953"/>
                <a:gd name="connsiteX536" fmla="*/ 1474 w 10000"/>
                <a:gd name="connsiteY536" fmla="*/ 1966 h 9953"/>
                <a:gd name="connsiteX537" fmla="*/ 1543 w 10000"/>
                <a:gd name="connsiteY537" fmla="*/ 1870 h 9953"/>
                <a:gd name="connsiteX538" fmla="*/ 1612 w 10000"/>
                <a:gd name="connsiteY538" fmla="*/ 1786 h 9953"/>
                <a:gd name="connsiteX539" fmla="*/ 1650 w 10000"/>
                <a:gd name="connsiteY539" fmla="*/ 1737 h 9953"/>
                <a:gd name="connsiteX540" fmla="*/ 1694 w 10000"/>
                <a:gd name="connsiteY540" fmla="*/ 1701 h 9953"/>
                <a:gd name="connsiteX541" fmla="*/ 1738 w 10000"/>
                <a:gd name="connsiteY541" fmla="*/ 1672 h 9953"/>
                <a:gd name="connsiteX542" fmla="*/ 1788 w 10000"/>
                <a:gd name="connsiteY542" fmla="*/ 1642 h 9953"/>
                <a:gd name="connsiteX543" fmla="*/ 1750 w 10000"/>
                <a:gd name="connsiteY543" fmla="*/ 1570 h 9953"/>
                <a:gd name="connsiteX544" fmla="*/ 1719 w 10000"/>
                <a:gd name="connsiteY544" fmla="*/ 1504 h 9953"/>
                <a:gd name="connsiteX545" fmla="*/ 1713 w 10000"/>
                <a:gd name="connsiteY545" fmla="*/ 1474 h 9953"/>
                <a:gd name="connsiteX546" fmla="*/ 1706 w 10000"/>
                <a:gd name="connsiteY546" fmla="*/ 1444 h 9953"/>
                <a:gd name="connsiteX547" fmla="*/ 1706 w 10000"/>
                <a:gd name="connsiteY547" fmla="*/ 1408 h 9953"/>
                <a:gd name="connsiteX548" fmla="*/ 1706 w 10000"/>
                <a:gd name="connsiteY548" fmla="*/ 1378 h 9953"/>
                <a:gd name="connsiteX549" fmla="*/ 1713 w 10000"/>
                <a:gd name="connsiteY549" fmla="*/ 1348 h 9953"/>
                <a:gd name="connsiteX550" fmla="*/ 1719 w 10000"/>
                <a:gd name="connsiteY550" fmla="*/ 1318 h 9953"/>
                <a:gd name="connsiteX551" fmla="*/ 1731 w 10000"/>
                <a:gd name="connsiteY551" fmla="*/ 1294 h 9953"/>
                <a:gd name="connsiteX552" fmla="*/ 1757 w 10000"/>
                <a:gd name="connsiteY552" fmla="*/ 1270 h 9953"/>
                <a:gd name="connsiteX553" fmla="*/ 1775 w 10000"/>
                <a:gd name="connsiteY553" fmla="*/ 1252 h 9953"/>
                <a:gd name="connsiteX554" fmla="*/ 1801 w 10000"/>
                <a:gd name="connsiteY554" fmla="*/ 1234 h 9953"/>
                <a:gd name="connsiteX555" fmla="*/ 1838 w 10000"/>
                <a:gd name="connsiteY555" fmla="*/ 1216 h 9953"/>
                <a:gd name="connsiteX556" fmla="*/ 1870 w 10000"/>
                <a:gd name="connsiteY556" fmla="*/ 1198 h 9953"/>
                <a:gd name="connsiteX557" fmla="*/ 1688 w 10000"/>
                <a:gd name="connsiteY557" fmla="*/ 1037 h 9953"/>
                <a:gd name="connsiteX558" fmla="*/ 1550 w 10000"/>
                <a:gd name="connsiteY558" fmla="*/ 916 h 9953"/>
                <a:gd name="connsiteX559" fmla="*/ 1487 w 10000"/>
                <a:gd name="connsiteY559" fmla="*/ 856 h 9953"/>
                <a:gd name="connsiteX560" fmla="*/ 1424 w 10000"/>
                <a:gd name="connsiteY560" fmla="*/ 790 h 9953"/>
                <a:gd name="connsiteX561" fmla="*/ 1361 w 10000"/>
                <a:gd name="connsiteY561" fmla="*/ 706 h 9953"/>
                <a:gd name="connsiteX562" fmla="*/ 1286 w 10000"/>
                <a:gd name="connsiteY562" fmla="*/ 605 h 9953"/>
                <a:gd name="connsiteX563" fmla="*/ 1286 w 10000"/>
                <a:gd name="connsiteY563" fmla="*/ 347 h 9953"/>
                <a:gd name="connsiteX564" fmla="*/ 1437 w 10000"/>
                <a:gd name="connsiteY564" fmla="*/ 347 h 9953"/>
                <a:gd name="connsiteX565" fmla="*/ 1606 w 10000"/>
                <a:gd name="connsiteY565" fmla="*/ 335 h 9953"/>
                <a:gd name="connsiteX566" fmla="*/ 1694 w 10000"/>
                <a:gd name="connsiteY566" fmla="*/ 329 h 9953"/>
                <a:gd name="connsiteX567" fmla="*/ 1775 w 10000"/>
                <a:gd name="connsiteY567" fmla="*/ 317 h 9953"/>
                <a:gd name="connsiteX568" fmla="*/ 1863 w 10000"/>
                <a:gd name="connsiteY568" fmla="*/ 298 h 9953"/>
                <a:gd name="connsiteX569" fmla="*/ 1945 w 10000"/>
                <a:gd name="connsiteY569" fmla="*/ 280 h 9953"/>
                <a:gd name="connsiteX570" fmla="*/ 2020 w 10000"/>
                <a:gd name="connsiteY570" fmla="*/ 262 h 9953"/>
                <a:gd name="connsiteX571" fmla="*/ 2102 w 10000"/>
                <a:gd name="connsiteY571" fmla="*/ 232 h 9953"/>
                <a:gd name="connsiteX572" fmla="*/ 2177 w 10000"/>
                <a:gd name="connsiteY572" fmla="*/ 202 h 9953"/>
                <a:gd name="connsiteX573" fmla="*/ 2240 w 10000"/>
                <a:gd name="connsiteY573" fmla="*/ 161 h 9953"/>
                <a:gd name="connsiteX574" fmla="*/ 2296 w 10000"/>
                <a:gd name="connsiteY574" fmla="*/ 119 h 9953"/>
                <a:gd name="connsiteX575" fmla="*/ 2587 w 10000"/>
                <a:gd name="connsiteY575" fmla="*/ 38 h 9953"/>
                <a:gd name="connsiteX576" fmla="*/ 2631 w 10000"/>
                <a:gd name="connsiteY576" fmla="*/ 32 h 9953"/>
                <a:gd name="connsiteX577" fmla="*/ 2415 w 10000"/>
                <a:gd name="connsiteY577" fmla="*/ 75 h 9953"/>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3121 w 10000"/>
                <a:gd name="connsiteY6" fmla="*/ 204 h 10000"/>
                <a:gd name="connsiteX7" fmla="*/ 3086 w 10000"/>
                <a:gd name="connsiteY7" fmla="*/ 427 h 10000"/>
                <a:gd name="connsiteX8" fmla="*/ 3152 w 10000"/>
                <a:gd name="connsiteY8" fmla="*/ 463 h 10000"/>
                <a:gd name="connsiteX9" fmla="*/ 3093 w 10000"/>
                <a:gd name="connsiteY9" fmla="*/ 493 h 10000"/>
                <a:gd name="connsiteX10" fmla="*/ 2992 w 10000"/>
                <a:gd name="connsiteY10" fmla="*/ 584 h 10000"/>
                <a:gd name="connsiteX11" fmla="*/ 3043 w 10000"/>
                <a:gd name="connsiteY11" fmla="*/ 608 h 10000"/>
                <a:gd name="connsiteX12" fmla="*/ 3087 w 10000"/>
                <a:gd name="connsiteY12" fmla="*/ 650 h 10000"/>
                <a:gd name="connsiteX13" fmla="*/ 3130 w 10000"/>
                <a:gd name="connsiteY13" fmla="*/ 697 h 10000"/>
                <a:gd name="connsiteX14" fmla="*/ 3174 w 10000"/>
                <a:gd name="connsiteY14" fmla="*/ 746 h 10000"/>
                <a:gd name="connsiteX15" fmla="*/ 3212 w 10000"/>
                <a:gd name="connsiteY15" fmla="*/ 806 h 10000"/>
                <a:gd name="connsiteX16" fmla="*/ 3256 w 10000"/>
                <a:gd name="connsiteY16" fmla="*/ 860 h 10000"/>
                <a:gd name="connsiteX17" fmla="*/ 3281 w 10000"/>
                <a:gd name="connsiteY17" fmla="*/ 920 h 10000"/>
                <a:gd name="connsiteX18" fmla="*/ 3312 w 10000"/>
                <a:gd name="connsiteY18" fmla="*/ 987 h 10000"/>
                <a:gd name="connsiteX19" fmla="*/ 3331 w 10000"/>
                <a:gd name="connsiteY19" fmla="*/ 1054 h 10000"/>
                <a:gd name="connsiteX20" fmla="*/ 3043 w 10000"/>
                <a:gd name="connsiteY20" fmla="*/ 1054 h 10000"/>
                <a:gd name="connsiteX21" fmla="*/ 3043 w 10000"/>
                <a:gd name="connsiteY21" fmla="*/ 1240 h 10000"/>
                <a:gd name="connsiteX22" fmla="*/ 3074 w 10000"/>
                <a:gd name="connsiteY22" fmla="*/ 1318 h 10000"/>
                <a:gd name="connsiteX23" fmla="*/ 3118 w 10000"/>
                <a:gd name="connsiteY23" fmla="*/ 1385 h 10000"/>
                <a:gd name="connsiteX24" fmla="*/ 3168 w 10000"/>
                <a:gd name="connsiteY24" fmla="*/ 1445 h 10000"/>
                <a:gd name="connsiteX25" fmla="*/ 3225 w 10000"/>
                <a:gd name="connsiteY25" fmla="*/ 1487 h 10000"/>
                <a:gd name="connsiteX26" fmla="*/ 3281 w 10000"/>
                <a:gd name="connsiteY26" fmla="*/ 1529 h 10000"/>
                <a:gd name="connsiteX27" fmla="*/ 3350 w 10000"/>
                <a:gd name="connsiteY27" fmla="*/ 1559 h 10000"/>
                <a:gd name="connsiteX28" fmla="*/ 3413 w 10000"/>
                <a:gd name="connsiteY28" fmla="*/ 1589 h 10000"/>
                <a:gd name="connsiteX29" fmla="*/ 3488 w 10000"/>
                <a:gd name="connsiteY29" fmla="*/ 1614 h 10000"/>
                <a:gd name="connsiteX30" fmla="*/ 3626 w 10000"/>
                <a:gd name="connsiteY30" fmla="*/ 1668 h 10000"/>
                <a:gd name="connsiteX31" fmla="*/ 3764 w 10000"/>
                <a:gd name="connsiteY31" fmla="*/ 1721 h 10000"/>
                <a:gd name="connsiteX32" fmla="*/ 3827 w 10000"/>
                <a:gd name="connsiteY32" fmla="*/ 1758 h 10000"/>
                <a:gd name="connsiteX33" fmla="*/ 3890 w 10000"/>
                <a:gd name="connsiteY33" fmla="*/ 1806 h 10000"/>
                <a:gd name="connsiteX34" fmla="*/ 3946 w 10000"/>
                <a:gd name="connsiteY34" fmla="*/ 1855 h 10000"/>
                <a:gd name="connsiteX35" fmla="*/ 4003 w 10000"/>
                <a:gd name="connsiteY35" fmla="*/ 1909 h 10000"/>
                <a:gd name="connsiteX36" fmla="*/ 3959 w 10000"/>
                <a:gd name="connsiteY36" fmla="*/ 2470 h 10000"/>
                <a:gd name="connsiteX37" fmla="*/ 4034 w 10000"/>
                <a:gd name="connsiteY37" fmla="*/ 2524 h 10000"/>
                <a:gd name="connsiteX38" fmla="*/ 4141 w 10000"/>
                <a:gd name="connsiteY38" fmla="*/ 2590 h 10000"/>
                <a:gd name="connsiteX39" fmla="*/ 4260 w 10000"/>
                <a:gd name="connsiteY39" fmla="*/ 2650 h 10000"/>
                <a:gd name="connsiteX40" fmla="*/ 4398 w 10000"/>
                <a:gd name="connsiteY40" fmla="*/ 2705 h 10000"/>
                <a:gd name="connsiteX41" fmla="*/ 4536 w 10000"/>
                <a:gd name="connsiteY41" fmla="*/ 2758 h 10000"/>
                <a:gd name="connsiteX42" fmla="*/ 4668 w 10000"/>
                <a:gd name="connsiteY42" fmla="*/ 2800 h 10000"/>
                <a:gd name="connsiteX43" fmla="*/ 4724 w 10000"/>
                <a:gd name="connsiteY43" fmla="*/ 2818 h 10000"/>
                <a:gd name="connsiteX44" fmla="*/ 4780 w 10000"/>
                <a:gd name="connsiteY44" fmla="*/ 2830 h 10000"/>
                <a:gd name="connsiteX45" fmla="*/ 4831 w 10000"/>
                <a:gd name="connsiteY45" fmla="*/ 2836 h 10000"/>
                <a:gd name="connsiteX46" fmla="*/ 4875 w 10000"/>
                <a:gd name="connsiteY46" fmla="*/ 2836 h 10000"/>
                <a:gd name="connsiteX47" fmla="*/ 4887 w 10000"/>
                <a:gd name="connsiteY47" fmla="*/ 2879 h 10000"/>
                <a:gd name="connsiteX48" fmla="*/ 4918 w 10000"/>
                <a:gd name="connsiteY48" fmla="*/ 2915 h 10000"/>
                <a:gd name="connsiteX49" fmla="*/ 4950 w 10000"/>
                <a:gd name="connsiteY49" fmla="*/ 2933 h 10000"/>
                <a:gd name="connsiteX50" fmla="*/ 4987 w 10000"/>
                <a:gd name="connsiteY50" fmla="*/ 2945 h 10000"/>
                <a:gd name="connsiteX51" fmla="*/ 5019 w 10000"/>
                <a:gd name="connsiteY51" fmla="*/ 2957 h 10000"/>
                <a:gd name="connsiteX52" fmla="*/ 5063 w 10000"/>
                <a:gd name="connsiteY52" fmla="*/ 2957 h 10000"/>
                <a:gd name="connsiteX53" fmla="*/ 5107 w 10000"/>
                <a:gd name="connsiteY53" fmla="*/ 2951 h 10000"/>
                <a:gd name="connsiteX54" fmla="*/ 5157 w 10000"/>
                <a:gd name="connsiteY54" fmla="*/ 2945 h 10000"/>
                <a:gd name="connsiteX55" fmla="*/ 5245 w 10000"/>
                <a:gd name="connsiteY55" fmla="*/ 2927 h 10000"/>
                <a:gd name="connsiteX56" fmla="*/ 5345 w 10000"/>
                <a:gd name="connsiteY56" fmla="*/ 2903 h 10000"/>
                <a:gd name="connsiteX57" fmla="*/ 5383 w 10000"/>
                <a:gd name="connsiteY57" fmla="*/ 2903 h 10000"/>
                <a:gd name="connsiteX58" fmla="*/ 5427 w 10000"/>
                <a:gd name="connsiteY58" fmla="*/ 2897 h 10000"/>
                <a:gd name="connsiteX59" fmla="*/ 5464 w 10000"/>
                <a:gd name="connsiteY59" fmla="*/ 2903 h 10000"/>
                <a:gd name="connsiteX60" fmla="*/ 5502 w 10000"/>
                <a:gd name="connsiteY60" fmla="*/ 2909 h 10000"/>
                <a:gd name="connsiteX61" fmla="*/ 5558 w 10000"/>
                <a:gd name="connsiteY61" fmla="*/ 2945 h 10000"/>
                <a:gd name="connsiteX62" fmla="*/ 5596 w 10000"/>
                <a:gd name="connsiteY62" fmla="*/ 2975 h 10000"/>
                <a:gd name="connsiteX63" fmla="*/ 5634 w 10000"/>
                <a:gd name="connsiteY63" fmla="*/ 3017 h 10000"/>
                <a:gd name="connsiteX64" fmla="*/ 5665 w 10000"/>
                <a:gd name="connsiteY64" fmla="*/ 3053 h 10000"/>
                <a:gd name="connsiteX65" fmla="*/ 5696 w 10000"/>
                <a:gd name="connsiteY65" fmla="*/ 3090 h 10000"/>
                <a:gd name="connsiteX66" fmla="*/ 5734 w 10000"/>
                <a:gd name="connsiteY66" fmla="*/ 3126 h 10000"/>
                <a:gd name="connsiteX67" fmla="*/ 5759 w 10000"/>
                <a:gd name="connsiteY67" fmla="*/ 3144 h 10000"/>
                <a:gd name="connsiteX68" fmla="*/ 5778 w 10000"/>
                <a:gd name="connsiteY68" fmla="*/ 3156 h 10000"/>
                <a:gd name="connsiteX69" fmla="*/ 5803 w 10000"/>
                <a:gd name="connsiteY69" fmla="*/ 3168 h 10000"/>
                <a:gd name="connsiteX70" fmla="*/ 5834 w 10000"/>
                <a:gd name="connsiteY70" fmla="*/ 3174 h 10000"/>
                <a:gd name="connsiteX71" fmla="*/ 5935 w 10000"/>
                <a:gd name="connsiteY71" fmla="*/ 3193 h 10000"/>
                <a:gd name="connsiteX72" fmla="*/ 6073 w 10000"/>
                <a:gd name="connsiteY72" fmla="*/ 3228 h 10000"/>
                <a:gd name="connsiteX73" fmla="*/ 6230 w 10000"/>
                <a:gd name="connsiteY73" fmla="*/ 3264 h 10000"/>
                <a:gd name="connsiteX74" fmla="*/ 6405 w 10000"/>
                <a:gd name="connsiteY74" fmla="*/ 3307 h 10000"/>
                <a:gd name="connsiteX75" fmla="*/ 6568 w 10000"/>
                <a:gd name="connsiteY75" fmla="*/ 3337 h 10000"/>
                <a:gd name="connsiteX76" fmla="*/ 6719 w 10000"/>
                <a:gd name="connsiteY76" fmla="*/ 3361 h 10000"/>
                <a:gd name="connsiteX77" fmla="*/ 6788 w 10000"/>
                <a:gd name="connsiteY77" fmla="*/ 3367 h 10000"/>
                <a:gd name="connsiteX78" fmla="*/ 6838 w 10000"/>
                <a:gd name="connsiteY78" fmla="*/ 3373 h 10000"/>
                <a:gd name="connsiteX79" fmla="*/ 6888 w 10000"/>
                <a:gd name="connsiteY79" fmla="*/ 3367 h 10000"/>
                <a:gd name="connsiteX80" fmla="*/ 6913 w 10000"/>
                <a:gd name="connsiteY80" fmla="*/ 3355 h 10000"/>
                <a:gd name="connsiteX81" fmla="*/ 6888 w 10000"/>
                <a:gd name="connsiteY81" fmla="*/ 3313 h 10000"/>
                <a:gd name="connsiteX82" fmla="*/ 6857 w 10000"/>
                <a:gd name="connsiteY82" fmla="*/ 3264 h 10000"/>
                <a:gd name="connsiteX83" fmla="*/ 6838 w 10000"/>
                <a:gd name="connsiteY83" fmla="*/ 3216 h 10000"/>
                <a:gd name="connsiteX84" fmla="*/ 6826 w 10000"/>
                <a:gd name="connsiteY84" fmla="*/ 3162 h 10000"/>
                <a:gd name="connsiteX85" fmla="*/ 6794 w 10000"/>
                <a:gd name="connsiteY85" fmla="*/ 3071 h 10000"/>
                <a:gd name="connsiteX86" fmla="*/ 6788 w 10000"/>
                <a:gd name="connsiteY86" fmla="*/ 3023 h 10000"/>
                <a:gd name="connsiteX87" fmla="*/ 6788 w 10000"/>
                <a:gd name="connsiteY87" fmla="*/ 2836 h 10000"/>
                <a:gd name="connsiteX88" fmla="*/ 6788 w 10000"/>
                <a:gd name="connsiteY88" fmla="*/ 2650 h 10000"/>
                <a:gd name="connsiteX89" fmla="*/ 6995 w 10000"/>
                <a:gd name="connsiteY89" fmla="*/ 2650 h 10000"/>
                <a:gd name="connsiteX90" fmla="*/ 7033 w 10000"/>
                <a:gd name="connsiteY90" fmla="*/ 2716 h 10000"/>
                <a:gd name="connsiteX91" fmla="*/ 7058 w 10000"/>
                <a:gd name="connsiteY91" fmla="*/ 2758 h 10000"/>
                <a:gd name="connsiteX92" fmla="*/ 7095 w 10000"/>
                <a:gd name="connsiteY92" fmla="*/ 2794 h 10000"/>
                <a:gd name="connsiteX93" fmla="*/ 7127 w 10000"/>
                <a:gd name="connsiteY93" fmla="*/ 2836 h 10000"/>
                <a:gd name="connsiteX94" fmla="*/ 7120 w 10000"/>
                <a:gd name="connsiteY94" fmla="*/ 2933 h 10000"/>
                <a:gd name="connsiteX95" fmla="*/ 7102 w 10000"/>
                <a:gd name="connsiteY95" fmla="*/ 2993 h 10000"/>
                <a:gd name="connsiteX96" fmla="*/ 7089 w 10000"/>
                <a:gd name="connsiteY96" fmla="*/ 3041 h 10000"/>
                <a:gd name="connsiteX97" fmla="*/ 7077 w 10000"/>
                <a:gd name="connsiteY97" fmla="*/ 3096 h 10000"/>
                <a:gd name="connsiteX98" fmla="*/ 7208 w 10000"/>
                <a:gd name="connsiteY98" fmla="*/ 3132 h 10000"/>
                <a:gd name="connsiteX99" fmla="*/ 7334 w 10000"/>
                <a:gd name="connsiteY99" fmla="*/ 3168 h 10000"/>
                <a:gd name="connsiteX100" fmla="*/ 7396 w 10000"/>
                <a:gd name="connsiteY100" fmla="*/ 3187 h 10000"/>
                <a:gd name="connsiteX101" fmla="*/ 7459 w 10000"/>
                <a:gd name="connsiteY101" fmla="*/ 3199 h 10000"/>
                <a:gd name="connsiteX102" fmla="*/ 7522 w 10000"/>
                <a:gd name="connsiteY102" fmla="*/ 3205 h 10000"/>
                <a:gd name="connsiteX103" fmla="*/ 7585 w 10000"/>
                <a:gd name="connsiteY103" fmla="*/ 3210 h 10000"/>
                <a:gd name="connsiteX104" fmla="*/ 7591 w 10000"/>
                <a:gd name="connsiteY104" fmla="*/ 3234 h 10000"/>
                <a:gd name="connsiteX105" fmla="*/ 7604 w 10000"/>
                <a:gd name="connsiteY105" fmla="*/ 3258 h 10000"/>
                <a:gd name="connsiteX106" fmla="*/ 7622 w 10000"/>
                <a:gd name="connsiteY106" fmla="*/ 3276 h 10000"/>
                <a:gd name="connsiteX107" fmla="*/ 7654 w 10000"/>
                <a:gd name="connsiteY107" fmla="*/ 3294 h 10000"/>
                <a:gd name="connsiteX108" fmla="*/ 7704 w 10000"/>
                <a:gd name="connsiteY108" fmla="*/ 3313 h 10000"/>
                <a:gd name="connsiteX109" fmla="*/ 7748 w 10000"/>
                <a:gd name="connsiteY109" fmla="*/ 3319 h 10000"/>
                <a:gd name="connsiteX110" fmla="*/ 7798 w 10000"/>
                <a:gd name="connsiteY110" fmla="*/ 3319 h 10000"/>
                <a:gd name="connsiteX111" fmla="*/ 7836 w 10000"/>
                <a:gd name="connsiteY111" fmla="*/ 3307 h 10000"/>
                <a:gd name="connsiteX112" fmla="*/ 7880 w 10000"/>
                <a:gd name="connsiteY112" fmla="*/ 3288 h 10000"/>
                <a:gd name="connsiteX113" fmla="*/ 7911 w 10000"/>
                <a:gd name="connsiteY113" fmla="*/ 3270 h 10000"/>
                <a:gd name="connsiteX114" fmla="*/ 7949 w 10000"/>
                <a:gd name="connsiteY114" fmla="*/ 3246 h 10000"/>
                <a:gd name="connsiteX115" fmla="*/ 7980 w 10000"/>
                <a:gd name="connsiteY115" fmla="*/ 3216 h 10000"/>
                <a:gd name="connsiteX116" fmla="*/ 8011 w 10000"/>
                <a:gd name="connsiteY116" fmla="*/ 3187 h 10000"/>
                <a:gd name="connsiteX117" fmla="*/ 8036 w 10000"/>
                <a:gd name="connsiteY117" fmla="*/ 3156 h 10000"/>
                <a:gd name="connsiteX118" fmla="*/ 8087 w 10000"/>
                <a:gd name="connsiteY118" fmla="*/ 3077 h 10000"/>
                <a:gd name="connsiteX119" fmla="*/ 8118 w 10000"/>
                <a:gd name="connsiteY119" fmla="*/ 3005 h 10000"/>
                <a:gd name="connsiteX120" fmla="*/ 8149 w 10000"/>
                <a:gd name="connsiteY120" fmla="*/ 2939 h 10000"/>
                <a:gd name="connsiteX121" fmla="*/ 8168 w 10000"/>
                <a:gd name="connsiteY121" fmla="*/ 2873 h 10000"/>
                <a:gd name="connsiteX122" fmla="*/ 8231 w 10000"/>
                <a:gd name="connsiteY122" fmla="*/ 2806 h 10000"/>
                <a:gd name="connsiteX123" fmla="*/ 8294 w 10000"/>
                <a:gd name="connsiteY123" fmla="*/ 2740 h 10000"/>
                <a:gd name="connsiteX124" fmla="*/ 8363 w 10000"/>
                <a:gd name="connsiteY124" fmla="*/ 2687 h 10000"/>
                <a:gd name="connsiteX125" fmla="*/ 8432 w 10000"/>
                <a:gd name="connsiteY125" fmla="*/ 2626 h 10000"/>
                <a:gd name="connsiteX126" fmla="*/ 8507 w 10000"/>
                <a:gd name="connsiteY126" fmla="*/ 2578 h 10000"/>
                <a:gd name="connsiteX127" fmla="*/ 8576 w 10000"/>
                <a:gd name="connsiteY127" fmla="*/ 2530 h 10000"/>
                <a:gd name="connsiteX128" fmla="*/ 8651 w 10000"/>
                <a:gd name="connsiteY128" fmla="*/ 2488 h 10000"/>
                <a:gd name="connsiteX129" fmla="*/ 8726 w 10000"/>
                <a:gd name="connsiteY129" fmla="*/ 2444 h 10000"/>
                <a:gd name="connsiteX130" fmla="*/ 8808 w 10000"/>
                <a:gd name="connsiteY130" fmla="*/ 2402 h 10000"/>
                <a:gd name="connsiteX131" fmla="*/ 8890 w 10000"/>
                <a:gd name="connsiteY131" fmla="*/ 2366 h 10000"/>
                <a:gd name="connsiteX132" fmla="*/ 8971 w 10000"/>
                <a:gd name="connsiteY132" fmla="*/ 2336 h 10000"/>
                <a:gd name="connsiteX133" fmla="*/ 9059 w 10000"/>
                <a:gd name="connsiteY133" fmla="*/ 2306 h 10000"/>
                <a:gd name="connsiteX134" fmla="*/ 9235 w 10000"/>
                <a:gd name="connsiteY134" fmla="*/ 2252 h 10000"/>
                <a:gd name="connsiteX135" fmla="*/ 9417 w 10000"/>
                <a:gd name="connsiteY135" fmla="*/ 2209 h 10000"/>
                <a:gd name="connsiteX136" fmla="*/ 9454 w 10000"/>
                <a:gd name="connsiteY136" fmla="*/ 2258 h 10000"/>
                <a:gd name="connsiteX137" fmla="*/ 9504 w 10000"/>
                <a:gd name="connsiteY137" fmla="*/ 2318 h 10000"/>
                <a:gd name="connsiteX138" fmla="*/ 9573 w 10000"/>
                <a:gd name="connsiteY138" fmla="*/ 2384 h 10000"/>
                <a:gd name="connsiteX139" fmla="*/ 9642 w 10000"/>
                <a:gd name="connsiteY139" fmla="*/ 2457 h 10000"/>
                <a:gd name="connsiteX140" fmla="*/ 9718 w 10000"/>
                <a:gd name="connsiteY140" fmla="*/ 2518 h 10000"/>
                <a:gd name="connsiteX141" fmla="*/ 9799 w 10000"/>
                <a:gd name="connsiteY141" fmla="*/ 2566 h 10000"/>
                <a:gd name="connsiteX142" fmla="*/ 9837 w 10000"/>
                <a:gd name="connsiteY142" fmla="*/ 2590 h 10000"/>
                <a:gd name="connsiteX143" fmla="*/ 9875 w 10000"/>
                <a:gd name="connsiteY143" fmla="*/ 2602 h 10000"/>
                <a:gd name="connsiteX144" fmla="*/ 9918 w 10000"/>
                <a:gd name="connsiteY144" fmla="*/ 2614 h 10000"/>
                <a:gd name="connsiteX145" fmla="*/ 9956 w 10000"/>
                <a:gd name="connsiteY145" fmla="*/ 2614 h 10000"/>
                <a:gd name="connsiteX146" fmla="*/ 10000 w 10000"/>
                <a:gd name="connsiteY146" fmla="*/ 2542 h 10000"/>
                <a:gd name="connsiteX147" fmla="*/ 9975 w 10000"/>
                <a:gd name="connsiteY147" fmla="*/ 2669 h 10000"/>
                <a:gd name="connsiteX148" fmla="*/ 9944 w 10000"/>
                <a:gd name="connsiteY148" fmla="*/ 2812 h 10000"/>
                <a:gd name="connsiteX149" fmla="*/ 9931 w 10000"/>
                <a:gd name="connsiteY149" fmla="*/ 2879 h 10000"/>
                <a:gd name="connsiteX150" fmla="*/ 9906 w 10000"/>
                <a:gd name="connsiteY150" fmla="*/ 2939 h 10000"/>
                <a:gd name="connsiteX151" fmla="*/ 9887 w 10000"/>
                <a:gd name="connsiteY151" fmla="*/ 2963 h 10000"/>
                <a:gd name="connsiteX152" fmla="*/ 9875 w 10000"/>
                <a:gd name="connsiteY152" fmla="*/ 2987 h 10000"/>
                <a:gd name="connsiteX153" fmla="*/ 9856 w 10000"/>
                <a:gd name="connsiteY153" fmla="*/ 3005 h 10000"/>
                <a:gd name="connsiteX154" fmla="*/ 9837 w 10000"/>
                <a:gd name="connsiteY154" fmla="*/ 3023 h 10000"/>
                <a:gd name="connsiteX155" fmla="*/ 9749 w 10000"/>
                <a:gd name="connsiteY155" fmla="*/ 3041 h 10000"/>
                <a:gd name="connsiteX156" fmla="*/ 9605 w 10000"/>
                <a:gd name="connsiteY156" fmla="*/ 3090 h 10000"/>
                <a:gd name="connsiteX157" fmla="*/ 9536 w 10000"/>
                <a:gd name="connsiteY157" fmla="*/ 3132 h 10000"/>
                <a:gd name="connsiteX158" fmla="*/ 9479 w 10000"/>
                <a:gd name="connsiteY158" fmla="*/ 3168 h 10000"/>
                <a:gd name="connsiteX159" fmla="*/ 9448 w 10000"/>
                <a:gd name="connsiteY159" fmla="*/ 3187 h 10000"/>
                <a:gd name="connsiteX160" fmla="*/ 9435 w 10000"/>
                <a:gd name="connsiteY160" fmla="*/ 3205 h 10000"/>
                <a:gd name="connsiteX161" fmla="*/ 9423 w 10000"/>
                <a:gd name="connsiteY161" fmla="*/ 3228 h 10000"/>
                <a:gd name="connsiteX162" fmla="*/ 9417 w 10000"/>
                <a:gd name="connsiteY162" fmla="*/ 3246 h 10000"/>
                <a:gd name="connsiteX163" fmla="*/ 9423 w 10000"/>
                <a:gd name="connsiteY163" fmla="*/ 3457 h 10000"/>
                <a:gd name="connsiteX164" fmla="*/ 9417 w 10000"/>
                <a:gd name="connsiteY164" fmla="*/ 3698 h 10000"/>
                <a:gd name="connsiteX165" fmla="*/ 9398 w 10000"/>
                <a:gd name="connsiteY165" fmla="*/ 3758 h 10000"/>
                <a:gd name="connsiteX166" fmla="*/ 9391 w 10000"/>
                <a:gd name="connsiteY166" fmla="*/ 3824 h 10000"/>
                <a:gd name="connsiteX167" fmla="*/ 9379 w 10000"/>
                <a:gd name="connsiteY167" fmla="*/ 3878 h 10000"/>
                <a:gd name="connsiteX168" fmla="*/ 9366 w 10000"/>
                <a:gd name="connsiteY168" fmla="*/ 3933 h 10000"/>
                <a:gd name="connsiteX169" fmla="*/ 9348 w 10000"/>
                <a:gd name="connsiteY169" fmla="*/ 3982 h 10000"/>
                <a:gd name="connsiteX170" fmla="*/ 9316 w 10000"/>
                <a:gd name="connsiteY170" fmla="*/ 4030 h 10000"/>
                <a:gd name="connsiteX171" fmla="*/ 9285 w 10000"/>
                <a:gd name="connsiteY171" fmla="*/ 4066 h 10000"/>
                <a:gd name="connsiteX172" fmla="*/ 9247 w 10000"/>
                <a:gd name="connsiteY172" fmla="*/ 4096 h 10000"/>
                <a:gd name="connsiteX173" fmla="*/ 9228 w 10000"/>
                <a:gd name="connsiteY173" fmla="*/ 4114 h 10000"/>
                <a:gd name="connsiteX174" fmla="*/ 9184 w 10000"/>
                <a:gd name="connsiteY174" fmla="*/ 4120 h 10000"/>
                <a:gd name="connsiteX175" fmla="*/ 9141 w 10000"/>
                <a:gd name="connsiteY175" fmla="*/ 4126 h 10000"/>
                <a:gd name="connsiteX176" fmla="*/ 9090 w 10000"/>
                <a:gd name="connsiteY176" fmla="*/ 4132 h 10000"/>
                <a:gd name="connsiteX177" fmla="*/ 9040 w 10000"/>
                <a:gd name="connsiteY177" fmla="*/ 4138 h 10000"/>
                <a:gd name="connsiteX178" fmla="*/ 8996 w 10000"/>
                <a:gd name="connsiteY178" fmla="*/ 4157 h 10000"/>
                <a:gd name="connsiteX179" fmla="*/ 8977 w 10000"/>
                <a:gd name="connsiteY179" fmla="*/ 4163 h 10000"/>
                <a:gd name="connsiteX180" fmla="*/ 8965 w 10000"/>
                <a:gd name="connsiteY180" fmla="*/ 4181 h 10000"/>
                <a:gd name="connsiteX181" fmla="*/ 8959 w 10000"/>
                <a:gd name="connsiteY181" fmla="*/ 4193 h 10000"/>
                <a:gd name="connsiteX182" fmla="*/ 8959 w 10000"/>
                <a:gd name="connsiteY182" fmla="*/ 4211 h 10000"/>
                <a:gd name="connsiteX183" fmla="*/ 8952 w 10000"/>
                <a:gd name="connsiteY183" fmla="*/ 4282 h 10000"/>
                <a:gd name="connsiteX184" fmla="*/ 8952 w 10000"/>
                <a:gd name="connsiteY184" fmla="*/ 4367 h 10000"/>
                <a:gd name="connsiteX185" fmla="*/ 8940 w 10000"/>
                <a:gd name="connsiteY185" fmla="*/ 4457 h 10000"/>
                <a:gd name="connsiteX186" fmla="*/ 8927 w 10000"/>
                <a:gd name="connsiteY186" fmla="*/ 4541 h 10000"/>
                <a:gd name="connsiteX187" fmla="*/ 8908 w 10000"/>
                <a:gd name="connsiteY187" fmla="*/ 4627 h 10000"/>
                <a:gd name="connsiteX188" fmla="*/ 8890 w 10000"/>
                <a:gd name="connsiteY188" fmla="*/ 4705 h 10000"/>
                <a:gd name="connsiteX189" fmla="*/ 8864 w 10000"/>
                <a:gd name="connsiteY189" fmla="*/ 4776 h 10000"/>
                <a:gd name="connsiteX190" fmla="*/ 8833 w 10000"/>
                <a:gd name="connsiteY190" fmla="*/ 4843 h 10000"/>
                <a:gd name="connsiteX191" fmla="*/ 8538 w 10000"/>
                <a:gd name="connsiteY191" fmla="*/ 4354 h 10000"/>
                <a:gd name="connsiteX192" fmla="*/ 8526 w 10000"/>
                <a:gd name="connsiteY192" fmla="*/ 4379 h 10000"/>
                <a:gd name="connsiteX193" fmla="*/ 8494 w 10000"/>
                <a:gd name="connsiteY193" fmla="*/ 4433 h 10000"/>
                <a:gd name="connsiteX194" fmla="*/ 8463 w 10000"/>
                <a:gd name="connsiteY194" fmla="*/ 4463 h 10000"/>
                <a:gd name="connsiteX195" fmla="*/ 8438 w 10000"/>
                <a:gd name="connsiteY195" fmla="*/ 4487 h 10000"/>
                <a:gd name="connsiteX196" fmla="*/ 8407 w 10000"/>
                <a:gd name="connsiteY196" fmla="*/ 4505 h 10000"/>
                <a:gd name="connsiteX197" fmla="*/ 8375 w 10000"/>
                <a:gd name="connsiteY197" fmla="*/ 4511 h 10000"/>
                <a:gd name="connsiteX198" fmla="*/ 8338 w 10000"/>
                <a:gd name="connsiteY198" fmla="*/ 4505 h 10000"/>
                <a:gd name="connsiteX199" fmla="*/ 8312 w 10000"/>
                <a:gd name="connsiteY199" fmla="*/ 4499 h 10000"/>
                <a:gd name="connsiteX200" fmla="*/ 8287 w 10000"/>
                <a:gd name="connsiteY200" fmla="*/ 4481 h 10000"/>
                <a:gd name="connsiteX201" fmla="*/ 8256 w 10000"/>
                <a:gd name="connsiteY201" fmla="*/ 4463 h 10000"/>
                <a:gd name="connsiteX202" fmla="*/ 8237 w 10000"/>
                <a:gd name="connsiteY202" fmla="*/ 4433 h 10000"/>
                <a:gd name="connsiteX203" fmla="*/ 8225 w 10000"/>
                <a:gd name="connsiteY203" fmla="*/ 4409 h 10000"/>
                <a:gd name="connsiteX204" fmla="*/ 8206 w 10000"/>
                <a:gd name="connsiteY204" fmla="*/ 4385 h 10000"/>
                <a:gd name="connsiteX205" fmla="*/ 8206 w 10000"/>
                <a:gd name="connsiteY205" fmla="*/ 4354 h 10000"/>
                <a:gd name="connsiteX206" fmla="*/ 8206 w 10000"/>
                <a:gd name="connsiteY206" fmla="*/ 4318 h 10000"/>
                <a:gd name="connsiteX207" fmla="*/ 8225 w 10000"/>
                <a:gd name="connsiteY207" fmla="*/ 4282 h 10000"/>
                <a:gd name="connsiteX208" fmla="*/ 8237 w 10000"/>
                <a:gd name="connsiteY208" fmla="*/ 4246 h 10000"/>
                <a:gd name="connsiteX209" fmla="*/ 8250 w 10000"/>
                <a:gd name="connsiteY209" fmla="*/ 4211 h 10000"/>
                <a:gd name="connsiteX210" fmla="*/ 8300 w 10000"/>
                <a:gd name="connsiteY210" fmla="*/ 4144 h 10000"/>
                <a:gd name="connsiteX211" fmla="*/ 8356 w 10000"/>
                <a:gd name="connsiteY211" fmla="*/ 4078 h 10000"/>
                <a:gd name="connsiteX212" fmla="*/ 8407 w 10000"/>
                <a:gd name="connsiteY212" fmla="*/ 4018 h 10000"/>
                <a:gd name="connsiteX213" fmla="*/ 8457 w 10000"/>
                <a:gd name="connsiteY213" fmla="*/ 3952 h 10000"/>
                <a:gd name="connsiteX214" fmla="*/ 8469 w 10000"/>
                <a:gd name="connsiteY214" fmla="*/ 3915 h 10000"/>
                <a:gd name="connsiteX215" fmla="*/ 8482 w 10000"/>
                <a:gd name="connsiteY215" fmla="*/ 3884 h 10000"/>
                <a:gd name="connsiteX216" fmla="*/ 8501 w 10000"/>
                <a:gd name="connsiteY216" fmla="*/ 3842 h 10000"/>
                <a:gd name="connsiteX217" fmla="*/ 8501 w 10000"/>
                <a:gd name="connsiteY217" fmla="*/ 3806 h 10000"/>
                <a:gd name="connsiteX218" fmla="*/ 7748 w 10000"/>
                <a:gd name="connsiteY218" fmla="*/ 3806 h 10000"/>
                <a:gd name="connsiteX219" fmla="*/ 7723 w 10000"/>
                <a:gd name="connsiteY219" fmla="*/ 3800 h 10000"/>
                <a:gd name="connsiteX220" fmla="*/ 7685 w 10000"/>
                <a:gd name="connsiteY220" fmla="*/ 3782 h 10000"/>
                <a:gd name="connsiteX221" fmla="*/ 7660 w 10000"/>
                <a:gd name="connsiteY221" fmla="*/ 3746 h 10000"/>
                <a:gd name="connsiteX222" fmla="*/ 7635 w 10000"/>
                <a:gd name="connsiteY222" fmla="*/ 3710 h 10000"/>
                <a:gd name="connsiteX223" fmla="*/ 7616 w 10000"/>
                <a:gd name="connsiteY223" fmla="*/ 3662 h 10000"/>
                <a:gd name="connsiteX224" fmla="*/ 7597 w 10000"/>
                <a:gd name="connsiteY224" fmla="*/ 3614 h 10000"/>
                <a:gd name="connsiteX225" fmla="*/ 7591 w 10000"/>
                <a:gd name="connsiteY225" fmla="*/ 3560 h 10000"/>
                <a:gd name="connsiteX226" fmla="*/ 7585 w 10000"/>
                <a:gd name="connsiteY226" fmla="*/ 3505 h 10000"/>
                <a:gd name="connsiteX227" fmla="*/ 7547 w 10000"/>
                <a:gd name="connsiteY227" fmla="*/ 3505 h 10000"/>
                <a:gd name="connsiteX228" fmla="*/ 7516 w 10000"/>
                <a:gd name="connsiteY228" fmla="*/ 3499 h 10000"/>
                <a:gd name="connsiteX229" fmla="*/ 7478 w 10000"/>
                <a:gd name="connsiteY229" fmla="*/ 3493 h 10000"/>
                <a:gd name="connsiteX230" fmla="*/ 7447 w 10000"/>
                <a:gd name="connsiteY230" fmla="*/ 3481 h 10000"/>
                <a:gd name="connsiteX231" fmla="*/ 7415 w 10000"/>
                <a:gd name="connsiteY231" fmla="*/ 3463 h 10000"/>
                <a:gd name="connsiteX232" fmla="*/ 7396 w 10000"/>
                <a:gd name="connsiteY232" fmla="*/ 3445 h 10000"/>
                <a:gd name="connsiteX233" fmla="*/ 7384 w 10000"/>
                <a:gd name="connsiteY233" fmla="*/ 3415 h 10000"/>
                <a:gd name="connsiteX234" fmla="*/ 7378 w 10000"/>
                <a:gd name="connsiteY234" fmla="*/ 3391 h 10000"/>
                <a:gd name="connsiteX235" fmla="*/ 7321 w 10000"/>
                <a:gd name="connsiteY235" fmla="*/ 3391 h 10000"/>
                <a:gd name="connsiteX236" fmla="*/ 7271 w 10000"/>
                <a:gd name="connsiteY236" fmla="*/ 3391 h 10000"/>
                <a:gd name="connsiteX237" fmla="*/ 7221 w 10000"/>
                <a:gd name="connsiteY237" fmla="*/ 3391 h 10000"/>
                <a:gd name="connsiteX238" fmla="*/ 7171 w 10000"/>
                <a:gd name="connsiteY238" fmla="*/ 3391 h 10000"/>
                <a:gd name="connsiteX239" fmla="*/ 7127 w 10000"/>
                <a:gd name="connsiteY239" fmla="*/ 3397 h 10000"/>
                <a:gd name="connsiteX240" fmla="*/ 7095 w 10000"/>
                <a:gd name="connsiteY240" fmla="*/ 3403 h 10000"/>
                <a:gd name="connsiteX241" fmla="*/ 7051 w 10000"/>
                <a:gd name="connsiteY241" fmla="*/ 3421 h 10000"/>
                <a:gd name="connsiteX242" fmla="*/ 7008 w 10000"/>
                <a:gd name="connsiteY242" fmla="*/ 3445 h 10000"/>
                <a:gd name="connsiteX243" fmla="*/ 6976 w 10000"/>
                <a:gd name="connsiteY243" fmla="*/ 3475 h 10000"/>
                <a:gd name="connsiteX244" fmla="*/ 6939 w 10000"/>
                <a:gd name="connsiteY244" fmla="*/ 3505 h 10000"/>
                <a:gd name="connsiteX245" fmla="*/ 6920 w 10000"/>
                <a:gd name="connsiteY245" fmla="*/ 3542 h 10000"/>
                <a:gd name="connsiteX246" fmla="*/ 6913 w 10000"/>
                <a:gd name="connsiteY246" fmla="*/ 3578 h 10000"/>
                <a:gd name="connsiteX247" fmla="*/ 6926 w 10000"/>
                <a:gd name="connsiteY247" fmla="*/ 3602 h 10000"/>
                <a:gd name="connsiteX248" fmla="*/ 6964 w 10000"/>
                <a:gd name="connsiteY248" fmla="*/ 3632 h 10000"/>
                <a:gd name="connsiteX249" fmla="*/ 7008 w 10000"/>
                <a:gd name="connsiteY249" fmla="*/ 3668 h 10000"/>
                <a:gd name="connsiteX250" fmla="*/ 7070 w 10000"/>
                <a:gd name="connsiteY250" fmla="*/ 3704 h 10000"/>
                <a:gd name="connsiteX251" fmla="*/ 7133 w 10000"/>
                <a:gd name="connsiteY251" fmla="*/ 3740 h 10000"/>
                <a:gd name="connsiteX252" fmla="*/ 7196 w 10000"/>
                <a:gd name="connsiteY252" fmla="*/ 3770 h 10000"/>
                <a:gd name="connsiteX253" fmla="*/ 7252 w 10000"/>
                <a:gd name="connsiteY253" fmla="*/ 3794 h 10000"/>
                <a:gd name="connsiteX254" fmla="*/ 7290 w 10000"/>
                <a:gd name="connsiteY254" fmla="*/ 3806 h 10000"/>
                <a:gd name="connsiteX255" fmla="*/ 7208 w 10000"/>
                <a:gd name="connsiteY255" fmla="*/ 3866 h 10000"/>
                <a:gd name="connsiteX256" fmla="*/ 7114 w 10000"/>
                <a:gd name="connsiteY256" fmla="*/ 3940 h 10000"/>
                <a:gd name="connsiteX257" fmla="*/ 7070 w 10000"/>
                <a:gd name="connsiteY257" fmla="*/ 3976 h 10000"/>
                <a:gd name="connsiteX258" fmla="*/ 7033 w 10000"/>
                <a:gd name="connsiteY258" fmla="*/ 4018 h 10000"/>
                <a:gd name="connsiteX259" fmla="*/ 7020 w 10000"/>
                <a:gd name="connsiteY259" fmla="*/ 4036 h 10000"/>
                <a:gd name="connsiteX260" fmla="*/ 7008 w 10000"/>
                <a:gd name="connsiteY260" fmla="*/ 4054 h 10000"/>
                <a:gd name="connsiteX261" fmla="*/ 7001 w 10000"/>
                <a:gd name="connsiteY261" fmla="*/ 4078 h 10000"/>
                <a:gd name="connsiteX262" fmla="*/ 6995 w 10000"/>
                <a:gd name="connsiteY262" fmla="*/ 4096 h 10000"/>
                <a:gd name="connsiteX263" fmla="*/ 7001 w 10000"/>
                <a:gd name="connsiteY263" fmla="*/ 4126 h 10000"/>
                <a:gd name="connsiteX264" fmla="*/ 7008 w 10000"/>
                <a:gd name="connsiteY264" fmla="*/ 4144 h 10000"/>
                <a:gd name="connsiteX265" fmla="*/ 7026 w 10000"/>
                <a:gd name="connsiteY265" fmla="*/ 4169 h 10000"/>
                <a:gd name="connsiteX266" fmla="*/ 7039 w 10000"/>
                <a:gd name="connsiteY266" fmla="*/ 4193 h 10000"/>
                <a:gd name="connsiteX267" fmla="*/ 7089 w 10000"/>
                <a:gd name="connsiteY267" fmla="*/ 4240 h 10000"/>
                <a:gd name="connsiteX268" fmla="*/ 7146 w 10000"/>
                <a:gd name="connsiteY268" fmla="*/ 4288 h 10000"/>
                <a:gd name="connsiteX269" fmla="*/ 7208 w 10000"/>
                <a:gd name="connsiteY269" fmla="*/ 4330 h 10000"/>
                <a:gd name="connsiteX270" fmla="*/ 7277 w 10000"/>
                <a:gd name="connsiteY270" fmla="*/ 4367 h 10000"/>
                <a:gd name="connsiteX271" fmla="*/ 7315 w 10000"/>
                <a:gd name="connsiteY271" fmla="*/ 4379 h 10000"/>
                <a:gd name="connsiteX272" fmla="*/ 7346 w 10000"/>
                <a:gd name="connsiteY272" fmla="*/ 4385 h 10000"/>
                <a:gd name="connsiteX273" fmla="*/ 7384 w 10000"/>
                <a:gd name="connsiteY273" fmla="*/ 4391 h 10000"/>
                <a:gd name="connsiteX274" fmla="*/ 7415 w 10000"/>
                <a:gd name="connsiteY274" fmla="*/ 4397 h 10000"/>
                <a:gd name="connsiteX275" fmla="*/ 7585 w 10000"/>
                <a:gd name="connsiteY275" fmla="*/ 5024 h 10000"/>
                <a:gd name="connsiteX276" fmla="*/ 7491 w 10000"/>
                <a:gd name="connsiteY276" fmla="*/ 5024 h 10000"/>
                <a:gd name="connsiteX277" fmla="*/ 7403 w 10000"/>
                <a:gd name="connsiteY277" fmla="*/ 5024 h 10000"/>
                <a:gd name="connsiteX278" fmla="*/ 7321 w 10000"/>
                <a:gd name="connsiteY278" fmla="*/ 5024 h 10000"/>
                <a:gd name="connsiteX279" fmla="*/ 7252 w 10000"/>
                <a:gd name="connsiteY279" fmla="*/ 5024 h 10000"/>
                <a:gd name="connsiteX280" fmla="*/ 7208 w 10000"/>
                <a:gd name="connsiteY280" fmla="*/ 5018 h 10000"/>
                <a:gd name="connsiteX281" fmla="*/ 7164 w 10000"/>
                <a:gd name="connsiteY281" fmla="*/ 4987 h 10000"/>
                <a:gd name="connsiteX282" fmla="*/ 7133 w 10000"/>
                <a:gd name="connsiteY282" fmla="*/ 4975 h 10000"/>
                <a:gd name="connsiteX283" fmla="*/ 7102 w 10000"/>
                <a:gd name="connsiteY283" fmla="*/ 4963 h 10000"/>
                <a:gd name="connsiteX284" fmla="*/ 7070 w 10000"/>
                <a:gd name="connsiteY284" fmla="*/ 4957 h 10000"/>
                <a:gd name="connsiteX285" fmla="*/ 7039 w 10000"/>
                <a:gd name="connsiteY285" fmla="*/ 4951 h 10000"/>
                <a:gd name="connsiteX286" fmla="*/ 7008 w 10000"/>
                <a:gd name="connsiteY286" fmla="*/ 4963 h 10000"/>
                <a:gd name="connsiteX287" fmla="*/ 6957 w 10000"/>
                <a:gd name="connsiteY287" fmla="*/ 4993 h 10000"/>
                <a:gd name="connsiteX288" fmla="*/ 6895 w 10000"/>
                <a:gd name="connsiteY288" fmla="*/ 5036 h 10000"/>
                <a:gd name="connsiteX289" fmla="*/ 6819 w 10000"/>
                <a:gd name="connsiteY289" fmla="*/ 5084 h 10000"/>
                <a:gd name="connsiteX290" fmla="*/ 6744 w 10000"/>
                <a:gd name="connsiteY290" fmla="*/ 5144 h 10000"/>
                <a:gd name="connsiteX291" fmla="*/ 6681 w 10000"/>
                <a:gd name="connsiteY291" fmla="*/ 5192 h 10000"/>
                <a:gd name="connsiteX292" fmla="*/ 6637 w 10000"/>
                <a:gd name="connsiteY292" fmla="*/ 5228 h 10000"/>
                <a:gd name="connsiteX293" fmla="*/ 6625 w 10000"/>
                <a:gd name="connsiteY293" fmla="*/ 5252 h 10000"/>
                <a:gd name="connsiteX294" fmla="*/ 6750 w 10000"/>
                <a:gd name="connsiteY294" fmla="*/ 5324 h 10000"/>
                <a:gd name="connsiteX295" fmla="*/ 6744 w 10000"/>
                <a:gd name="connsiteY295" fmla="*/ 5361 h 10000"/>
                <a:gd name="connsiteX296" fmla="*/ 6725 w 10000"/>
                <a:gd name="connsiteY296" fmla="*/ 5403 h 10000"/>
                <a:gd name="connsiteX297" fmla="*/ 6706 w 10000"/>
                <a:gd name="connsiteY297" fmla="*/ 5434 h 10000"/>
                <a:gd name="connsiteX298" fmla="*/ 6688 w 10000"/>
                <a:gd name="connsiteY298" fmla="*/ 5476 h 10000"/>
                <a:gd name="connsiteX299" fmla="*/ 6637 w 10000"/>
                <a:gd name="connsiteY299" fmla="*/ 5530 h 10000"/>
                <a:gd name="connsiteX300" fmla="*/ 6581 w 10000"/>
                <a:gd name="connsiteY300" fmla="*/ 5584 h 10000"/>
                <a:gd name="connsiteX301" fmla="*/ 6518 w 10000"/>
                <a:gd name="connsiteY301" fmla="*/ 5632 h 10000"/>
                <a:gd name="connsiteX302" fmla="*/ 6443 w 10000"/>
                <a:gd name="connsiteY302" fmla="*/ 5675 h 10000"/>
                <a:gd name="connsiteX303" fmla="*/ 6374 w 10000"/>
                <a:gd name="connsiteY303" fmla="*/ 5711 h 10000"/>
                <a:gd name="connsiteX304" fmla="*/ 6299 w 10000"/>
                <a:gd name="connsiteY304" fmla="*/ 5746 h 10000"/>
                <a:gd name="connsiteX305" fmla="*/ 6223 w 10000"/>
                <a:gd name="connsiteY305" fmla="*/ 5794 h 10000"/>
                <a:gd name="connsiteX306" fmla="*/ 6154 w 10000"/>
                <a:gd name="connsiteY306" fmla="*/ 5830 h 10000"/>
                <a:gd name="connsiteX307" fmla="*/ 6092 w 10000"/>
                <a:gd name="connsiteY307" fmla="*/ 5873 h 10000"/>
                <a:gd name="connsiteX308" fmla="*/ 6035 w 10000"/>
                <a:gd name="connsiteY308" fmla="*/ 5921 h 10000"/>
                <a:gd name="connsiteX309" fmla="*/ 6004 w 10000"/>
                <a:gd name="connsiteY309" fmla="*/ 5945 h 10000"/>
                <a:gd name="connsiteX310" fmla="*/ 5985 w 10000"/>
                <a:gd name="connsiteY310" fmla="*/ 5969 h 10000"/>
                <a:gd name="connsiteX311" fmla="*/ 5966 w 10000"/>
                <a:gd name="connsiteY311" fmla="*/ 5999 h 10000"/>
                <a:gd name="connsiteX312" fmla="*/ 5947 w 10000"/>
                <a:gd name="connsiteY312" fmla="*/ 6029 h 10000"/>
                <a:gd name="connsiteX313" fmla="*/ 5935 w 10000"/>
                <a:gd name="connsiteY313" fmla="*/ 6067 h 10000"/>
                <a:gd name="connsiteX314" fmla="*/ 5922 w 10000"/>
                <a:gd name="connsiteY314" fmla="*/ 6097 h 10000"/>
                <a:gd name="connsiteX315" fmla="*/ 5916 w 10000"/>
                <a:gd name="connsiteY315" fmla="*/ 6139 h 10000"/>
                <a:gd name="connsiteX316" fmla="*/ 5916 w 10000"/>
                <a:gd name="connsiteY316" fmla="*/ 6181 h 10000"/>
                <a:gd name="connsiteX317" fmla="*/ 5859 w 10000"/>
                <a:gd name="connsiteY317" fmla="*/ 6199 h 10000"/>
                <a:gd name="connsiteX318" fmla="*/ 5809 w 10000"/>
                <a:gd name="connsiteY318" fmla="*/ 6217 h 10000"/>
                <a:gd name="connsiteX319" fmla="*/ 5765 w 10000"/>
                <a:gd name="connsiteY319" fmla="*/ 6240 h 10000"/>
                <a:gd name="connsiteX320" fmla="*/ 5721 w 10000"/>
                <a:gd name="connsiteY320" fmla="*/ 6264 h 10000"/>
                <a:gd name="connsiteX321" fmla="*/ 5634 w 10000"/>
                <a:gd name="connsiteY321" fmla="*/ 6325 h 10000"/>
                <a:gd name="connsiteX322" fmla="*/ 5558 w 10000"/>
                <a:gd name="connsiteY322" fmla="*/ 6397 h 10000"/>
                <a:gd name="connsiteX323" fmla="*/ 5420 w 10000"/>
                <a:gd name="connsiteY323" fmla="*/ 6560 h 10000"/>
                <a:gd name="connsiteX324" fmla="*/ 5289 w 10000"/>
                <a:gd name="connsiteY324" fmla="*/ 6734 h 10000"/>
                <a:gd name="connsiteX325" fmla="*/ 5220 w 10000"/>
                <a:gd name="connsiteY325" fmla="*/ 6825 h 10000"/>
                <a:gd name="connsiteX326" fmla="*/ 5151 w 10000"/>
                <a:gd name="connsiteY326" fmla="*/ 6903 h 10000"/>
                <a:gd name="connsiteX327" fmla="*/ 5075 w 10000"/>
                <a:gd name="connsiteY327" fmla="*/ 6976 h 10000"/>
                <a:gd name="connsiteX328" fmla="*/ 4994 w 10000"/>
                <a:gd name="connsiteY328" fmla="*/ 7042 h 10000"/>
                <a:gd name="connsiteX329" fmla="*/ 4944 w 10000"/>
                <a:gd name="connsiteY329" fmla="*/ 7072 h 10000"/>
                <a:gd name="connsiteX330" fmla="*/ 4893 w 10000"/>
                <a:gd name="connsiteY330" fmla="*/ 7096 h 10000"/>
                <a:gd name="connsiteX331" fmla="*/ 4849 w 10000"/>
                <a:gd name="connsiteY331" fmla="*/ 7120 h 10000"/>
                <a:gd name="connsiteX332" fmla="*/ 4793 w 10000"/>
                <a:gd name="connsiteY332" fmla="*/ 7145 h 10000"/>
                <a:gd name="connsiteX333" fmla="*/ 4730 w 10000"/>
                <a:gd name="connsiteY333" fmla="*/ 7163 h 10000"/>
                <a:gd name="connsiteX334" fmla="*/ 4674 w 10000"/>
                <a:gd name="connsiteY334" fmla="*/ 7175 h 10000"/>
                <a:gd name="connsiteX335" fmla="*/ 4605 w 10000"/>
                <a:gd name="connsiteY335" fmla="*/ 7181 h 10000"/>
                <a:gd name="connsiteX336" fmla="*/ 4536 w 10000"/>
                <a:gd name="connsiteY336" fmla="*/ 7181 h 10000"/>
                <a:gd name="connsiteX337" fmla="*/ 4536 w 10000"/>
                <a:gd name="connsiteY337" fmla="*/ 7234 h 10000"/>
                <a:gd name="connsiteX338" fmla="*/ 4536 w 10000"/>
                <a:gd name="connsiteY338" fmla="*/ 7288 h 10000"/>
                <a:gd name="connsiteX339" fmla="*/ 4536 w 10000"/>
                <a:gd name="connsiteY339" fmla="*/ 7330 h 10000"/>
                <a:gd name="connsiteX340" fmla="*/ 4536 w 10000"/>
                <a:gd name="connsiteY340" fmla="*/ 7367 h 10000"/>
                <a:gd name="connsiteX341" fmla="*/ 4536 w 10000"/>
                <a:gd name="connsiteY341" fmla="*/ 7433 h 10000"/>
                <a:gd name="connsiteX342" fmla="*/ 4536 w 10000"/>
                <a:gd name="connsiteY342" fmla="*/ 7536 h 10000"/>
                <a:gd name="connsiteX343" fmla="*/ 4536 w 10000"/>
                <a:gd name="connsiteY343" fmla="*/ 7645 h 10000"/>
                <a:gd name="connsiteX344" fmla="*/ 4548 w 10000"/>
                <a:gd name="connsiteY344" fmla="*/ 7758 h 10000"/>
                <a:gd name="connsiteX345" fmla="*/ 4561 w 10000"/>
                <a:gd name="connsiteY345" fmla="*/ 7819 h 10000"/>
                <a:gd name="connsiteX346" fmla="*/ 4573 w 10000"/>
                <a:gd name="connsiteY346" fmla="*/ 7873 h 10000"/>
                <a:gd name="connsiteX347" fmla="*/ 4586 w 10000"/>
                <a:gd name="connsiteY347" fmla="*/ 7921 h 10000"/>
                <a:gd name="connsiteX348" fmla="*/ 4611 w 10000"/>
                <a:gd name="connsiteY348" fmla="*/ 7963 h 10000"/>
                <a:gd name="connsiteX349" fmla="*/ 4636 w 10000"/>
                <a:gd name="connsiteY349" fmla="*/ 8006 h 10000"/>
                <a:gd name="connsiteX350" fmla="*/ 4668 w 10000"/>
                <a:gd name="connsiteY350" fmla="*/ 8036 h 10000"/>
                <a:gd name="connsiteX351" fmla="*/ 4705 w 10000"/>
                <a:gd name="connsiteY351" fmla="*/ 8060 h 10000"/>
                <a:gd name="connsiteX352" fmla="*/ 4749 w 10000"/>
                <a:gd name="connsiteY352" fmla="*/ 8072 h 10000"/>
                <a:gd name="connsiteX353" fmla="*/ 4711 w 10000"/>
                <a:gd name="connsiteY353" fmla="*/ 8168 h 10000"/>
                <a:gd name="connsiteX354" fmla="*/ 4668 w 10000"/>
                <a:gd name="connsiteY354" fmla="*/ 8253 h 10000"/>
                <a:gd name="connsiteX355" fmla="*/ 4617 w 10000"/>
                <a:gd name="connsiteY355" fmla="*/ 8331 h 10000"/>
                <a:gd name="connsiteX356" fmla="*/ 4573 w 10000"/>
                <a:gd name="connsiteY356" fmla="*/ 8403 h 10000"/>
                <a:gd name="connsiteX357" fmla="*/ 4523 w 10000"/>
                <a:gd name="connsiteY357" fmla="*/ 8488 h 10000"/>
                <a:gd name="connsiteX358" fmla="*/ 4492 w 10000"/>
                <a:gd name="connsiteY358" fmla="*/ 8566 h 10000"/>
                <a:gd name="connsiteX359" fmla="*/ 4473 w 10000"/>
                <a:gd name="connsiteY359" fmla="*/ 8602 h 10000"/>
                <a:gd name="connsiteX360" fmla="*/ 4467 w 10000"/>
                <a:gd name="connsiteY360" fmla="*/ 8645 h 10000"/>
                <a:gd name="connsiteX361" fmla="*/ 4460 w 10000"/>
                <a:gd name="connsiteY361" fmla="*/ 8693 h 10000"/>
                <a:gd name="connsiteX362" fmla="*/ 4454 w 10000"/>
                <a:gd name="connsiteY362" fmla="*/ 8735 h 10000"/>
                <a:gd name="connsiteX363" fmla="*/ 4460 w 10000"/>
                <a:gd name="connsiteY363" fmla="*/ 8752 h 10000"/>
                <a:gd name="connsiteX364" fmla="*/ 4467 w 10000"/>
                <a:gd name="connsiteY364" fmla="*/ 8764 h 10000"/>
                <a:gd name="connsiteX365" fmla="*/ 4479 w 10000"/>
                <a:gd name="connsiteY365" fmla="*/ 8776 h 10000"/>
                <a:gd name="connsiteX366" fmla="*/ 4504 w 10000"/>
                <a:gd name="connsiteY366" fmla="*/ 8788 h 10000"/>
                <a:gd name="connsiteX367" fmla="*/ 4542 w 10000"/>
                <a:gd name="connsiteY367" fmla="*/ 8812 h 10000"/>
                <a:gd name="connsiteX368" fmla="*/ 4580 w 10000"/>
                <a:gd name="connsiteY368" fmla="*/ 8818 h 10000"/>
                <a:gd name="connsiteX369" fmla="*/ 4580 w 10000"/>
                <a:gd name="connsiteY369" fmla="*/ 9036 h 10000"/>
                <a:gd name="connsiteX370" fmla="*/ 4529 w 10000"/>
                <a:gd name="connsiteY370" fmla="*/ 9121 h 10000"/>
                <a:gd name="connsiteX371" fmla="*/ 4492 w 10000"/>
                <a:gd name="connsiteY371" fmla="*/ 9211 h 10000"/>
                <a:gd name="connsiteX372" fmla="*/ 4460 w 10000"/>
                <a:gd name="connsiteY372" fmla="*/ 9246 h 10000"/>
                <a:gd name="connsiteX373" fmla="*/ 4429 w 10000"/>
                <a:gd name="connsiteY373" fmla="*/ 9271 h 10000"/>
                <a:gd name="connsiteX374" fmla="*/ 4404 w 10000"/>
                <a:gd name="connsiteY374" fmla="*/ 9283 h 10000"/>
                <a:gd name="connsiteX375" fmla="*/ 4385 w 10000"/>
                <a:gd name="connsiteY375" fmla="*/ 9289 h 10000"/>
                <a:gd name="connsiteX376" fmla="*/ 4360 w 10000"/>
                <a:gd name="connsiteY376" fmla="*/ 9295 h 10000"/>
                <a:gd name="connsiteX377" fmla="*/ 4329 w 10000"/>
                <a:gd name="connsiteY377" fmla="*/ 9295 h 10000"/>
                <a:gd name="connsiteX378" fmla="*/ 4329 w 10000"/>
                <a:gd name="connsiteY378" fmla="*/ 9343 h 10000"/>
                <a:gd name="connsiteX379" fmla="*/ 4335 w 10000"/>
                <a:gd name="connsiteY379" fmla="*/ 9403 h 10000"/>
                <a:gd name="connsiteX380" fmla="*/ 4348 w 10000"/>
                <a:gd name="connsiteY380" fmla="*/ 9433 h 10000"/>
                <a:gd name="connsiteX381" fmla="*/ 4354 w 10000"/>
                <a:gd name="connsiteY381" fmla="*/ 9457 h 10000"/>
                <a:gd name="connsiteX382" fmla="*/ 4360 w 10000"/>
                <a:gd name="connsiteY382" fmla="*/ 9476 h 10000"/>
                <a:gd name="connsiteX383" fmla="*/ 4373 w 10000"/>
                <a:gd name="connsiteY383" fmla="*/ 9482 h 10000"/>
                <a:gd name="connsiteX384" fmla="*/ 4210 w 10000"/>
                <a:gd name="connsiteY384" fmla="*/ 9608 h 10000"/>
                <a:gd name="connsiteX385" fmla="*/ 4072 w 10000"/>
                <a:gd name="connsiteY385" fmla="*/ 9712 h 10000"/>
                <a:gd name="connsiteX386" fmla="*/ 4009 w 10000"/>
                <a:gd name="connsiteY386" fmla="*/ 9771 h 10000"/>
                <a:gd name="connsiteX387" fmla="*/ 3952 w 10000"/>
                <a:gd name="connsiteY387" fmla="*/ 9837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3 h 10000"/>
                <a:gd name="connsiteX393" fmla="*/ 3563 w 10000"/>
                <a:gd name="connsiteY393" fmla="*/ 9825 h 10000"/>
                <a:gd name="connsiteX394" fmla="*/ 3532 w 10000"/>
                <a:gd name="connsiteY394" fmla="*/ 9765 h 10000"/>
                <a:gd name="connsiteX395" fmla="*/ 3513 w 10000"/>
                <a:gd name="connsiteY395" fmla="*/ 9706 h 10000"/>
                <a:gd name="connsiteX396" fmla="*/ 3482 w 10000"/>
                <a:gd name="connsiteY396" fmla="*/ 9632 h 10000"/>
                <a:gd name="connsiteX397" fmla="*/ 3457 w 10000"/>
                <a:gd name="connsiteY397" fmla="*/ 9560 h 10000"/>
                <a:gd name="connsiteX398" fmla="*/ 3400 w 10000"/>
                <a:gd name="connsiteY398" fmla="*/ 9421 h 10000"/>
                <a:gd name="connsiteX399" fmla="*/ 3325 w 10000"/>
                <a:gd name="connsiteY399" fmla="*/ 9289 h 10000"/>
                <a:gd name="connsiteX400" fmla="*/ 3237 w 10000"/>
                <a:gd name="connsiteY400" fmla="*/ 9151 h 10000"/>
                <a:gd name="connsiteX401" fmla="*/ 3143 w 10000"/>
                <a:gd name="connsiteY401" fmla="*/ 9006 h 10000"/>
                <a:gd name="connsiteX402" fmla="*/ 3049 w 10000"/>
                <a:gd name="connsiteY402" fmla="*/ 8873 h 10000"/>
                <a:gd name="connsiteX403" fmla="*/ 2967 w 10000"/>
                <a:gd name="connsiteY403" fmla="*/ 8741 h 10000"/>
                <a:gd name="connsiteX404" fmla="*/ 2892 w 10000"/>
                <a:gd name="connsiteY404" fmla="*/ 8621 h 10000"/>
                <a:gd name="connsiteX405" fmla="*/ 2829 w 10000"/>
                <a:gd name="connsiteY405" fmla="*/ 8518 h 10000"/>
                <a:gd name="connsiteX406" fmla="*/ 2773 w 10000"/>
                <a:gd name="connsiteY406" fmla="*/ 8403 h 10000"/>
                <a:gd name="connsiteX407" fmla="*/ 2735 w 10000"/>
                <a:gd name="connsiteY407" fmla="*/ 8301 h 10000"/>
                <a:gd name="connsiteX408" fmla="*/ 2698 w 10000"/>
                <a:gd name="connsiteY408" fmla="*/ 8193 h 10000"/>
                <a:gd name="connsiteX409" fmla="*/ 2666 w 10000"/>
                <a:gd name="connsiteY409" fmla="*/ 8084 h 10000"/>
                <a:gd name="connsiteX410" fmla="*/ 2629 w 10000"/>
                <a:gd name="connsiteY410" fmla="*/ 7975 h 10000"/>
                <a:gd name="connsiteX411" fmla="*/ 2597 w 10000"/>
                <a:gd name="connsiteY411" fmla="*/ 7867 h 10000"/>
                <a:gd name="connsiteX412" fmla="*/ 2553 w 10000"/>
                <a:gd name="connsiteY412" fmla="*/ 7746 h 10000"/>
                <a:gd name="connsiteX413" fmla="*/ 2497 w 10000"/>
                <a:gd name="connsiteY413" fmla="*/ 7627 h 10000"/>
                <a:gd name="connsiteX414" fmla="*/ 2359 w 10000"/>
                <a:gd name="connsiteY414" fmla="*/ 7433 h 10000"/>
                <a:gd name="connsiteX415" fmla="*/ 2208 w 10000"/>
                <a:gd name="connsiteY415" fmla="*/ 7252 h 10000"/>
                <a:gd name="connsiteX416" fmla="*/ 2139 w 10000"/>
                <a:gd name="connsiteY416" fmla="*/ 7169 h 10000"/>
                <a:gd name="connsiteX417" fmla="*/ 2070 w 10000"/>
                <a:gd name="connsiteY417" fmla="*/ 7072 h 10000"/>
                <a:gd name="connsiteX418" fmla="*/ 2008 w 10000"/>
                <a:gd name="connsiteY418" fmla="*/ 6982 h 10000"/>
                <a:gd name="connsiteX419" fmla="*/ 1957 w 10000"/>
                <a:gd name="connsiteY419" fmla="*/ 6885 h 10000"/>
                <a:gd name="connsiteX420" fmla="*/ 1888 w 10000"/>
                <a:gd name="connsiteY420" fmla="*/ 6650 h 10000"/>
                <a:gd name="connsiteX421" fmla="*/ 1832 w 10000"/>
                <a:gd name="connsiteY421" fmla="*/ 6433 h 10000"/>
                <a:gd name="connsiteX422" fmla="*/ 1782 w 10000"/>
                <a:gd name="connsiteY422" fmla="*/ 6223 h 10000"/>
                <a:gd name="connsiteX423" fmla="*/ 1757 w 10000"/>
                <a:gd name="connsiteY423" fmla="*/ 6011 h 10000"/>
                <a:gd name="connsiteX424" fmla="*/ 1725 w 10000"/>
                <a:gd name="connsiteY424" fmla="*/ 5806 h 10000"/>
                <a:gd name="connsiteX425" fmla="*/ 1713 w 10000"/>
                <a:gd name="connsiteY425" fmla="*/ 5590 h 10000"/>
                <a:gd name="connsiteX426" fmla="*/ 1706 w 10000"/>
                <a:gd name="connsiteY426" fmla="*/ 5367 h 10000"/>
                <a:gd name="connsiteX427" fmla="*/ 1706 w 10000"/>
                <a:gd name="connsiteY427" fmla="*/ 5144 h 10000"/>
                <a:gd name="connsiteX428" fmla="*/ 1681 w 10000"/>
                <a:gd name="connsiteY428" fmla="*/ 5138 h 10000"/>
                <a:gd name="connsiteX429" fmla="*/ 1650 w 10000"/>
                <a:gd name="connsiteY429" fmla="*/ 5132 h 10000"/>
                <a:gd name="connsiteX430" fmla="*/ 1625 w 10000"/>
                <a:gd name="connsiteY430" fmla="*/ 5126 h 10000"/>
                <a:gd name="connsiteX431" fmla="*/ 1606 w 10000"/>
                <a:gd name="connsiteY431" fmla="*/ 5102 h 10000"/>
                <a:gd name="connsiteX432" fmla="*/ 1581 w 10000"/>
                <a:gd name="connsiteY432" fmla="*/ 5090 h 10000"/>
                <a:gd name="connsiteX433" fmla="*/ 1568 w 10000"/>
                <a:gd name="connsiteY433" fmla="*/ 5072 h 10000"/>
                <a:gd name="connsiteX434" fmla="*/ 1550 w 10000"/>
                <a:gd name="connsiteY434" fmla="*/ 5048 h 10000"/>
                <a:gd name="connsiteX435" fmla="*/ 1543 w 10000"/>
                <a:gd name="connsiteY435" fmla="*/ 5024 h 10000"/>
                <a:gd name="connsiteX436" fmla="*/ 1518 w 10000"/>
                <a:gd name="connsiteY436" fmla="*/ 4975 h 10000"/>
                <a:gd name="connsiteX437" fmla="*/ 1506 w 10000"/>
                <a:gd name="connsiteY437" fmla="*/ 4921 h 10000"/>
                <a:gd name="connsiteX438" fmla="*/ 1499 w 10000"/>
                <a:gd name="connsiteY438" fmla="*/ 4861 h 10000"/>
                <a:gd name="connsiteX439" fmla="*/ 1499 w 10000"/>
                <a:gd name="connsiteY439" fmla="*/ 4807 h 10000"/>
                <a:gd name="connsiteX440" fmla="*/ 1443 w 10000"/>
                <a:gd name="connsiteY440" fmla="*/ 4843 h 10000"/>
                <a:gd name="connsiteX441" fmla="*/ 1405 w 10000"/>
                <a:gd name="connsiteY441" fmla="*/ 4885 h 10000"/>
                <a:gd name="connsiteX442" fmla="*/ 1361 w 10000"/>
                <a:gd name="connsiteY442" fmla="*/ 4927 h 10000"/>
                <a:gd name="connsiteX443" fmla="*/ 1317 w 10000"/>
                <a:gd name="connsiteY443" fmla="*/ 4975 h 10000"/>
                <a:gd name="connsiteX444" fmla="*/ 1261 w 10000"/>
                <a:gd name="connsiteY444" fmla="*/ 5072 h 10000"/>
                <a:gd name="connsiteX445" fmla="*/ 1205 w 10000"/>
                <a:gd name="connsiteY445" fmla="*/ 5174 h 10000"/>
                <a:gd name="connsiteX446" fmla="*/ 1167 w 10000"/>
                <a:gd name="connsiteY446" fmla="*/ 5217 h 10000"/>
                <a:gd name="connsiteX447" fmla="*/ 1142 w 10000"/>
                <a:gd name="connsiteY447" fmla="*/ 5258 h 10000"/>
                <a:gd name="connsiteX448" fmla="*/ 1104 w 10000"/>
                <a:gd name="connsiteY448" fmla="*/ 5300 h 10000"/>
                <a:gd name="connsiteX449" fmla="*/ 1073 w 10000"/>
                <a:gd name="connsiteY449" fmla="*/ 5330 h 10000"/>
                <a:gd name="connsiteX450" fmla="*/ 1029 w 10000"/>
                <a:gd name="connsiteY450" fmla="*/ 5361 h 10000"/>
                <a:gd name="connsiteX451" fmla="*/ 985 w 10000"/>
                <a:gd name="connsiteY451" fmla="*/ 5379 h 10000"/>
                <a:gd name="connsiteX452" fmla="*/ 928 w 10000"/>
                <a:gd name="connsiteY452" fmla="*/ 5391 h 10000"/>
                <a:gd name="connsiteX453" fmla="*/ 872 w 10000"/>
                <a:gd name="connsiteY453" fmla="*/ 5397 h 10000"/>
                <a:gd name="connsiteX454" fmla="*/ 841 w 10000"/>
                <a:gd name="connsiteY454" fmla="*/ 5391 h 10000"/>
                <a:gd name="connsiteX455" fmla="*/ 797 w 10000"/>
                <a:gd name="connsiteY455" fmla="*/ 5379 h 10000"/>
                <a:gd name="connsiteX456" fmla="*/ 753 w 10000"/>
                <a:gd name="connsiteY456" fmla="*/ 5361 h 10000"/>
                <a:gd name="connsiteX457" fmla="*/ 709 w 10000"/>
                <a:gd name="connsiteY457" fmla="*/ 5330 h 10000"/>
                <a:gd name="connsiteX458" fmla="*/ 659 w 10000"/>
                <a:gd name="connsiteY458" fmla="*/ 5294 h 10000"/>
                <a:gd name="connsiteX459" fmla="*/ 609 w 10000"/>
                <a:gd name="connsiteY459" fmla="*/ 5258 h 10000"/>
                <a:gd name="connsiteX460" fmla="*/ 565 w 10000"/>
                <a:gd name="connsiteY460" fmla="*/ 5217 h 10000"/>
                <a:gd name="connsiteX461" fmla="*/ 514 w 10000"/>
                <a:gd name="connsiteY461" fmla="*/ 5168 h 10000"/>
                <a:gd name="connsiteX462" fmla="*/ 471 w 10000"/>
                <a:gd name="connsiteY462" fmla="*/ 5120 h 10000"/>
                <a:gd name="connsiteX463" fmla="*/ 433 w 10000"/>
                <a:gd name="connsiteY463" fmla="*/ 5066 h 10000"/>
                <a:gd name="connsiteX464" fmla="*/ 389 w 10000"/>
                <a:gd name="connsiteY464" fmla="*/ 5012 h 10000"/>
                <a:gd name="connsiteX465" fmla="*/ 358 w 10000"/>
                <a:gd name="connsiteY465" fmla="*/ 4957 h 10000"/>
                <a:gd name="connsiteX466" fmla="*/ 326 w 10000"/>
                <a:gd name="connsiteY466" fmla="*/ 4909 h 10000"/>
                <a:gd name="connsiteX467" fmla="*/ 307 w 10000"/>
                <a:gd name="connsiteY467" fmla="*/ 4861 h 10000"/>
                <a:gd name="connsiteX468" fmla="*/ 295 w 10000"/>
                <a:gd name="connsiteY468" fmla="*/ 4813 h 10000"/>
                <a:gd name="connsiteX469" fmla="*/ 289 w 10000"/>
                <a:gd name="connsiteY469" fmla="*/ 4764 h 10000"/>
                <a:gd name="connsiteX470" fmla="*/ 320 w 10000"/>
                <a:gd name="connsiteY470" fmla="*/ 4746 h 10000"/>
                <a:gd name="connsiteX471" fmla="*/ 395 w 10000"/>
                <a:gd name="connsiteY471" fmla="*/ 4711 h 10000"/>
                <a:gd name="connsiteX472" fmla="*/ 483 w 10000"/>
                <a:gd name="connsiteY472" fmla="*/ 4675 h 10000"/>
                <a:gd name="connsiteX473" fmla="*/ 533 w 10000"/>
                <a:gd name="connsiteY473" fmla="*/ 4657 h 10000"/>
                <a:gd name="connsiteX474" fmla="*/ 483 w 10000"/>
                <a:gd name="connsiteY474" fmla="*/ 4657 h 10000"/>
                <a:gd name="connsiteX475" fmla="*/ 420 w 10000"/>
                <a:gd name="connsiteY475" fmla="*/ 4651 h 10000"/>
                <a:gd name="connsiteX476" fmla="*/ 370 w 10000"/>
                <a:gd name="connsiteY476" fmla="*/ 4639 h 10000"/>
                <a:gd name="connsiteX477" fmla="*/ 320 w 10000"/>
                <a:gd name="connsiteY477" fmla="*/ 4633 h 10000"/>
                <a:gd name="connsiteX478" fmla="*/ 276 w 10000"/>
                <a:gd name="connsiteY478" fmla="*/ 4614 h 10000"/>
                <a:gd name="connsiteX479" fmla="*/ 232 w 10000"/>
                <a:gd name="connsiteY479" fmla="*/ 4602 h 10000"/>
                <a:gd name="connsiteX480" fmla="*/ 188 w 10000"/>
                <a:gd name="connsiteY480" fmla="*/ 4584 h 10000"/>
                <a:gd name="connsiteX481" fmla="*/ 157 w 10000"/>
                <a:gd name="connsiteY481" fmla="*/ 4559 h 10000"/>
                <a:gd name="connsiteX482" fmla="*/ 132 w 10000"/>
                <a:gd name="connsiteY482" fmla="*/ 4535 h 10000"/>
                <a:gd name="connsiteX483" fmla="*/ 100 w 10000"/>
                <a:gd name="connsiteY483" fmla="*/ 4511 h 10000"/>
                <a:gd name="connsiteX484" fmla="*/ 75 w 10000"/>
                <a:gd name="connsiteY484" fmla="*/ 4481 h 10000"/>
                <a:gd name="connsiteX485" fmla="*/ 50 w 10000"/>
                <a:gd name="connsiteY485" fmla="*/ 4457 h 10000"/>
                <a:gd name="connsiteX486" fmla="*/ 19 w 10000"/>
                <a:gd name="connsiteY486" fmla="*/ 4385 h 10000"/>
                <a:gd name="connsiteX487" fmla="*/ 0 w 10000"/>
                <a:gd name="connsiteY487" fmla="*/ 4318 h 10000"/>
                <a:gd name="connsiteX488" fmla="*/ 63 w 10000"/>
                <a:gd name="connsiteY488" fmla="*/ 4270 h 10000"/>
                <a:gd name="connsiteX489" fmla="*/ 132 w 10000"/>
                <a:gd name="connsiteY489" fmla="*/ 4234 h 10000"/>
                <a:gd name="connsiteX490" fmla="*/ 201 w 10000"/>
                <a:gd name="connsiteY490" fmla="*/ 4205 h 10000"/>
                <a:gd name="connsiteX491" fmla="*/ 276 w 10000"/>
                <a:gd name="connsiteY491" fmla="*/ 4181 h 10000"/>
                <a:gd name="connsiteX492" fmla="*/ 420 w 10000"/>
                <a:gd name="connsiteY492" fmla="*/ 4151 h 10000"/>
                <a:gd name="connsiteX493" fmla="*/ 565 w 10000"/>
                <a:gd name="connsiteY493" fmla="*/ 4126 h 10000"/>
                <a:gd name="connsiteX494" fmla="*/ 640 w 10000"/>
                <a:gd name="connsiteY494" fmla="*/ 4114 h 10000"/>
                <a:gd name="connsiteX495" fmla="*/ 709 w 10000"/>
                <a:gd name="connsiteY495" fmla="*/ 4090 h 10000"/>
                <a:gd name="connsiteX496" fmla="*/ 772 w 10000"/>
                <a:gd name="connsiteY496" fmla="*/ 4072 h 10000"/>
                <a:gd name="connsiteX497" fmla="*/ 834 w 10000"/>
                <a:gd name="connsiteY497" fmla="*/ 4042 h 10000"/>
                <a:gd name="connsiteX498" fmla="*/ 891 w 10000"/>
                <a:gd name="connsiteY498" fmla="*/ 4012 h 10000"/>
                <a:gd name="connsiteX499" fmla="*/ 947 w 10000"/>
                <a:gd name="connsiteY499" fmla="*/ 3964 h 10000"/>
                <a:gd name="connsiteX500" fmla="*/ 997 w 10000"/>
                <a:gd name="connsiteY500" fmla="*/ 3909 h 10000"/>
                <a:gd name="connsiteX501" fmla="*/ 1035 w 10000"/>
                <a:gd name="connsiteY501" fmla="*/ 3842 h 10000"/>
                <a:gd name="connsiteX502" fmla="*/ 1010 w 10000"/>
                <a:gd name="connsiteY502" fmla="*/ 3830 h 10000"/>
                <a:gd name="connsiteX503" fmla="*/ 985 w 10000"/>
                <a:gd name="connsiteY503" fmla="*/ 3812 h 10000"/>
                <a:gd name="connsiteX504" fmla="*/ 947 w 10000"/>
                <a:gd name="connsiteY504" fmla="*/ 3788 h 10000"/>
                <a:gd name="connsiteX505" fmla="*/ 910 w 10000"/>
                <a:gd name="connsiteY505" fmla="*/ 3752 h 10000"/>
                <a:gd name="connsiteX506" fmla="*/ 822 w 10000"/>
                <a:gd name="connsiteY506" fmla="*/ 3680 h 10000"/>
                <a:gd name="connsiteX507" fmla="*/ 740 w 10000"/>
                <a:gd name="connsiteY507" fmla="*/ 3596 h 10000"/>
                <a:gd name="connsiteX508" fmla="*/ 665 w 10000"/>
                <a:gd name="connsiteY508" fmla="*/ 3505 h 10000"/>
                <a:gd name="connsiteX509" fmla="*/ 596 w 10000"/>
                <a:gd name="connsiteY509" fmla="*/ 3409 h 10000"/>
                <a:gd name="connsiteX510" fmla="*/ 577 w 10000"/>
                <a:gd name="connsiteY510" fmla="*/ 3367 h 10000"/>
                <a:gd name="connsiteX511" fmla="*/ 558 w 10000"/>
                <a:gd name="connsiteY511" fmla="*/ 3325 h 10000"/>
                <a:gd name="connsiteX512" fmla="*/ 540 w 10000"/>
                <a:gd name="connsiteY512" fmla="*/ 3282 h 10000"/>
                <a:gd name="connsiteX513" fmla="*/ 533 w 10000"/>
                <a:gd name="connsiteY513" fmla="*/ 3246 h 10000"/>
                <a:gd name="connsiteX514" fmla="*/ 508 w 10000"/>
                <a:gd name="connsiteY514" fmla="*/ 3240 h 10000"/>
                <a:gd name="connsiteX515" fmla="*/ 483 w 10000"/>
                <a:gd name="connsiteY515" fmla="*/ 3234 h 10000"/>
                <a:gd name="connsiteX516" fmla="*/ 458 w 10000"/>
                <a:gd name="connsiteY516" fmla="*/ 3222 h 10000"/>
                <a:gd name="connsiteX517" fmla="*/ 439 w 10000"/>
                <a:gd name="connsiteY517" fmla="*/ 3199 h 10000"/>
                <a:gd name="connsiteX518" fmla="*/ 402 w 10000"/>
                <a:gd name="connsiteY518" fmla="*/ 3156 h 10000"/>
                <a:gd name="connsiteX519" fmla="*/ 370 w 10000"/>
                <a:gd name="connsiteY519" fmla="*/ 3096 h 10000"/>
                <a:gd name="connsiteX520" fmla="*/ 370 w 10000"/>
                <a:gd name="connsiteY520" fmla="*/ 2951 h 10000"/>
                <a:gd name="connsiteX521" fmla="*/ 458 w 10000"/>
                <a:gd name="connsiteY521" fmla="*/ 2945 h 10000"/>
                <a:gd name="connsiteX522" fmla="*/ 540 w 10000"/>
                <a:gd name="connsiteY522" fmla="*/ 2939 h 10000"/>
                <a:gd name="connsiteX523" fmla="*/ 615 w 10000"/>
                <a:gd name="connsiteY523" fmla="*/ 2927 h 10000"/>
                <a:gd name="connsiteX524" fmla="*/ 684 w 10000"/>
                <a:gd name="connsiteY524" fmla="*/ 2903 h 10000"/>
                <a:gd name="connsiteX525" fmla="*/ 747 w 10000"/>
                <a:gd name="connsiteY525" fmla="*/ 2885 h 10000"/>
                <a:gd name="connsiteX526" fmla="*/ 809 w 10000"/>
                <a:gd name="connsiteY526" fmla="*/ 2854 h 10000"/>
                <a:gd name="connsiteX527" fmla="*/ 866 w 10000"/>
                <a:gd name="connsiteY527" fmla="*/ 2824 h 10000"/>
                <a:gd name="connsiteX528" fmla="*/ 922 w 10000"/>
                <a:gd name="connsiteY528" fmla="*/ 2788 h 10000"/>
                <a:gd name="connsiteX529" fmla="*/ 966 w 10000"/>
                <a:gd name="connsiteY529" fmla="*/ 2746 h 10000"/>
                <a:gd name="connsiteX530" fmla="*/ 1016 w 10000"/>
                <a:gd name="connsiteY530" fmla="*/ 2705 h 10000"/>
                <a:gd name="connsiteX531" fmla="*/ 1060 w 10000"/>
                <a:gd name="connsiteY531" fmla="*/ 2663 h 10000"/>
                <a:gd name="connsiteX532" fmla="*/ 1098 w 10000"/>
                <a:gd name="connsiteY532" fmla="*/ 2614 h 10000"/>
                <a:gd name="connsiteX533" fmla="*/ 1167 w 10000"/>
                <a:gd name="connsiteY533" fmla="*/ 2518 h 10000"/>
                <a:gd name="connsiteX534" fmla="*/ 1236 w 10000"/>
                <a:gd name="connsiteY534" fmla="*/ 2408 h 10000"/>
                <a:gd name="connsiteX535" fmla="*/ 1355 w 10000"/>
                <a:gd name="connsiteY535" fmla="*/ 2192 h 10000"/>
                <a:gd name="connsiteX536" fmla="*/ 1474 w 10000"/>
                <a:gd name="connsiteY536" fmla="*/ 1975 h 10000"/>
                <a:gd name="connsiteX537" fmla="*/ 1543 w 10000"/>
                <a:gd name="connsiteY537" fmla="*/ 1879 h 10000"/>
                <a:gd name="connsiteX538" fmla="*/ 1612 w 10000"/>
                <a:gd name="connsiteY538" fmla="*/ 1794 h 10000"/>
                <a:gd name="connsiteX539" fmla="*/ 1650 w 10000"/>
                <a:gd name="connsiteY539" fmla="*/ 1745 h 10000"/>
                <a:gd name="connsiteX540" fmla="*/ 1694 w 10000"/>
                <a:gd name="connsiteY540" fmla="*/ 1709 h 10000"/>
                <a:gd name="connsiteX541" fmla="*/ 1738 w 10000"/>
                <a:gd name="connsiteY541" fmla="*/ 1680 h 10000"/>
                <a:gd name="connsiteX542" fmla="*/ 1788 w 10000"/>
                <a:gd name="connsiteY542" fmla="*/ 1650 h 10000"/>
                <a:gd name="connsiteX543" fmla="*/ 1750 w 10000"/>
                <a:gd name="connsiteY543" fmla="*/ 1577 h 10000"/>
                <a:gd name="connsiteX544" fmla="*/ 1719 w 10000"/>
                <a:gd name="connsiteY544" fmla="*/ 1511 h 10000"/>
                <a:gd name="connsiteX545" fmla="*/ 1713 w 10000"/>
                <a:gd name="connsiteY545" fmla="*/ 1481 h 10000"/>
                <a:gd name="connsiteX546" fmla="*/ 1706 w 10000"/>
                <a:gd name="connsiteY546" fmla="*/ 1451 h 10000"/>
                <a:gd name="connsiteX547" fmla="*/ 1706 w 10000"/>
                <a:gd name="connsiteY547" fmla="*/ 1415 h 10000"/>
                <a:gd name="connsiteX548" fmla="*/ 1706 w 10000"/>
                <a:gd name="connsiteY548" fmla="*/ 1385 h 10000"/>
                <a:gd name="connsiteX549" fmla="*/ 1713 w 10000"/>
                <a:gd name="connsiteY549" fmla="*/ 1354 h 10000"/>
                <a:gd name="connsiteX550" fmla="*/ 1719 w 10000"/>
                <a:gd name="connsiteY550" fmla="*/ 1324 h 10000"/>
                <a:gd name="connsiteX551" fmla="*/ 1731 w 10000"/>
                <a:gd name="connsiteY551" fmla="*/ 1300 h 10000"/>
                <a:gd name="connsiteX552" fmla="*/ 1757 w 10000"/>
                <a:gd name="connsiteY552" fmla="*/ 1276 h 10000"/>
                <a:gd name="connsiteX553" fmla="*/ 1775 w 10000"/>
                <a:gd name="connsiteY553" fmla="*/ 1258 h 10000"/>
                <a:gd name="connsiteX554" fmla="*/ 1801 w 10000"/>
                <a:gd name="connsiteY554" fmla="*/ 1240 h 10000"/>
                <a:gd name="connsiteX555" fmla="*/ 1838 w 10000"/>
                <a:gd name="connsiteY555" fmla="*/ 1222 h 10000"/>
                <a:gd name="connsiteX556" fmla="*/ 1870 w 10000"/>
                <a:gd name="connsiteY556" fmla="*/ 1204 h 10000"/>
                <a:gd name="connsiteX557" fmla="*/ 1688 w 10000"/>
                <a:gd name="connsiteY557" fmla="*/ 1042 h 10000"/>
                <a:gd name="connsiteX558" fmla="*/ 1550 w 10000"/>
                <a:gd name="connsiteY558" fmla="*/ 920 h 10000"/>
                <a:gd name="connsiteX559" fmla="*/ 1487 w 10000"/>
                <a:gd name="connsiteY559" fmla="*/ 860 h 10000"/>
                <a:gd name="connsiteX560" fmla="*/ 1424 w 10000"/>
                <a:gd name="connsiteY560" fmla="*/ 794 h 10000"/>
                <a:gd name="connsiteX561" fmla="*/ 1361 w 10000"/>
                <a:gd name="connsiteY561" fmla="*/ 709 h 10000"/>
                <a:gd name="connsiteX562" fmla="*/ 1286 w 10000"/>
                <a:gd name="connsiteY562" fmla="*/ 608 h 10000"/>
                <a:gd name="connsiteX563" fmla="*/ 1286 w 10000"/>
                <a:gd name="connsiteY563" fmla="*/ 349 h 10000"/>
                <a:gd name="connsiteX564" fmla="*/ 1437 w 10000"/>
                <a:gd name="connsiteY564" fmla="*/ 349 h 10000"/>
                <a:gd name="connsiteX565" fmla="*/ 1606 w 10000"/>
                <a:gd name="connsiteY565" fmla="*/ 337 h 10000"/>
                <a:gd name="connsiteX566" fmla="*/ 1694 w 10000"/>
                <a:gd name="connsiteY566" fmla="*/ 331 h 10000"/>
                <a:gd name="connsiteX567" fmla="*/ 1775 w 10000"/>
                <a:gd name="connsiteY567" fmla="*/ 318 h 10000"/>
                <a:gd name="connsiteX568" fmla="*/ 1863 w 10000"/>
                <a:gd name="connsiteY568" fmla="*/ 299 h 10000"/>
                <a:gd name="connsiteX569" fmla="*/ 1945 w 10000"/>
                <a:gd name="connsiteY569" fmla="*/ 281 h 10000"/>
                <a:gd name="connsiteX570" fmla="*/ 2020 w 10000"/>
                <a:gd name="connsiteY570" fmla="*/ 263 h 10000"/>
                <a:gd name="connsiteX571" fmla="*/ 2102 w 10000"/>
                <a:gd name="connsiteY571" fmla="*/ 233 h 10000"/>
                <a:gd name="connsiteX572" fmla="*/ 2177 w 10000"/>
                <a:gd name="connsiteY572" fmla="*/ 203 h 10000"/>
                <a:gd name="connsiteX573" fmla="*/ 2240 w 10000"/>
                <a:gd name="connsiteY573" fmla="*/ 162 h 10000"/>
                <a:gd name="connsiteX574" fmla="*/ 2296 w 10000"/>
                <a:gd name="connsiteY574" fmla="*/ 120 h 10000"/>
                <a:gd name="connsiteX575" fmla="*/ 2587 w 10000"/>
                <a:gd name="connsiteY575" fmla="*/ 38 h 10000"/>
                <a:gd name="connsiteX576" fmla="*/ 2631 w 10000"/>
                <a:gd name="connsiteY576" fmla="*/ 32 h 10000"/>
                <a:gd name="connsiteX577" fmla="*/ 2415 w 10000"/>
                <a:gd name="connsiteY577"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3121 w 10000"/>
                <a:gd name="connsiteY6" fmla="*/ 204 h 10000"/>
                <a:gd name="connsiteX7" fmla="*/ 3120 w 10000"/>
                <a:gd name="connsiteY7" fmla="*/ 345 h 10000"/>
                <a:gd name="connsiteX8" fmla="*/ 3152 w 10000"/>
                <a:gd name="connsiteY8" fmla="*/ 463 h 10000"/>
                <a:gd name="connsiteX9" fmla="*/ 3093 w 10000"/>
                <a:gd name="connsiteY9" fmla="*/ 493 h 10000"/>
                <a:gd name="connsiteX10" fmla="*/ 2992 w 10000"/>
                <a:gd name="connsiteY10" fmla="*/ 584 h 10000"/>
                <a:gd name="connsiteX11" fmla="*/ 3043 w 10000"/>
                <a:gd name="connsiteY11" fmla="*/ 608 h 10000"/>
                <a:gd name="connsiteX12" fmla="*/ 3087 w 10000"/>
                <a:gd name="connsiteY12" fmla="*/ 650 h 10000"/>
                <a:gd name="connsiteX13" fmla="*/ 3130 w 10000"/>
                <a:gd name="connsiteY13" fmla="*/ 697 h 10000"/>
                <a:gd name="connsiteX14" fmla="*/ 3174 w 10000"/>
                <a:gd name="connsiteY14" fmla="*/ 746 h 10000"/>
                <a:gd name="connsiteX15" fmla="*/ 3212 w 10000"/>
                <a:gd name="connsiteY15" fmla="*/ 806 h 10000"/>
                <a:gd name="connsiteX16" fmla="*/ 3256 w 10000"/>
                <a:gd name="connsiteY16" fmla="*/ 860 h 10000"/>
                <a:gd name="connsiteX17" fmla="*/ 3281 w 10000"/>
                <a:gd name="connsiteY17" fmla="*/ 920 h 10000"/>
                <a:gd name="connsiteX18" fmla="*/ 3312 w 10000"/>
                <a:gd name="connsiteY18" fmla="*/ 987 h 10000"/>
                <a:gd name="connsiteX19" fmla="*/ 3331 w 10000"/>
                <a:gd name="connsiteY19" fmla="*/ 1054 h 10000"/>
                <a:gd name="connsiteX20" fmla="*/ 3043 w 10000"/>
                <a:gd name="connsiteY20" fmla="*/ 1054 h 10000"/>
                <a:gd name="connsiteX21" fmla="*/ 3043 w 10000"/>
                <a:gd name="connsiteY21" fmla="*/ 1240 h 10000"/>
                <a:gd name="connsiteX22" fmla="*/ 3074 w 10000"/>
                <a:gd name="connsiteY22" fmla="*/ 1318 h 10000"/>
                <a:gd name="connsiteX23" fmla="*/ 3118 w 10000"/>
                <a:gd name="connsiteY23" fmla="*/ 1385 h 10000"/>
                <a:gd name="connsiteX24" fmla="*/ 3168 w 10000"/>
                <a:gd name="connsiteY24" fmla="*/ 1445 h 10000"/>
                <a:gd name="connsiteX25" fmla="*/ 3225 w 10000"/>
                <a:gd name="connsiteY25" fmla="*/ 1487 h 10000"/>
                <a:gd name="connsiteX26" fmla="*/ 3281 w 10000"/>
                <a:gd name="connsiteY26" fmla="*/ 1529 h 10000"/>
                <a:gd name="connsiteX27" fmla="*/ 3350 w 10000"/>
                <a:gd name="connsiteY27" fmla="*/ 1559 h 10000"/>
                <a:gd name="connsiteX28" fmla="*/ 3413 w 10000"/>
                <a:gd name="connsiteY28" fmla="*/ 1589 h 10000"/>
                <a:gd name="connsiteX29" fmla="*/ 3488 w 10000"/>
                <a:gd name="connsiteY29" fmla="*/ 1614 h 10000"/>
                <a:gd name="connsiteX30" fmla="*/ 3626 w 10000"/>
                <a:gd name="connsiteY30" fmla="*/ 1668 h 10000"/>
                <a:gd name="connsiteX31" fmla="*/ 3764 w 10000"/>
                <a:gd name="connsiteY31" fmla="*/ 1721 h 10000"/>
                <a:gd name="connsiteX32" fmla="*/ 3827 w 10000"/>
                <a:gd name="connsiteY32" fmla="*/ 1758 h 10000"/>
                <a:gd name="connsiteX33" fmla="*/ 3890 w 10000"/>
                <a:gd name="connsiteY33" fmla="*/ 1806 h 10000"/>
                <a:gd name="connsiteX34" fmla="*/ 3946 w 10000"/>
                <a:gd name="connsiteY34" fmla="*/ 1855 h 10000"/>
                <a:gd name="connsiteX35" fmla="*/ 4003 w 10000"/>
                <a:gd name="connsiteY35" fmla="*/ 1909 h 10000"/>
                <a:gd name="connsiteX36" fmla="*/ 3959 w 10000"/>
                <a:gd name="connsiteY36" fmla="*/ 2470 h 10000"/>
                <a:gd name="connsiteX37" fmla="*/ 4034 w 10000"/>
                <a:gd name="connsiteY37" fmla="*/ 2524 h 10000"/>
                <a:gd name="connsiteX38" fmla="*/ 4141 w 10000"/>
                <a:gd name="connsiteY38" fmla="*/ 2590 h 10000"/>
                <a:gd name="connsiteX39" fmla="*/ 4260 w 10000"/>
                <a:gd name="connsiteY39" fmla="*/ 2650 h 10000"/>
                <a:gd name="connsiteX40" fmla="*/ 4398 w 10000"/>
                <a:gd name="connsiteY40" fmla="*/ 2705 h 10000"/>
                <a:gd name="connsiteX41" fmla="*/ 4536 w 10000"/>
                <a:gd name="connsiteY41" fmla="*/ 2758 h 10000"/>
                <a:gd name="connsiteX42" fmla="*/ 4668 w 10000"/>
                <a:gd name="connsiteY42" fmla="*/ 2800 h 10000"/>
                <a:gd name="connsiteX43" fmla="*/ 4724 w 10000"/>
                <a:gd name="connsiteY43" fmla="*/ 2818 h 10000"/>
                <a:gd name="connsiteX44" fmla="*/ 4780 w 10000"/>
                <a:gd name="connsiteY44" fmla="*/ 2830 h 10000"/>
                <a:gd name="connsiteX45" fmla="*/ 4831 w 10000"/>
                <a:gd name="connsiteY45" fmla="*/ 2836 h 10000"/>
                <a:gd name="connsiteX46" fmla="*/ 4875 w 10000"/>
                <a:gd name="connsiteY46" fmla="*/ 2836 h 10000"/>
                <a:gd name="connsiteX47" fmla="*/ 4887 w 10000"/>
                <a:gd name="connsiteY47" fmla="*/ 2879 h 10000"/>
                <a:gd name="connsiteX48" fmla="*/ 4918 w 10000"/>
                <a:gd name="connsiteY48" fmla="*/ 2915 h 10000"/>
                <a:gd name="connsiteX49" fmla="*/ 4950 w 10000"/>
                <a:gd name="connsiteY49" fmla="*/ 2933 h 10000"/>
                <a:gd name="connsiteX50" fmla="*/ 4987 w 10000"/>
                <a:gd name="connsiteY50" fmla="*/ 2945 h 10000"/>
                <a:gd name="connsiteX51" fmla="*/ 5019 w 10000"/>
                <a:gd name="connsiteY51" fmla="*/ 2957 h 10000"/>
                <a:gd name="connsiteX52" fmla="*/ 5063 w 10000"/>
                <a:gd name="connsiteY52" fmla="*/ 2957 h 10000"/>
                <a:gd name="connsiteX53" fmla="*/ 5107 w 10000"/>
                <a:gd name="connsiteY53" fmla="*/ 2951 h 10000"/>
                <a:gd name="connsiteX54" fmla="*/ 5157 w 10000"/>
                <a:gd name="connsiteY54" fmla="*/ 2945 h 10000"/>
                <a:gd name="connsiteX55" fmla="*/ 5245 w 10000"/>
                <a:gd name="connsiteY55" fmla="*/ 2927 h 10000"/>
                <a:gd name="connsiteX56" fmla="*/ 5345 w 10000"/>
                <a:gd name="connsiteY56" fmla="*/ 2903 h 10000"/>
                <a:gd name="connsiteX57" fmla="*/ 5383 w 10000"/>
                <a:gd name="connsiteY57" fmla="*/ 2903 h 10000"/>
                <a:gd name="connsiteX58" fmla="*/ 5427 w 10000"/>
                <a:gd name="connsiteY58" fmla="*/ 2897 h 10000"/>
                <a:gd name="connsiteX59" fmla="*/ 5464 w 10000"/>
                <a:gd name="connsiteY59" fmla="*/ 2903 h 10000"/>
                <a:gd name="connsiteX60" fmla="*/ 5502 w 10000"/>
                <a:gd name="connsiteY60" fmla="*/ 2909 h 10000"/>
                <a:gd name="connsiteX61" fmla="*/ 5558 w 10000"/>
                <a:gd name="connsiteY61" fmla="*/ 2945 h 10000"/>
                <a:gd name="connsiteX62" fmla="*/ 5596 w 10000"/>
                <a:gd name="connsiteY62" fmla="*/ 2975 h 10000"/>
                <a:gd name="connsiteX63" fmla="*/ 5634 w 10000"/>
                <a:gd name="connsiteY63" fmla="*/ 3017 h 10000"/>
                <a:gd name="connsiteX64" fmla="*/ 5665 w 10000"/>
                <a:gd name="connsiteY64" fmla="*/ 3053 h 10000"/>
                <a:gd name="connsiteX65" fmla="*/ 5696 w 10000"/>
                <a:gd name="connsiteY65" fmla="*/ 3090 h 10000"/>
                <a:gd name="connsiteX66" fmla="*/ 5734 w 10000"/>
                <a:gd name="connsiteY66" fmla="*/ 3126 h 10000"/>
                <a:gd name="connsiteX67" fmla="*/ 5759 w 10000"/>
                <a:gd name="connsiteY67" fmla="*/ 3144 h 10000"/>
                <a:gd name="connsiteX68" fmla="*/ 5778 w 10000"/>
                <a:gd name="connsiteY68" fmla="*/ 3156 h 10000"/>
                <a:gd name="connsiteX69" fmla="*/ 5803 w 10000"/>
                <a:gd name="connsiteY69" fmla="*/ 3168 h 10000"/>
                <a:gd name="connsiteX70" fmla="*/ 5834 w 10000"/>
                <a:gd name="connsiteY70" fmla="*/ 3174 h 10000"/>
                <a:gd name="connsiteX71" fmla="*/ 5935 w 10000"/>
                <a:gd name="connsiteY71" fmla="*/ 3193 h 10000"/>
                <a:gd name="connsiteX72" fmla="*/ 6073 w 10000"/>
                <a:gd name="connsiteY72" fmla="*/ 3228 h 10000"/>
                <a:gd name="connsiteX73" fmla="*/ 6230 w 10000"/>
                <a:gd name="connsiteY73" fmla="*/ 3264 h 10000"/>
                <a:gd name="connsiteX74" fmla="*/ 6405 w 10000"/>
                <a:gd name="connsiteY74" fmla="*/ 3307 h 10000"/>
                <a:gd name="connsiteX75" fmla="*/ 6568 w 10000"/>
                <a:gd name="connsiteY75" fmla="*/ 3337 h 10000"/>
                <a:gd name="connsiteX76" fmla="*/ 6719 w 10000"/>
                <a:gd name="connsiteY76" fmla="*/ 3361 h 10000"/>
                <a:gd name="connsiteX77" fmla="*/ 6788 w 10000"/>
                <a:gd name="connsiteY77" fmla="*/ 3367 h 10000"/>
                <a:gd name="connsiteX78" fmla="*/ 6838 w 10000"/>
                <a:gd name="connsiteY78" fmla="*/ 3373 h 10000"/>
                <a:gd name="connsiteX79" fmla="*/ 6888 w 10000"/>
                <a:gd name="connsiteY79" fmla="*/ 3367 h 10000"/>
                <a:gd name="connsiteX80" fmla="*/ 6913 w 10000"/>
                <a:gd name="connsiteY80" fmla="*/ 3355 h 10000"/>
                <a:gd name="connsiteX81" fmla="*/ 6888 w 10000"/>
                <a:gd name="connsiteY81" fmla="*/ 3313 h 10000"/>
                <a:gd name="connsiteX82" fmla="*/ 6857 w 10000"/>
                <a:gd name="connsiteY82" fmla="*/ 3264 h 10000"/>
                <a:gd name="connsiteX83" fmla="*/ 6838 w 10000"/>
                <a:gd name="connsiteY83" fmla="*/ 3216 h 10000"/>
                <a:gd name="connsiteX84" fmla="*/ 6826 w 10000"/>
                <a:gd name="connsiteY84" fmla="*/ 3162 h 10000"/>
                <a:gd name="connsiteX85" fmla="*/ 6794 w 10000"/>
                <a:gd name="connsiteY85" fmla="*/ 3071 h 10000"/>
                <a:gd name="connsiteX86" fmla="*/ 6788 w 10000"/>
                <a:gd name="connsiteY86" fmla="*/ 3023 h 10000"/>
                <a:gd name="connsiteX87" fmla="*/ 6788 w 10000"/>
                <a:gd name="connsiteY87" fmla="*/ 2836 h 10000"/>
                <a:gd name="connsiteX88" fmla="*/ 6788 w 10000"/>
                <a:gd name="connsiteY88" fmla="*/ 2650 h 10000"/>
                <a:gd name="connsiteX89" fmla="*/ 6995 w 10000"/>
                <a:gd name="connsiteY89" fmla="*/ 2650 h 10000"/>
                <a:gd name="connsiteX90" fmla="*/ 7033 w 10000"/>
                <a:gd name="connsiteY90" fmla="*/ 2716 h 10000"/>
                <a:gd name="connsiteX91" fmla="*/ 7058 w 10000"/>
                <a:gd name="connsiteY91" fmla="*/ 2758 h 10000"/>
                <a:gd name="connsiteX92" fmla="*/ 7095 w 10000"/>
                <a:gd name="connsiteY92" fmla="*/ 2794 h 10000"/>
                <a:gd name="connsiteX93" fmla="*/ 7127 w 10000"/>
                <a:gd name="connsiteY93" fmla="*/ 2836 h 10000"/>
                <a:gd name="connsiteX94" fmla="*/ 7120 w 10000"/>
                <a:gd name="connsiteY94" fmla="*/ 2933 h 10000"/>
                <a:gd name="connsiteX95" fmla="*/ 7102 w 10000"/>
                <a:gd name="connsiteY95" fmla="*/ 2993 h 10000"/>
                <a:gd name="connsiteX96" fmla="*/ 7089 w 10000"/>
                <a:gd name="connsiteY96" fmla="*/ 3041 h 10000"/>
                <a:gd name="connsiteX97" fmla="*/ 7077 w 10000"/>
                <a:gd name="connsiteY97" fmla="*/ 3096 h 10000"/>
                <a:gd name="connsiteX98" fmla="*/ 7208 w 10000"/>
                <a:gd name="connsiteY98" fmla="*/ 3132 h 10000"/>
                <a:gd name="connsiteX99" fmla="*/ 7334 w 10000"/>
                <a:gd name="connsiteY99" fmla="*/ 3168 h 10000"/>
                <a:gd name="connsiteX100" fmla="*/ 7396 w 10000"/>
                <a:gd name="connsiteY100" fmla="*/ 3187 h 10000"/>
                <a:gd name="connsiteX101" fmla="*/ 7459 w 10000"/>
                <a:gd name="connsiteY101" fmla="*/ 3199 h 10000"/>
                <a:gd name="connsiteX102" fmla="*/ 7522 w 10000"/>
                <a:gd name="connsiteY102" fmla="*/ 3205 h 10000"/>
                <a:gd name="connsiteX103" fmla="*/ 7585 w 10000"/>
                <a:gd name="connsiteY103" fmla="*/ 3210 h 10000"/>
                <a:gd name="connsiteX104" fmla="*/ 7591 w 10000"/>
                <a:gd name="connsiteY104" fmla="*/ 3234 h 10000"/>
                <a:gd name="connsiteX105" fmla="*/ 7604 w 10000"/>
                <a:gd name="connsiteY105" fmla="*/ 3258 h 10000"/>
                <a:gd name="connsiteX106" fmla="*/ 7622 w 10000"/>
                <a:gd name="connsiteY106" fmla="*/ 3276 h 10000"/>
                <a:gd name="connsiteX107" fmla="*/ 7654 w 10000"/>
                <a:gd name="connsiteY107" fmla="*/ 3294 h 10000"/>
                <a:gd name="connsiteX108" fmla="*/ 7704 w 10000"/>
                <a:gd name="connsiteY108" fmla="*/ 3313 h 10000"/>
                <a:gd name="connsiteX109" fmla="*/ 7748 w 10000"/>
                <a:gd name="connsiteY109" fmla="*/ 3319 h 10000"/>
                <a:gd name="connsiteX110" fmla="*/ 7798 w 10000"/>
                <a:gd name="connsiteY110" fmla="*/ 3319 h 10000"/>
                <a:gd name="connsiteX111" fmla="*/ 7836 w 10000"/>
                <a:gd name="connsiteY111" fmla="*/ 3307 h 10000"/>
                <a:gd name="connsiteX112" fmla="*/ 7880 w 10000"/>
                <a:gd name="connsiteY112" fmla="*/ 3288 h 10000"/>
                <a:gd name="connsiteX113" fmla="*/ 7911 w 10000"/>
                <a:gd name="connsiteY113" fmla="*/ 3270 h 10000"/>
                <a:gd name="connsiteX114" fmla="*/ 7949 w 10000"/>
                <a:gd name="connsiteY114" fmla="*/ 3246 h 10000"/>
                <a:gd name="connsiteX115" fmla="*/ 7980 w 10000"/>
                <a:gd name="connsiteY115" fmla="*/ 3216 h 10000"/>
                <a:gd name="connsiteX116" fmla="*/ 8011 w 10000"/>
                <a:gd name="connsiteY116" fmla="*/ 3187 h 10000"/>
                <a:gd name="connsiteX117" fmla="*/ 8036 w 10000"/>
                <a:gd name="connsiteY117" fmla="*/ 3156 h 10000"/>
                <a:gd name="connsiteX118" fmla="*/ 8087 w 10000"/>
                <a:gd name="connsiteY118" fmla="*/ 3077 h 10000"/>
                <a:gd name="connsiteX119" fmla="*/ 8118 w 10000"/>
                <a:gd name="connsiteY119" fmla="*/ 3005 h 10000"/>
                <a:gd name="connsiteX120" fmla="*/ 8149 w 10000"/>
                <a:gd name="connsiteY120" fmla="*/ 2939 h 10000"/>
                <a:gd name="connsiteX121" fmla="*/ 8168 w 10000"/>
                <a:gd name="connsiteY121" fmla="*/ 2873 h 10000"/>
                <a:gd name="connsiteX122" fmla="*/ 8231 w 10000"/>
                <a:gd name="connsiteY122" fmla="*/ 2806 h 10000"/>
                <a:gd name="connsiteX123" fmla="*/ 8294 w 10000"/>
                <a:gd name="connsiteY123" fmla="*/ 2740 h 10000"/>
                <a:gd name="connsiteX124" fmla="*/ 8363 w 10000"/>
                <a:gd name="connsiteY124" fmla="*/ 2687 h 10000"/>
                <a:gd name="connsiteX125" fmla="*/ 8432 w 10000"/>
                <a:gd name="connsiteY125" fmla="*/ 2626 h 10000"/>
                <a:gd name="connsiteX126" fmla="*/ 8507 w 10000"/>
                <a:gd name="connsiteY126" fmla="*/ 2578 h 10000"/>
                <a:gd name="connsiteX127" fmla="*/ 8576 w 10000"/>
                <a:gd name="connsiteY127" fmla="*/ 2530 h 10000"/>
                <a:gd name="connsiteX128" fmla="*/ 8651 w 10000"/>
                <a:gd name="connsiteY128" fmla="*/ 2488 h 10000"/>
                <a:gd name="connsiteX129" fmla="*/ 8726 w 10000"/>
                <a:gd name="connsiteY129" fmla="*/ 2444 h 10000"/>
                <a:gd name="connsiteX130" fmla="*/ 8808 w 10000"/>
                <a:gd name="connsiteY130" fmla="*/ 2402 h 10000"/>
                <a:gd name="connsiteX131" fmla="*/ 8890 w 10000"/>
                <a:gd name="connsiteY131" fmla="*/ 2366 h 10000"/>
                <a:gd name="connsiteX132" fmla="*/ 8971 w 10000"/>
                <a:gd name="connsiteY132" fmla="*/ 2336 h 10000"/>
                <a:gd name="connsiteX133" fmla="*/ 9059 w 10000"/>
                <a:gd name="connsiteY133" fmla="*/ 2306 h 10000"/>
                <a:gd name="connsiteX134" fmla="*/ 9235 w 10000"/>
                <a:gd name="connsiteY134" fmla="*/ 2252 h 10000"/>
                <a:gd name="connsiteX135" fmla="*/ 9417 w 10000"/>
                <a:gd name="connsiteY135" fmla="*/ 2209 h 10000"/>
                <a:gd name="connsiteX136" fmla="*/ 9454 w 10000"/>
                <a:gd name="connsiteY136" fmla="*/ 2258 h 10000"/>
                <a:gd name="connsiteX137" fmla="*/ 9504 w 10000"/>
                <a:gd name="connsiteY137" fmla="*/ 2318 h 10000"/>
                <a:gd name="connsiteX138" fmla="*/ 9573 w 10000"/>
                <a:gd name="connsiteY138" fmla="*/ 2384 h 10000"/>
                <a:gd name="connsiteX139" fmla="*/ 9642 w 10000"/>
                <a:gd name="connsiteY139" fmla="*/ 2457 h 10000"/>
                <a:gd name="connsiteX140" fmla="*/ 9718 w 10000"/>
                <a:gd name="connsiteY140" fmla="*/ 2518 h 10000"/>
                <a:gd name="connsiteX141" fmla="*/ 9799 w 10000"/>
                <a:gd name="connsiteY141" fmla="*/ 2566 h 10000"/>
                <a:gd name="connsiteX142" fmla="*/ 9837 w 10000"/>
                <a:gd name="connsiteY142" fmla="*/ 2590 h 10000"/>
                <a:gd name="connsiteX143" fmla="*/ 9875 w 10000"/>
                <a:gd name="connsiteY143" fmla="*/ 2602 h 10000"/>
                <a:gd name="connsiteX144" fmla="*/ 9918 w 10000"/>
                <a:gd name="connsiteY144" fmla="*/ 2614 h 10000"/>
                <a:gd name="connsiteX145" fmla="*/ 9956 w 10000"/>
                <a:gd name="connsiteY145" fmla="*/ 2614 h 10000"/>
                <a:gd name="connsiteX146" fmla="*/ 10000 w 10000"/>
                <a:gd name="connsiteY146" fmla="*/ 2542 h 10000"/>
                <a:gd name="connsiteX147" fmla="*/ 9975 w 10000"/>
                <a:gd name="connsiteY147" fmla="*/ 2669 h 10000"/>
                <a:gd name="connsiteX148" fmla="*/ 9944 w 10000"/>
                <a:gd name="connsiteY148" fmla="*/ 2812 h 10000"/>
                <a:gd name="connsiteX149" fmla="*/ 9931 w 10000"/>
                <a:gd name="connsiteY149" fmla="*/ 2879 h 10000"/>
                <a:gd name="connsiteX150" fmla="*/ 9906 w 10000"/>
                <a:gd name="connsiteY150" fmla="*/ 2939 h 10000"/>
                <a:gd name="connsiteX151" fmla="*/ 9887 w 10000"/>
                <a:gd name="connsiteY151" fmla="*/ 2963 h 10000"/>
                <a:gd name="connsiteX152" fmla="*/ 9875 w 10000"/>
                <a:gd name="connsiteY152" fmla="*/ 2987 h 10000"/>
                <a:gd name="connsiteX153" fmla="*/ 9856 w 10000"/>
                <a:gd name="connsiteY153" fmla="*/ 3005 h 10000"/>
                <a:gd name="connsiteX154" fmla="*/ 9837 w 10000"/>
                <a:gd name="connsiteY154" fmla="*/ 3023 h 10000"/>
                <a:gd name="connsiteX155" fmla="*/ 9749 w 10000"/>
                <a:gd name="connsiteY155" fmla="*/ 3041 h 10000"/>
                <a:gd name="connsiteX156" fmla="*/ 9605 w 10000"/>
                <a:gd name="connsiteY156" fmla="*/ 3090 h 10000"/>
                <a:gd name="connsiteX157" fmla="*/ 9536 w 10000"/>
                <a:gd name="connsiteY157" fmla="*/ 3132 h 10000"/>
                <a:gd name="connsiteX158" fmla="*/ 9479 w 10000"/>
                <a:gd name="connsiteY158" fmla="*/ 3168 h 10000"/>
                <a:gd name="connsiteX159" fmla="*/ 9448 w 10000"/>
                <a:gd name="connsiteY159" fmla="*/ 3187 h 10000"/>
                <a:gd name="connsiteX160" fmla="*/ 9435 w 10000"/>
                <a:gd name="connsiteY160" fmla="*/ 3205 h 10000"/>
                <a:gd name="connsiteX161" fmla="*/ 9423 w 10000"/>
                <a:gd name="connsiteY161" fmla="*/ 3228 h 10000"/>
                <a:gd name="connsiteX162" fmla="*/ 9417 w 10000"/>
                <a:gd name="connsiteY162" fmla="*/ 3246 h 10000"/>
                <a:gd name="connsiteX163" fmla="*/ 9423 w 10000"/>
                <a:gd name="connsiteY163" fmla="*/ 3457 h 10000"/>
                <a:gd name="connsiteX164" fmla="*/ 9417 w 10000"/>
                <a:gd name="connsiteY164" fmla="*/ 3698 h 10000"/>
                <a:gd name="connsiteX165" fmla="*/ 9398 w 10000"/>
                <a:gd name="connsiteY165" fmla="*/ 3758 h 10000"/>
                <a:gd name="connsiteX166" fmla="*/ 9391 w 10000"/>
                <a:gd name="connsiteY166" fmla="*/ 3824 h 10000"/>
                <a:gd name="connsiteX167" fmla="*/ 9379 w 10000"/>
                <a:gd name="connsiteY167" fmla="*/ 3878 h 10000"/>
                <a:gd name="connsiteX168" fmla="*/ 9366 w 10000"/>
                <a:gd name="connsiteY168" fmla="*/ 3933 h 10000"/>
                <a:gd name="connsiteX169" fmla="*/ 9348 w 10000"/>
                <a:gd name="connsiteY169" fmla="*/ 3982 h 10000"/>
                <a:gd name="connsiteX170" fmla="*/ 9316 w 10000"/>
                <a:gd name="connsiteY170" fmla="*/ 4030 h 10000"/>
                <a:gd name="connsiteX171" fmla="*/ 9285 w 10000"/>
                <a:gd name="connsiteY171" fmla="*/ 4066 h 10000"/>
                <a:gd name="connsiteX172" fmla="*/ 9247 w 10000"/>
                <a:gd name="connsiteY172" fmla="*/ 4096 h 10000"/>
                <a:gd name="connsiteX173" fmla="*/ 9228 w 10000"/>
                <a:gd name="connsiteY173" fmla="*/ 4114 h 10000"/>
                <a:gd name="connsiteX174" fmla="*/ 9184 w 10000"/>
                <a:gd name="connsiteY174" fmla="*/ 4120 h 10000"/>
                <a:gd name="connsiteX175" fmla="*/ 9141 w 10000"/>
                <a:gd name="connsiteY175" fmla="*/ 4126 h 10000"/>
                <a:gd name="connsiteX176" fmla="*/ 9090 w 10000"/>
                <a:gd name="connsiteY176" fmla="*/ 4132 h 10000"/>
                <a:gd name="connsiteX177" fmla="*/ 9040 w 10000"/>
                <a:gd name="connsiteY177" fmla="*/ 4138 h 10000"/>
                <a:gd name="connsiteX178" fmla="*/ 8996 w 10000"/>
                <a:gd name="connsiteY178" fmla="*/ 4157 h 10000"/>
                <a:gd name="connsiteX179" fmla="*/ 8977 w 10000"/>
                <a:gd name="connsiteY179" fmla="*/ 4163 h 10000"/>
                <a:gd name="connsiteX180" fmla="*/ 8965 w 10000"/>
                <a:gd name="connsiteY180" fmla="*/ 4181 h 10000"/>
                <a:gd name="connsiteX181" fmla="*/ 8959 w 10000"/>
                <a:gd name="connsiteY181" fmla="*/ 4193 h 10000"/>
                <a:gd name="connsiteX182" fmla="*/ 8959 w 10000"/>
                <a:gd name="connsiteY182" fmla="*/ 4211 h 10000"/>
                <a:gd name="connsiteX183" fmla="*/ 8952 w 10000"/>
                <a:gd name="connsiteY183" fmla="*/ 4282 h 10000"/>
                <a:gd name="connsiteX184" fmla="*/ 8952 w 10000"/>
                <a:gd name="connsiteY184" fmla="*/ 4367 h 10000"/>
                <a:gd name="connsiteX185" fmla="*/ 8940 w 10000"/>
                <a:gd name="connsiteY185" fmla="*/ 4457 h 10000"/>
                <a:gd name="connsiteX186" fmla="*/ 8927 w 10000"/>
                <a:gd name="connsiteY186" fmla="*/ 4541 h 10000"/>
                <a:gd name="connsiteX187" fmla="*/ 8908 w 10000"/>
                <a:gd name="connsiteY187" fmla="*/ 4627 h 10000"/>
                <a:gd name="connsiteX188" fmla="*/ 8890 w 10000"/>
                <a:gd name="connsiteY188" fmla="*/ 4705 h 10000"/>
                <a:gd name="connsiteX189" fmla="*/ 8864 w 10000"/>
                <a:gd name="connsiteY189" fmla="*/ 4776 h 10000"/>
                <a:gd name="connsiteX190" fmla="*/ 8833 w 10000"/>
                <a:gd name="connsiteY190" fmla="*/ 4843 h 10000"/>
                <a:gd name="connsiteX191" fmla="*/ 8538 w 10000"/>
                <a:gd name="connsiteY191" fmla="*/ 4354 h 10000"/>
                <a:gd name="connsiteX192" fmla="*/ 8526 w 10000"/>
                <a:gd name="connsiteY192" fmla="*/ 4379 h 10000"/>
                <a:gd name="connsiteX193" fmla="*/ 8494 w 10000"/>
                <a:gd name="connsiteY193" fmla="*/ 4433 h 10000"/>
                <a:gd name="connsiteX194" fmla="*/ 8463 w 10000"/>
                <a:gd name="connsiteY194" fmla="*/ 4463 h 10000"/>
                <a:gd name="connsiteX195" fmla="*/ 8438 w 10000"/>
                <a:gd name="connsiteY195" fmla="*/ 4487 h 10000"/>
                <a:gd name="connsiteX196" fmla="*/ 8407 w 10000"/>
                <a:gd name="connsiteY196" fmla="*/ 4505 h 10000"/>
                <a:gd name="connsiteX197" fmla="*/ 8375 w 10000"/>
                <a:gd name="connsiteY197" fmla="*/ 4511 h 10000"/>
                <a:gd name="connsiteX198" fmla="*/ 8338 w 10000"/>
                <a:gd name="connsiteY198" fmla="*/ 4505 h 10000"/>
                <a:gd name="connsiteX199" fmla="*/ 8312 w 10000"/>
                <a:gd name="connsiteY199" fmla="*/ 4499 h 10000"/>
                <a:gd name="connsiteX200" fmla="*/ 8287 w 10000"/>
                <a:gd name="connsiteY200" fmla="*/ 4481 h 10000"/>
                <a:gd name="connsiteX201" fmla="*/ 8256 w 10000"/>
                <a:gd name="connsiteY201" fmla="*/ 4463 h 10000"/>
                <a:gd name="connsiteX202" fmla="*/ 8237 w 10000"/>
                <a:gd name="connsiteY202" fmla="*/ 4433 h 10000"/>
                <a:gd name="connsiteX203" fmla="*/ 8225 w 10000"/>
                <a:gd name="connsiteY203" fmla="*/ 4409 h 10000"/>
                <a:gd name="connsiteX204" fmla="*/ 8206 w 10000"/>
                <a:gd name="connsiteY204" fmla="*/ 4385 h 10000"/>
                <a:gd name="connsiteX205" fmla="*/ 8206 w 10000"/>
                <a:gd name="connsiteY205" fmla="*/ 4354 h 10000"/>
                <a:gd name="connsiteX206" fmla="*/ 8206 w 10000"/>
                <a:gd name="connsiteY206" fmla="*/ 4318 h 10000"/>
                <a:gd name="connsiteX207" fmla="*/ 8225 w 10000"/>
                <a:gd name="connsiteY207" fmla="*/ 4282 h 10000"/>
                <a:gd name="connsiteX208" fmla="*/ 8237 w 10000"/>
                <a:gd name="connsiteY208" fmla="*/ 4246 h 10000"/>
                <a:gd name="connsiteX209" fmla="*/ 8250 w 10000"/>
                <a:gd name="connsiteY209" fmla="*/ 4211 h 10000"/>
                <a:gd name="connsiteX210" fmla="*/ 8300 w 10000"/>
                <a:gd name="connsiteY210" fmla="*/ 4144 h 10000"/>
                <a:gd name="connsiteX211" fmla="*/ 8356 w 10000"/>
                <a:gd name="connsiteY211" fmla="*/ 4078 h 10000"/>
                <a:gd name="connsiteX212" fmla="*/ 8407 w 10000"/>
                <a:gd name="connsiteY212" fmla="*/ 4018 h 10000"/>
                <a:gd name="connsiteX213" fmla="*/ 8457 w 10000"/>
                <a:gd name="connsiteY213" fmla="*/ 3952 h 10000"/>
                <a:gd name="connsiteX214" fmla="*/ 8469 w 10000"/>
                <a:gd name="connsiteY214" fmla="*/ 3915 h 10000"/>
                <a:gd name="connsiteX215" fmla="*/ 8482 w 10000"/>
                <a:gd name="connsiteY215" fmla="*/ 3884 h 10000"/>
                <a:gd name="connsiteX216" fmla="*/ 8501 w 10000"/>
                <a:gd name="connsiteY216" fmla="*/ 3842 h 10000"/>
                <a:gd name="connsiteX217" fmla="*/ 8501 w 10000"/>
                <a:gd name="connsiteY217" fmla="*/ 3806 h 10000"/>
                <a:gd name="connsiteX218" fmla="*/ 7748 w 10000"/>
                <a:gd name="connsiteY218" fmla="*/ 3806 h 10000"/>
                <a:gd name="connsiteX219" fmla="*/ 7723 w 10000"/>
                <a:gd name="connsiteY219" fmla="*/ 3800 h 10000"/>
                <a:gd name="connsiteX220" fmla="*/ 7685 w 10000"/>
                <a:gd name="connsiteY220" fmla="*/ 3782 h 10000"/>
                <a:gd name="connsiteX221" fmla="*/ 7660 w 10000"/>
                <a:gd name="connsiteY221" fmla="*/ 3746 h 10000"/>
                <a:gd name="connsiteX222" fmla="*/ 7635 w 10000"/>
                <a:gd name="connsiteY222" fmla="*/ 3710 h 10000"/>
                <a:gd name="connsiteX223" fmla="*/ 7616 w 10000"/>
                <a:gd name="connsiteY223" fmla="*/ 3662 h 10000"/>
                <a:gd name="connsiteX224" fmla="*/ 7597 w 10000"/>
                <a:gd name="connsiteY224" fmla="*/ 3614 h 10000"/>
                <a:gd name="connsiteX225" fmla="*/ 7591 w 10000"/>
                <a:gd name="connsiteY225" fmla="*/ 3560 h 10000"/>
                <a:gd name="connsiteX226" fmla="*/ 7585 w 10000"/>
                <a:gd name="connsiteY226" fmla="*/ 3505 h 10000"/>
                <a:gd name="connsiteX227" fmla="*/ 7547 w 10000"/>
                <a:gd name="connsiteY227" fmla="*/ 3505 h 10000"/>
                <a:gd name="connsiteX228" fmla="*/ 7516 w 10000"/>
                <a:gd name="connsiteY228" fmla="*/ 3499 h 10000"/>
                <a:gd name="connsiteX229" fmla="*/ 7478 w 10000"/>
                <a:gd name="connsiteY229" fmla="*/ 3493 h 10000"/>
                <a:gd name="connsiteX230" fmla="*/ 7447 w 10000"/>
                <a:gd name="connsiteY230" fmla="*/ 3481 h 10000"/>
                <a:gd name="connsiteX231" fmla="*/ 7415 w 10000"/>
                <a:gd name="connsiteY231" fmla="*/ 3463 h 10000"/>
                <a:gd name="connsiteX232" fmla="*/ 7396 w 10000"/>
                <a:gd name="connsiteY232" fmla="*/ 3445 h 10000"/>
                <a:gd name="connsiteX233" fmla="*/ 7384 w 10000"/>
                <a:gd name="connsiteY233" fmla="*/ 3415 h 10000"/>
                <a:gd name="connsiteX234" fmla="*/ 7378 w 10000"/>
                <a:gd name="connsiteY234" fmla="*/ 3391 h 10000"/>
                <a:gd name="connsiteX235" fmla="*/ 7321 w 10000"/>
                <a:gd name="connsiteY235" fmla="*/ 3391 h 10000"/>
                <a:gd name="connsiteX236" fmla="*/ 7271 w 10000"/>
                <a:gd name="connsiteY236" fmla="*/ 3391 h 10000"/>
                <a:gd name="connsiteX237" fmla="*/ 7221 w 10000"/>
                <a:gd name="connsiteY237" fmla="*/ 3391 h 10000"/>
                <a:gd name="connsiteX238" fmla="*/ 7171 w 10000"/>
                <a:gd name="connsiteY238" fmla="*/ 3391 h 10000"/>
                <a:gd name="connsiteX239" fmla="*/ 7127 w 10000"/>
                <a:gd name="connsiteY239" fmla="*/ 3397 h 10000"/>
                <a:gd name="connsiteX240" fmla="*/ 7095 w 10000"/>
                <a:gd name="connsiteY240" fmla="*/ 3403 h 10000"/>
                <a:gd name="connsiteX241" fmla="*/ 7051 w 10000"/>
                <a:gd name="connsiteY241" fmla="*/ 3421 h 10000"/>
                <a:gd name="connsiteX242" fmla="*/ 7008 w 10000"/>
                <a:gd name="connsiteY242" fmla="*/ 3445 h 10000"/>
                <a:gd name="connsiteX243" fmla="*/ 6976 w 10000"/>
                <a:gd name="connsiteY243" fmla="*/ 3475 h 10000"/>
                <a:gd name="connsiteX244" fmla="*/ 6939 w 10000"/>
                <a:gd name="connsiteY244" fmla="*/ 3505 h 10000"/>
                <a:gd name="connsiteX245" fmla="*/ 6920 w 10000"/>
                <a:gd name="connsiteY245" fmla="*/ 3542 h 10000"/>
                <a:gd name="connsiteX246" fmla="*/ 6913 w 10000"/>
                <a:gd name="connsiteY246" fmla="*/ 3578 h 10000"/>
                <a:gd name="connsiteX247" fmla="*/ 6926 w 10000"/>
                <a:gd name="connsiteY247" fmla="*/ 3602 h 10000"/>
                <a:gd name="connsiteX248" fmla="*/ 6964 w 10000"/>
                <a:gd name="connsiteY248" fmla="*/ 3632 h 10000"/>
                <a:gd name="connsiteX249" fmla="*/ 7008 w 10000"/>
                <a:gd name="connsiteY249" fmla="*/ 3668 h 10000"/>
                <a:gd name="connsiteX250" fmla="*/ 7070 w 10000"/>
                <a:gd name="connsiteY250" fmla="*/ 3704 h 10000"/>
                <a:gd name="connsiteX251" fmla="*/ 7133 w 10000"/>
                <a:gd name="connsiteY251" fmla="*/ 3740 h 10000"/>
                <a:gd name="connsiteX252" fmla="*/ 7196 w 10000"/>
                <a:gd name="connsiteY252" fmla="*/ 3770 h 10000"/>
                <a:gd name="connsiteX253" fmla="*/ 7252 w 10000"/>
                <a:gd name="connsiteY253" fmla="*/ 3794 h 10000"/>
                <a:gd name="connsiteX254" fmla="*/ 7290 w 10000"/>
                <a:gd name="connsiteY254" fmla="*/ 3806 h 10000"/>
                <a:gd name="connsiteX255" fmla="*/ 7208 w 10000"/>
                <a:gd name="connsiteY255" fmla="*/ 3866 h 10000"/>
                <a:gd name="connsiteX256" fmla="*/ 7114 w 10000"/>
                <a:gd name="connsiteY256" fmla="*/ 3940 h 10000"/>
                <a:gd name="connsiteX257" fmla="*/ 7070 w 10000"/>
                <a:gd name="connsiteY257" fmla="*/ 3976 h 10000"/>
                <a:gd name="connsiteX258" fmla="*/ 7033 w 10000"/>
                <a:gd name="connsiteY258" fmla="*/ 4018 h 10000"/>
                <a:gd name="connsiteX259" fmla="*/ 7020 w 10000"/>
                <a:gd name="connsiteY259" fmla="*/ 4036 h 10000"/>
                <a:gd name="connsiteX260" fmla="*/ 7008 w 10000"/>
                <a:gd name="connsiteY260" fmla="*/ 4054 h 10000"/>
                <a:gd name="connsiteX261" fmla="*/ 7001 w 10000"/>
                <a:gd name="connsiteY261" fmla="*/ 4078 h 10000"/>
                <a:gd name="connsiteX262" fmla="*/ 6995 w 10000"/>
                <a:gd name="connsiteY262" fmla="*/ 4096 h 10000"/>
                <a:gd name="connsiteX263" fmla="*/ 7001 w 10000"/>
                <a:gd name="connsiteY263" fmla="*/ 4126 h 10000"/>
                <a:gd name="connsiteX264" fmla="*/ 7008 w 10000"/>
                <a:gd name="connsiteY264" fmla="*/ 4144 h 10000"/>
                <a:gd name="connsiteX265" fmla="*/ 7026 w 10000"/>
                <a:gd name="connsiteY265" fmla="*/ 4169 h 10000"/>
                <a:gd name="connsiteX266" fmla="*/ 7039 w 10000"/>
                <a:gd name="connsiteY266" fmla="*/ 4193 h 10000"/>
                <a:gd name="connsiteX267" fmla="*/ 7089 w 10000"/>
                <a:gd name="connsiteY267" fmla="*/ 4240 h 10000"/>
                <a:gd name="connsiteX268" fmla="*/ 7146 w 10000"/>
                <a:gd name="connsiteY268" fmla="*/ 4288 h 10000"/>
                <a:gd name="connsiteX269" fmla="*/ 7208 w 10000"/>
                <a:gd name="connsiteY269" fmla="*/ 4330 h 10000"/>
                <a:gd name="connsiteX270" fmla="*/ 7277 w 10000"/>
                <a:gd name="connsiteY270" fmla="*/ 4367 h 10000"/>
                <a:gd name="connsiteX271" fmla="*/ 7315 w 10000"/>
                <a:gd name="connsiteY271" fmla="*/ 4379 h 10000"/>
                <a:gd name="connsiteX272" fmla="*/ 7346 w 10000"/>
                <a:gd name="connsiteY272" fmla="*/ 4385 h 10000"/>
                <a:gd name="connsiteX273" fmla="*/ 7384 w 10000"/>
                <a:gd name="connsiteY273" fmla="*/ 4391 h 10000"/>
                <a:gd name="connsiteX274" fmla="*/ 7415 w 10000"/>
                <a:gd name="connsiteY274" fmla="*/ 4397 h 10000"/>
                <a:gd name="connsiteX275" fmla="*/ 7585 w 10000"/>
                <a:gd name="connsiteY275" fmla="*/ 5024 h 10000"/>
                <a:gd name="connsiteX276" fmla="*/ 7491 w 10000"/>
                <a:gd name="connsiteY276" fmla="*/ 5024 h 10000"/>
                <a:gd name="connsiteX277" fmla="*/ 7403 w 10000"/>
                <a:gd name="connsiteY277" fmla="*/ 5024 h 10000"/>
                <a:gd name="connsiteX278" fmla="*/ 7321 w 10000"/>
                <a:gd name="connsiteY278" fmla="*/ 5024 h 10000"/>
                <a:gd name="connsiteX279" fmla="*/ 7252 w 10000"/>
                <a:gd name="connsiteY279" fmla="*/ 5024 h 10000"/>
                <a:gd name="connsiteX280" fmla="*/ 7208 w 10000"/>
                <a:gd name="connsiteY280" fmla="*/ 5018 h 10000"/>
                <a:gd name="connsiteX281" fmla="*/ 7164 w 10000"/>
                <a:gd name="connsiteY281" fmla="*/ 4987 h 10000"/>
                <a:gd name="connsiteX282" fmla="*/ 7133 w 10000"/>
                <a:gd name="connsiteY282" fmla="*/ 4975 h 10000"/>
                <a:gd name="connsiteX283" fmla="*/ 7102 w 10000"/>
                <a:gd name="connsiteY283" fmla="*/ 4963 h 10000"/>
                <a:gd name="connsiteX284" fmla="*/ 7070 w 10000"/>
                <a:gd name="connsiteY284" fmla="*/ 4957 h 10000"/>
                <a:gd name="connsiteX285" fmla="*/ 7039 w 10000"/>
                <a:gd name="connsiteY285" fmla="*/ 4951 h 10000"/>
                <a:gd name="connsiteX286" fmla="*/ 7008 w 10000"/>
                <a:gd name="connsiteY286" fmla="*/ 4963 h 10000"/>
                <a:gd name="connsiteX287" fmla="*/ 6957 w 10000"/>
                <a:gd name="connsiteY287" fmla="*/ 4993 h 10000"/>
                <a:gd name="connsiteX288" fmla="*/ 6895 w 10000"/>
                <a:gd name="connsiteY288" fmla="*/ 5036 h 10000"/>
                <a:gd name="connsiteX289" fmla="*/ 6819 w 10000"/>
                <a:gd name="connsiteY289" fmla="*/ 5084 h 10000"/>
                <a:gd name="connsiteX290" fmla="*/ 6744 w 10000"/>
                <a:gd name="connsiteY290" fmla="*/ 5144 h 10000"/>
                <a:gd name="connsiteX291" fmla="*/ 6681 w 10000"/>
                <a:gd name="connsiteY291" fmla="*/ 5192 h 10000"/>
                <a:gd name="connsiteX292" fmla="*/ 6637 w 10000"/>
                <a:gd name="connsiteY292" fmla="*/ 5228 h 10000"/>
                <a:gd name="connsiteX293" fmla="*/ 6625 w 10000"/>
                <a:gd name="connsiteY293" fmla="*/ 5252 h 10000"/>
                <a:gd name="connsiteX294" fmla="*/ 6750 w 10000"/>
                <a:gd name="connsiteY294" fmla="*/ 5324 h 10000"/>
                <a:gd name="connsiteX295" fmla="*/ 6744 w 10000"/>
                <a:gd name="connsiteY295" fmla="*/ 5361 h 10000"/>
                <a:gd name="connsiteX296" fmla="*/ 6725 w 10000"/>
                <a:gd name="connsiteY296" fmla="*/ 5403 h 10000"/>
                <a:gd name="connsiteX297" fmla="*/ 6706 w 10000"/>
                <a:gd name="connsiteY297" fmla="*/ 5434 h 10000"/>
                <a:gd name="connsiteX298" fmla="*/ 6688 w 10000"/>
                <a:gd name="connsiteY298" fmla="*/ 5476 h 10000"/>
                <a:gd name="connsiteX299" fmla="*/ 6637 w 10000"/>
                <a:gd name="connsiteY299" fmla="*/ 5530 h 10000"/>
                <a:gd name="connsiteX300" fmla="*/ 6581 w 10000"/>
                <a:gd name="connsiteY300" fmla="*/ 5584 h 10000"/>
                <a:gd name="connsiteX301" fmla="*/ 6518 w 10000"/>
                <a:gd name="connsiteY301" fmla="*/ 5632 h 10000"/>
                <a:gd name="connsiteX302" fmla="*/ 6443 w 10000"/>
                <a:gd name="connsiteY302" fmla="*/ 5675 h 10000"/>
                <a:gd name="connsiteX303" fmla="*/ 6374 w 10000"/>
                <a:gd name="connsiteY303" fmla="*/ 5711 h 10000"/>
                <a:gd name="connsiteX304" fmla="*/ 6299 w 10000"/>
                <a:gd name="connsiteY304" fmla="*/ 5746 h 10000"/>
                <a:gd name="connsiteX305" fmla="*/ 6223 w 10000"/>
                <a:gd name="connsiteY305" fmla="*/ 5794 h 10000"/>
                <a:gd name="connsiteX306" fmla="*/ 6154 w 10000"/>
                <a:gd name="connsiteY306" fmla="*/ 5830 h 10000"/>
                <a:gd name="connsiteX307" fmla="*/ 6092 w 10000"/>
                <a:gd name="connsiteY307" fmla="*/ 5873 h 10000"/>
                <a:gd name="connsiteX308" fmla="*/ 6035 w 10000"/>
                <a:gd name="connsiteY308" fmla="*/ 5921 h 10000"/>
                <a:gd name="connsiteX309" fmla="*/ 6004 w 10000"/>
                <a:gd name="connsiteY309" fmla="*/ 5945 h 10000"/>
                <a:gd name="connsiteX310" fmla="*/ 5985 w 10000"/>
                <a:gd name="connsiteY310" fmla="*/ 5969 h 10000"/>
                <a:gd name="connsiteX311" fmla="*/ 5966 w 10000"/>
                <a:gd name="connsiteY311" fmla="*/ 5999 h 10000"/>
                <a:gd name="connsiteX312" fmla="*/ 5947 w 10000"/>
                <a:gd name="connsiteY312" fmla="*/ 6029 h 10000"/>
                <a:gd name="connsiteX313" fmla="*/ 5935 w 10000"/>
                <a:gd name="connsiteY313" fmla="*/ 6067 h 10000"/>
                <a:gd name="connsiteX314" fmla="*/ 5922 w 10000"/>
                <a:gd name="connsiteY314" fmla="*/ 6097 h 10000"/>
                <a:gd name="connsiteX315" fmla="*/ 5916 w 10000"/>
                <a:gd name="connsiteY315" fmla="*/ 6139 h 10000"/>
                <a:gd name="connsiteX316" fmla="*/ 5916 w 10000"/>
                <a:gd name="connsiteY316" fmla="*/ 6181 h 10000"/>
                <a:gd name="connsiteX317" fmla="*/ 5859 w 10000"/>
                <a:gd name="connsiteY317" fmla="*/ 6199 h 10000"/>
                <a:gd name="connsiteX318" fmla="*/ 5809 w 10000"/>
                <a:gd name="connsiteY318" fmla="*/ 6217 h 10000"/>
                <a:gd name="connsiteX319" fmla="*/ 5765 w 10000"/>
                <a:gd name="connsiteY319" fmla="*/ 6240 h 10000"/>
                <a:gd name="connsiteX320" fmla="*/ 5721 w 10000"/>
                <a:gd name="connsiteY320" fmla="*/ 6264 h 10000"/>
                <a:gd name="connsiteX321" fmla="*/ 5634 w 10000"/>
                <a:gd name="connsiteY321" fmla="*/ 6325 h 10000"/>
                <a:gd name="connsiteX322" fmla="*/ 5558 w 10000"/>
                <a:gd name="connsiteY322" fmla="*/ 6397 h 10000"/>
                <a:gd name="connsiteX323" fmla="*/ 5420 w 10000"/>
                <a:gd name="connsiteY323" fmla="*/ 6560 h 10000"/>
                <a:gd name="connsiteX324" fmla="*/ 5289 w 10000"/>
                <a:gd name="connsiteY324" fmla="*/ 6734 h 10000"/>
                <a:gd name="connsiteX325" fmla="*/ 5220 w 10000"/>
                <a:gd name="connsiteY325" fmla="*/ 6825 h 10000"/>
                <a:gd name="connsiteX326" fmla="*/ 5151 w 10000"/>
                <a:gd name="connsiteY326" fmla="*/ 6903 h 10000"/>
                <a:gd name="connsiteX327" fmla="*/ 5075 w 10000"/>
                <a:gd name="connsiteY327" fmla="*/ 6976 h 10000"/>
                <a:gd name="connsiteX328" fmla="*/ 4994 w 10000"/>
                <a:gd name="connsiteY328" fmla="*/ 7042 h 10000"/>
                <a:gd name="connsiteX329" fmla="*/ 4944 w 10000"/>
                <a:gd name="connsiteY329" fmla="*/ 7072 h 10000"/>
                <a:gd name="connsiteX330" fmla="*/ 4893 w 10000"/>
                <a:gd name="connsiteY330" fmla="*/ 7096 h 10000"/>
                <a:gd name="connsiteX331" fmla="*/ 4849 w 10000"/>
                <a:gd name="connsiteY331" fmla="*/ 7120 h 10000"/>
                <a:gd name="connsiteX332" fmla="*/ 4793 w 10000"/>
                <a:gd name="connsiteY332" fmla="*/ 7145 h 10000"/>
                <a:gd name="connsiteX333" fmla="*/ 4730 w 10000"/>
                <a:gd name="connsiteY333" fmla="*/ 7163 h 10000"/>
                <a:gd name="connsiteX334" fmla="*/ 4674 w 10000"/>
                <a:gd name="connsiteY334" fmla="*/ 7175 h 10000"/>
                <a:gd name="connsiteX335" fmla="*/ 4605 w 10000"/>
                <a:gd name="connsiteY335" fmla="*/ 7181 h 10000"/>
                <a:gd name="connsiteX336" fmla="*/ 4536 w 10000"/>
                <a:gd name="connsiteY336" fmla="*/ 7181 h 10000"/>
                <a:gd name="connsiteX337" fmla="*/ 4536 w 10000"/>
                <a:gd name="connsiteY337" fmla="*/ 7234 h 10000"/>
                <a:gd name="connsiteX338" fmla="*/ 4536 w 10000"/>
                <a:gd name="connsiteY338" fmla="*/ 7288 h 10000"/>
                <a:gd name="connsiteX339" fmla="*/ 4536 w 10000"/>
                <a:gd name="connsiteY339" fmla="*/ 7330 h 10000"/>
                <a:gd name="connsiteX340" fmla="*/ 4536 w 10000"/>
                <a:gd name="connsiteY340" fmla="*/ 7367 h 10000"/>
                <a:gd name="connsiteX341" fmla="*/ 4536 w 10000"/>
                <a:gd name="connsiteY341" fmla="*/ 7433 h 10000"/>
                <a:gd name="connsiteX342" fmla="*/ 4536 w 10000"/>
                <a:gd name="connsiteY342" fmla="*/ 7536 h 10000"/>
                <a:gd name="connsiteX343" fmla="*/ 4536 w 10000"/>
                <a:gd name="connsiteY343" fmla="*/ 7645 h 10000"/>
                <a:gd name="connsiteX344" fmla="*/ 4548 w 10000"/>
                <a:gd name="connsiteY344" fmla="*/ 7758 h 10000"/>
                <a:gd name="connsiteX345" fmla="*/ 4561 w 10000"/>
                <a:gd name="connsiteY345" fmla="*/ 7819 h 10000"/>
                <a:gd name="connsiteX346" fmla="*/ 4573 w 10000"/>
                <a:gd name="connsiteY346" fmla="*/ 7873 h 10000"/>
                <a:gd name="connsiteX347" fmla="*/ 4586 w 10000"/>
                <a:gd name="connsiteY347" fmla="*/ 7921 h 10000"/>
                <a:gd name="connsiteX348" fmla="*/ 4611 w 10000"/>
                <a:gd name="connsiteY348" fmla="*/ 7963 h 10000"/>
                <a:gd name="connsiteX349" fmla="*/ 4636 w 10000"/>
                <a:gd name="connsiteY349" fmla="*/ 8006 h 10000"/>
                <a:gd name="connsiteX350" fmla="*/ 4668 w 10000"/>
                <a:gd name="connsiteY350" fmla="*/ 8036 h 10000"/>
                <a:gd name="connsiteX351" fmla="*/ 4705 w 10000"/>
                <a:gd name="connsiteY351" fmla="*/ 8060 h 10000"/>
                <a:gd name="connsiteX352" fmla="*/ 4749 w 10000"/>
                <a:gd name="connsiteY352" fmla="*/ 8072 h 10000"/>
                <a:gd name="connsiteX353" fmla="*/ 4711 w 10000"/>
                <a:gd name="connsiteY353" fmla="*/ 8168 h 10000"/>
                <a:gd name="connsiteX354" fmla="*/ 4668 w 10000"/>
                <a:gd name="connsiteY354" fmla="*/ 8253 h 10000"/>
                <a:gd name="connsiteX355" fmla="*/ 4617 w 10000"/>
                <a:gd name="connsiteY355" fmla="*/ 8331 h 10000"/>
                <a:gd name="connsiteX356" fmla="*/ 4573 w 10000"/>
                <a:gd name="connsiteY356" fmla="*/ 8403 h 10000"/>
                <a:gd name="connsiteX357" fmla="*/ 4523 w 10000"/>
                <a:gd name="connsiteY357" fmla="*/ 8488 h 10000"/>
                <a:gd name="connsiteX358" fmla="*/ 4492 w 10000"/>
                <a:gd name="connsiteY358" fmla="*/ 8566 h 10000"/>
                <a:gd name="connsiteX359" fmla="*/ 4473 w 10000"/>
                <a:gd name="connsiteY359" fmla="*/ 8602 h 10000"/>
                <a:gd name="connsiteX360" fmla="*/ 4467 w 10000"/>
                <a:gd name="connsiteY360" fmla="*/ 8645 h 10000"/>
                <a:gd name="connsiteX361" fmla="*/ 4460 w 10000"/>
                <a:gd name="connsiteY361" fmla="*/ 8693 h 10000"/>
                <a:gd name="connsiteX362" fmla="*/ 4454 w 10000"/>
                <a:gd name="connsiteY362" fmla="*/ 8735 h 10000"/>
                <a:gd name="connsiteX363" fmla="*/ 4460 w 10000"/>
                <a:gd name="connsiteY363" fmla="*/ 8752 h 10000"/>
                <a:gd name="connsiteX364" fmla="*/ 4467 w 10000"/>
                <a:gd name="connsiteY364" fmla="*/ 8764 h 10000"/>
                <a:gd name="connsiteX365" fmla="*/ 4479 w 10000"/>
                <a:gd name="connsiteY365" fmla="*/ 8776 h 10000"/>
                <a:gd name="connsiteX366" fmla="*/ 4504 w 10000"/>
                <a:gd name="connsiteY366" fmla="*/ 8788 h 10000"/>
                <a:gd name="connsiteX367" fmla="*/ 4542 w 10000"/>
                <a:gd name="connsiteY367" fmla="*/ 8812 h 10000"/>
                <a:gd name="connsiteX368" fmla="*/ 4580 w 10000"/>
                <a:gd name="connsiteY368" fmla="*/ 8818 h 10000"/>
                <a:gd name="connsiteX369" fmla="*/ 4580 w 10000"/>
                <a:gd name="connsiteY369" fmla="*/ 9036 h 10000"/>
                <a:gd name="connsiteX370" fmla="*/ 4529 w 10000"/>
                <a:gd name="connsiteY370" fmla="*/ 9121 h 10000"/>
                <a:gd name="connsiteX371" fmla="*/ 4492 w 10000"/>
                <a:gd name="connsiteY371" fmla="*/ 9211 h 10000"/>
                <a:gd name="connsiteX372" fmla="*/ 4460 w 10000"/>
                <a:gd name="connsiteY372" fmla="*/ 9246 h 10000"/>
                <a:gd name="connsiteX373" fmla="*/ 4429 w 10000"/>
                <a:gd name="connsiteY373" fmla="*/ 9271 h 10000"/>
                <a:gd name="connsiteX374" fmla="*/ 4404 w 10000"/>
                <a:gd name="connsiteY374" fmla="*/ 9283 h 10000"/>
                <a:gd name="connsiteX375" fmla="*/ 4385 w 10000"/>
                <a:gd name="connsiteY375" fmla="*/ 9289 h 10000"/>
                <a:gd name="connsiteX376" fmla="*/ 4360 w 10000"/>
                <a:gd name="connsiteY376" fmla="*/ 9295 h 10000"/>
                <a:gd name="connsiteX377" fmla="*/ 4329 w 10000"/>
                <a:gd name="connsiteY377" fmla="*/ 9295 h 10000"/>
                <a:gd name="connsiteX378" fmla="*/ 4329 w 10000"/>
                <a:gd name="connsiteY378" fmla="*/ 9343 h 10000"/>
                <a:gd name="connsiteX379" fmla="*/ 4335 w 10000"/>
                <a:gd name="connsiteY379" fmla="*/ 9403 h 10000"/>
                <a:gd name="connsiteX380" fmla="*/ 4348 w 10000"/>
                <a:gd name="connsiteY380" fmla="*/ 9433 h 10000"/>
                <a:gd name="connsiteX381" fmla="*/ 4354 w 10000"/>
                <a:gd name="connsiteY381" fmla="*/ 9457 h 10000"/>
                <a:gd name="connsiteX382" fmla="*/ 4360 w 10000"/>
                <a:gd name="connsiteY382" fmla="*/ 9476 h 10000"/>
                <a:gd name="connsiteX383" fmla="*/ 4373 w 10000"/>
                <a:gd name="connsiteY383" fmla="*/ 9482 h 10000"/>
                <a:gd name="connsiteX384" fmla="*/ 4210 w 10000"/>
                <a:gd name="connsiteY384" fmla="*/ 9608 h 10000"/>
                <a:gd name="connsiteX385" fmla="*/ 4072 w 10000"/>
                <a:gd name="connsiteY385" fmla="*/ 9712 h 10000"/>
                <a:gd name="connsiteX386" fmla="*/ 4009 w 10000"/>
                <a:gd name="connsiteY386" fmla="*/ 9771 h 10000"/>
                <a:gd name="connsiteX387" fmla="*/ 3952 w 10000"/>
                <a:gd name="connsiteY387" fmla="*/ 9837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3 h 10000"/>
                <a:gd name="connsiteX393" fmla="*/ 3563 w 10000"/>
                <a:gd name="connsiteY393" fmla="*/ 9825 h 10000"/>
                <a:gd name="connsiteX394" fmla="*/ 3532 w 10000"/>
                <a:gd name="connsiteY394" fmla="*/ 9765 h 10000"/>
                <a:gd name="connsiteX395" fmla="*/ 3513 w 10000"/>
                <a:gd name="connsiteY395" fmla="*/ 9706 h 10000"/>
                <a:gd name="connsiteX396" fmla="*/ 3482 w 10000"/>
                <a:gd name="connsiteY396" fmla="*/ 9632 h 10000"/>
                <a:gd name="connsiteX397" fmla="*/ 3457 w 10000"/>
                <a:gd name="connsiteY397" fmla="*/ 9560 h 10000"/>
                <a:gd name="connsiteX398" fmla="*/ 3400 w 10000"/>
                <a:gd name="connsiteY398" fmla="*/ 9421 h 10000"/>
                <a:gd name="connsiteX399" fmla="*/ 3325 w 10000"/>
                <a:gd name="connsiteY399" fmla="*/ 9289 h 10000"/>
                <a:gd name="connsiteX400" fmla="*/ 3237 w 10000"/>
                <a:gd name="connsiteY400" fmla="*/ 9151 h 10000"/>
                <a:gd name="connsiteX401" fmla="*/ 3143 w 10000"/>
                <a:gd name="connsiteY401" fmla="*/ 9006 h 10000"/>
                <a:gd name="connsiteX402" fmla="*/ 3049 w 10000"/>
                <a:gd name="connsiteY402" fmla="*/ 8873 h 10000"/>
                <a:gd name="connsiteX403" fmla="*/ 2967 w 10000"/>
                <a:gd name="connsiteY403" fmla="*/ 8741 h 10000"/>
                <a:gd name="connsiteX404" fmla="*/ 2892 w 10000"/>
                <a:gd name="connsiteY404" fmla="*/ 8621 h 10000"/>
                <a:gd name="connsiteX405" fmla="*/ 2829 w 10000"/>
                <a:gd name="connsiteY405" fmla="*/ 8518 h 10000"/>
                <a:gd name="connsiteX406" fmla="*/ 2773 w 10000"/>
                <a:gd name="connsiteY406" fmla="*/ 8403 h 10000"/>
                <a:gd name="connsiteX407" fmla="*/ 2735 w 10000"/>
                <a:gd name="connsiteY407" fmla="*/ 8301 h 10000"/>
                <a:gd name="connsiteX408" fmla="*/ 2698 w 10000"/>
                <a:gd name="connsiteY408" fmla="*/ 8193 h 10000"/>
                <a:gd name="connsiteX409" fmla="*/ 2666 w 10000"/>
                <a:gd name="connsiteY409" fmla="*/ 8084 h 10000"/>
                <a:gd name="connsiteX410" fmla="*/ 2629 w 10000"/>
                <a:gd name="connsiteY410" fmla="*/ 7975 h 10000"/>
                <a:gd name="connsiteX411" fmla="*/ 2597 w 10000"/>
                <a:gd name="connsiteY411" fmla="*/ 7867 h 10000"/>
                <a:gd name="connsiteX412" fmla="*/ 2553 w 10000"/>
                <a:gd name="connsiteY412" fmla="*/ 7746 h 10000"/>
                <a:gd name="connsiteX413" fmla="*/ 2497 w 10000"/>
                <a:gd name="connsiteY413" fmla="*/ 7627 h 10000"/>
                <a:gd name="connsiteX414" fmla="*/ 2359 w 10000"/>
                <a:gd name="connsiteY414" fmla="*/ 7433 h 10000"/>
                <a:gd name="connsiteX415" fmla="*/ 2208 w 10000"/>
                <a:gd name="connsiteY415" fmla="*/ 7252 h 10000"/>
                <a:gd name="connsiteX416" fmla="*/ 2139 w 10000"/>
                <a:gd name="connsiteY416" fmla="*/ 7169 h 10000"/>
                <a:gd name="connsiteX417" fmla="*/ 2070 w 10000"/>
                <a:gd name="connsiteY417" fmla="*/ 7072 h 10000"/>
                <a:gd name="connsiteX418" fmla="*/ 2008 w 10000"/>
                <a:gd name="connsiteY418" fmla="*/ 6982 h 10000"/>
                <a:gd name="connsiteX419" fmla="*/ 1957 w 10000"/>
                <a:gd name="connsiteY419" fmla="*/ 6885 h 10000"/>
                <a:gd name="connsiteX420" fmla="*/ 1888 w 10000"/>
                <a:gd name="connsiteY420" fmla="*/ 6650 h 10000"/>
                <a:gd name="connsiteX421" fmla="*/ 1832 w 10000"/>
                <a:gd name="connsiteY421" fmla="*/ 6433 h 10000"/>
                <a:gd name="connsiteX422" fmla="*/ 1782 w 10000"/>
                <a:gd name="connsiteY422" fmla="*/ 6223 h 10000"/>
                <a:gd name="connsiteX423" fmla="*/ 1757 w 10000"/>
                <a:gd name="connsiteY423" fmla="*/ 6011 h 10000"/>
                <a:gd name="connsiteX424" fmla="*/ 1725 w 10000"/>
                <a:gd name="connsiteY424" fmla="*/ 5806 h 10000"/>
                <a:gd name="connsiteX425" fmla="*/ 1713 w 10000"/>
                <a:gd name="connsiteY425" fmla="*/ 5590 h 10000"/>
                <a:gd name="connsiteX426" fmla="*/ 1706 w 10000"/>
                <a:gd name="connsiteY426" fmla="*/ 5367 h 10000"/>
                <a:gd name="connsiteX427" fmla="*/ 1706 w 10000"/>
                <a:gd name="connsiteY427" fmla="*/ 5144 h 10000"/>
                <a:gd name="connsiteX428" fmla="*/ 1681 w 10000"/>
                <a:gd name="connsiteY428" fmla="*/ 5138 h 10000"/>
                <a:gd name="connsiteX429" fmla="*/ 1650 w 10000"/>
                <a:gd name="connsiteY429" fmla="*/ 5132 h 10000"/>
                <a:gd name="connsiteX430" fmla="*/ 1625 w 10000"/>
                <a:gd name="connsiteY430" fmla="*/ 5126 h 10000"/>
                <a:gd name="connsiteX431" fmla="*/ 1606 w 10000"/>
                <a:gd name="connsiteY431" fmla="*/ 5102 h 10000"/>
                <a:gd name="connsiteX432" fmla="*/ 1581 w 10000"/>
                <a:gd name="connsiteY432" fmla="*/ 5090 h 10000"/>
                <a:gd name="connsiteX433" fmla="*/ 1568 w 10000"/>
                <a:gd name="connsiteY433" fmla="*/ 5072 h 10000"/>
                <a:gd name="connsiteX434" fmla="*/ 1550 w 10000"/>
                <a:gd name="connsiteY434" fmla="*/ 5048 h 10000"/>
                <a:gd name="connsiteX435" fmla="*/ 1543 w 10000"/>
                <a:gd name="connsiteY435" fmla="*/ 5024 h 10000"/>
                <a:gd name="connsiteX436" fmla="*/ 1518 w 10000"/>
                <a:gd name="connsiteY436" fmla="*/ 4975 h 10000"/>
                <a:gd name="connsiteX437" fmla="*/ 1506 w 10000"/>
                <a:gd name="connsiteY437" fmla="*/ 4921 h 10000"/>
                <a:gd name="connsiteX438" fmla="*/ 1499 w 10000"/>
                <a:gd name="connsiteY438" fmla="*/ 4861 h 10000"/>
                <a:gd name="connsiteX439" fmla="*/ 1499 w 10000"/>
                <a:gd name="connsiteY439" fmla="*/ 4807 h 10000"/>
                <a:gd name="connsiteX440" fmla="*/ 1443 w 10000"/>
                <a:gd name="connsiteY440" fmla="*/ 4843 h 10000"/>
                <a:gd name="connsiteX441" fmla="*/ 1405 w 10000"/>
                <a:gd name="connsiteY441" fmla="*/ 4885 h 10000"/>
                <a:gd name="connsiteX442" fmla="*/ 1361 w 10000"/>
                <a:gd name="connsiteY442" fmla="*/ 4927 h 10000"/>
                <a:gd name="connsiteX443" fmla="*/ 1317 w 10000"/>
                <a:gd name="connsiteY443" fmla="*/ 4975 h 10000"/>
                <a:gd name="connsiteX444" fmla="*/ 1261 w 10000"/>
                <a:gd name="connsiteY444" fmla="*/ 5072 h 10000"/>
                <a:gd name="connsiteX445" fmla="*/ 1205 w 10000"/>
                <a:gd name="connsiteY445" fmla="*/ 5174 h 10000"/>
                <a:gd name="connsiteX446" fmla="*/ 1167 w 10000"/>
                <a:gd name="connsiteY446" fmla="*/ 5217 h 10000"/>
                <a:gd name="connsiteX447" fmla="*/ 1142 w 10000"/>
                <a:gd name="connsiteY447" fmla="*/ 5258 h 10000"/>
                <a:gd name="connsiteX448" fmla="*/ 1104 w 10000"/>
                <a:gd name="connsiteY448" fmla="*/ 5300 h 10000"/>
                <a:gd name="connsiteX449" fmla="*/ 1073 w 10000"/>
                <a:gd name="connsiteY449" fmla="*/ 5330 h 10000"/>
                <a:gd name="connsiteX450" fmla="*/ 1029 w 10000"/>
                <a:gd name="connsiteY450" fmla="*/ 5361 h 10000"/>
                <a:gd name="connsiteX451" fmla="*/ 985 w 10000"/>
                <a:gd name="connsiteY451" fmla="*/ 5379 h 10000"/>
                <a:gd name="connsiteX452" fmla="*/ 928 w 10000"/>
                <a:gd name="connsiteY452" fmla="*/ 5391 h 10000"/>
                <a:gd name="connsiteX453" fmla="*/ 872 w 10000"/>
                <a:gd name="connsiteY453" fmla="*/ 5397 h 10000"/>
                <a:gd name="connsiteX454" fmla="*/ 841 w 10000"/>
                <a:gd name="connsiteY454" fmla="*/ 5391 h 10000"/>
                <a:gd name="connsiteX455" fmla="*/ 797 w 10000"/>
                <a:gd name="connsiteY455" fmla="*/ 5379 h 10000"/>
                <a:gd name="connsiteX456" fmla="*/ 753 w 10000"/>
                <a:gd name="connsiteY456" fmla="*/ 5361 h 10000"/>
                <a:gd name="connsiteX457" fmla="*/ 709 w 10000"/>
                <a:gd name="connsiteY457" fmla="*/ 5330 h 10000"/>
                <a:gd name="connsiteX458" fmla="*/ 659 w 10000"/>
                <a:gd name="connsiteY458" fmla="*/ 5294 h 10000"/>
                <a:gd name="connsiteX459" fmla="*/ 609 w 10000"/>
                <a:gd name="connsiteY459" fmla="*/ 5258 h 10000"/>
                <a:gd name="connsiteX460" fmla="*/ 565 w 10000"/>
                <a:gd name="connsiteY460" fmla="*/ 5217 h 10000"/>
                <a:gd name="connsiteX461" fmla="*/ 514 w 10000"/>
                <a:gd name="connsiteY461" fmla="*/ 5168 h 10000"/>
                <a:gd name="connsiteX462" fmla="*/ 471 w 10000"/>
                <a:gd name="connsiteY462" fmla="*/ 5120 h 10000"/>
                <a:gd name="connsiteX463" fmla="*/ 433 w 10000"/>
                <a:gd name="connsiteY463" fmla="*/ 5066 h 10000"/>
                <a:gd name="connsiteX464" fmla="*/ 389 w 10000"/>
                <a:gd name="connsiteY464" fmla="*/ 5012 h 10000"/>
                <a:gd name="connsiteX465" fmla="*/ 358 w 10000"/>
                <a:gd name="connsiteY465" fmla="*/ 4957 h 10000"/>
                <a:gd name="connsiteX466" fmla="*/ 326 w 10000"/>
                <a:gd name="connsiteY466" fmla="*/ 4909 h 10000"/>
                <a:gd name="connsiteX467" fmla="*/ 307 w 10000"/>
                <a:gd name="connsiteY467" fmla="*/ 4861 h 10000"/>
                <a:gd name="connsiteX468" fmla="*/ 295 w 10000"/>
                <a:gd name="connsiteY468" fmla="*/ 4813 h 10000"/>
                <a:gd name="connsiteX469" fmla="*/ 289 w 10000"/>
                <a:gd name="connsiteY469" fmla="*/ 4764 h 10000"/>
                <a:gd name="connsiteX470" fmla="*/ 320 w 10000"/>
                <a:gd name="connsiteY470" fmla="*/ 4746 h 10000"/>
                <a:gd name="connsiteX471" fmla="*/ 395 w 10000"/>
                <a:gd name="connsiteY471" fmla="*/ 4711 h 10000"/>
                <a:gd name="connsiteX472" fmla="*/ 483 w 10000"/>
                <a:gd name="connsiteY472" fmla="*/ 4675 h 10000"/>
                <a:gd name="connsiteX473" fmla="*/ 533 w 10000"/>
                <a:gd name="connsiteY473" fmla="*/ 4657 h 10000"/>
                <a:gd name="connsiteX474" fmla="*/ 483 w 10000"/>
                <a:gd name="connsiteY474" fmla="*/ 4657 h 10000"/>
                <a:gd name="connsiteX475" fmla="*/ 420 w 10000"/>
                <a:gd name="connsiteY475" fmla="*/ 4651 h 10000"/>
                <a:gd name="connsiteX476" fmla="*/ 370 w 10000"/>
                <a:gd name="connsiteY476" fmla="*/ 4639 h 10000"/>
                <a:gd name="connsiteX477" fmla="*/ 320 w 10000"/>
                <a:gd name="connsiteY477" fmla="*/ 4633 h 10000"/>
                <a:gd name="connsiteX478" fmla="*/ 276 w 10000"/>
                <a:gd name="connsiteY478" fmla="*/ 4614 h 10000"/>
                <a:gd name="connsiteX479" fmla="*/ 232 w 10000"/>
                <a:gd name="connsiteY479" fmla="*/ 4602 h 10000"/>
                <a:gd name="connsiteX480" fmla="*/ 188 w 10000"/>
                <a:gd name="connsiteY480" fmla="*/ 4584 h 10000"/>
                <a:gd name="connsiteX481" fmla="*/ 157 w 10000"/>
                <a:gd name="connsiteY481" fmla="*/ 4559 h 10000"/>
                <a:gd name="connsiteX482" fmla="*/ 132 w 10000"/>
                <a:gd name="connsiteY482" fmla="*/ 4535 h 10000"/>
                <a:gd name="connsiteX483" fmla="*/ 100 w 10000"/>
                <a:gd name="connsiteY483" fmla="*/ 4511 h 10000"/>
                <a:gd name="connsiteX484" fmla="*/ 75 w 10000"/>
                <a:gd name="connsiteY484" fmla="*/ 4481 h 10000"/>
                <a:gd name="connsiteX485" fmla="*/ 50 w 10000"/>
                <a:gd name="connsiteY485" fmla="*/ 4457 h 10000"/>
                <a:gd name="connsiteX486" fmla="*/ 19 w 10000"/>
                <a:gd name="connsiteY486" fmla="*/ 4385 h 10000"/>
                <a:gd name="connsiteX487" fmla="*/ 0 w 10000"/>
                <a:gd name="connsiteY487" fmla="*/ 4318 h 10000"/>
                <a:gd name="connsiteX488" fmla="*/ 63 w 10000"/>
                <a:gd name="connsiteY488" fmla="*/ 4270 h 10000"/>
                <a:gd name="connsiteX489" fmla="*/ 132 w 10000"/>
                <a:gd name="connsiteY489" fmla="*/ 4234 h 10000"/>
                <a:gd name="connsiteX490" fmla="*/ 201 w 10000"/>
                <a:gd name="connsiteY490" fmla="*/ 4205 h 10000"/>
                <a:gd name="connsiteX491" fmla="*/ 276 w 10000"/>
                <a:gd name="connsiteY491" fmla="*/ 4181 h 10000"/>
                <a:gd name="connsiteX492" fmla="*/ 420 w 10000"/>
                <a:gd name="connsiteY492" fmla="*/ 4151 h 10000"/>
                <a:gd name="connsiteX493" fmla="*/ 565 w 10000"/>
                <a:gd name="connsiteY493" fmla="*/ 4126 h 10000"/>
                <a:gd name="connsiteX494" fmla="*/ 640 w 10000"/>
                <a:gd name="connsiteY494" fmla="*/ 4114 h 10000"/>
                <a:gd name="connsiteX495" fmla="*/ 709 w 10000"/>
                <a:gd name="connsiteY495" fmla="*/ 4090 h 10000"/>
                <a:gd name="connsiteX496" fmla="*/ 772 w 10000"/>
                <a:gd name="connsiteY496" fmla="*/ 4072 h 10000"/>
                <a:gd name="connsiteX497" fmla="*/ 834 w 10000"/>
                <a:gd name="connsiteY497" fmla="*/ 4042 h 10000"/>
                <a:gd name="connsiteX498" fmla="*/ 891 w 10000"/>
                <a:gd name="connsiteY498" fmla="*/ 4012 h 10000"/>
                <a:gd name="connsiteX499" fmla="*/ 947 w 10000"/>
                <a:gd name="connsiteY499" fmla="*/ 3964 h 10000"/>
                <a:gd name="connsiteX500" fmla="*/ 997 w 10000"/>
                <a:gd name="connsiteY500" fmla="*/ 3909 h 10000"/>
                <a:gd name="connsiteX501" fmla="*/ 1035 w 10000"/>
                <a:gd name="connsiteY501" fmla="*/ 3842 h 10000"/>
                <a:gd name="connsiteX502" fmla="*/ 1010 w 10000"/>
                <a:gd name="connsiteY502" fmla="*/ 3830 h 10000"/>
                <a:gd name="connsiteX503" fmla="*/ 985 w 10000"/>
                <a:gd name="connsiteY503" fmla="*/ 3812 h 10000"/>
                <a:gd name="connsiteX504" fmla="*/ 947 w 10000"/>
                <a:gd name="connsiteY504" fmla="*/ 3788 h 10000"/>
                <a:gd name="connsiteX505" fmla="*/ 910 w 10000"/>
                <a:gd name="connsiteY505" fmla="*/ 3752 h 10000"/>
                <a:gd name="connsiteX506" fmla="*/ 822 w 10000"/>
                <a:gd name="connsiteY506" fmla="*/ 3680 h 10000"/>
                <a:gd name="connsiteX507" fmla="*/ 740 w 10000"/>
                <a:gd name="connsiteY507" fmla="*/ 3596 h 10000"/>
                <a:gd name="connsiteX508" fmla="*/ 665 w 10000"/>
                <a:gd name="connsiteY508" fmla="*/ 3505 h 10000"/>
                <a:gd name="connsiteX509" fmla="*/ 596 w 10000"/>
                <a:gd name="connsiteY509" fmla="*/ 3409 h 10000"/>
                <a:gd name="connsiteX510" fmla="*/ 577 w 10000"/>
                <a:gd name="connsiteY510" fmla="*/ 3367 h 10000"/>
                <a:gd name="connsiteX511" fmla="*/ 558 w 10000"/>
                <a:gd name="connsiteY511" fmla="*/ 3325 h 10000"/>
                <a:gd name="connsiteX512" fmla="*/ 540 w 10000"/>
                <a:gd name="connsiteY512" fmla="*/ 3282 h 10000"/>
                <a:gd name="connsiteX513" fmla="*/ 533 w 10000"/>
                <a:gd name="connsiteY513" fmla="*/ 3246 h 10000"/>
                <a:gd name="connsiteX514" fmla="*/ 508 w 10000"/>
                <a:gd name="connsiteY514" fmla="*/ 3240 h 10000"/>
                <a:gd name="connsiteX515" fmla="*/ 483 w 10000"/>
                <a:gd name="connsiteY515" fmla="*/ 3234 h 10000"/>
                <a:gd name="connsiteX516" fmla="*/ 458 w 10000"/>
                <a:gd name="connsiteY516" fmla="*/ 3222 h 10000"/>
                <a:gd name="connsiteX517" fmla="*/ 439 w 10000"/>
                <a:gd name="connsiteY517" fmla="*/ 3199 h 10000"/>
                <a:gd name="connsiteX518" fmla="*/ 402 w 10000"/>
                <a:gd name="connsiteY518" fmla="*/ 3156 h 10000"/>
                <a:gd name="connsiteX519" fmla="*/ 370 w 10000"/>
                <a:gd name="connsiteY519" fmla="*/ 3096 h 10000"/>
                <a:gd name="connsiteX520" fmla="*/ 370 w 10000"/>
                <a:gd name="connsiteY520" fmla="*/ 2951 h 10000"/>
                <a:gd name="connsiteX521" fmla="*/ 458 w 10000"/>
                <a:gd name="connsiteY521" fmla="*/ 2945 h 10000"/>
                <a:gd name="connsiteX522" fmla="*/ 540 w 10000"/>
                <a:gd name="connsiteY522" fmla="*/ 2939 h 10000"/>
                <a:gd name="connsiteX523" fmla="*/ 615 w 10000"/>
                <a:gd name="connsiteY523" fmla="*/ 2927 h 10000"/>
                <a:gd name="connsiteX524" fmla="*/ 684 w 10000"/>
                <a:gd name="connsiteY524" fmla="*/ 2903 h 10000"/>
                <a:gd name="connsiteX525" fmla="*/ 747 w 10000"/>
                <a:gd name="connsiteY525" fmla="*/ 2885 h 10000"/>
                <a:gd name="connsiteX526" fmla="*/ 809 w 10000"/>
                <a:gd name="connsiteY526" fmla="*/ 2854 h 10000"/>
                <a:gd name="connsiteX527" fmla="*/ 866 w 10000"/>
                <a:gd name="connsiteY527" fmla="*/ 2824 h 10000"/>
                <a:gd name="connsiteX528" fmla="*/ 922 w 10000"/>
                <a:gd name="connsiteY528" fmla="*/ 2788 h 10000"/>
                <a:gd name="connsiteX529" fmla="*/ 966 w 10000"/>
                <a:gd name="connsiteY529" fmla="*/ 2746 h 10000"/>
                <a:gd name="connsiteX530" fmla="*/ 1016 w 10000"/>
                <a:gd name="connsiteY530" fmla="*/ 2705 h 10000"/>
                <a:gd name="connsiteX531" fmla="*/ 1060 w 10000"/>
                <a:gd name="connsiteY531" fmla="*/ 2663 h 10000"/>
                <a:gd name="connsiteX532" fmla="*/ 1098 w 10000"/>
                <a:gd name="connsiteY532" fmla="*/ 2614 h 10000"/>
                <a:gd name="connsiteX533" fmla="*/ 1167 w 10000"/>
                <a:gd name="connsiteY533" fmla="*/ 2518 h 10000"/>
                <a:gd name="connsiteX534" fmla="*/ 1236 w 10000"/>
                <a:gd name="connsiteY534" fmla="*/ 2408 h 10000"/>
                <a:gd name="connsiteX535" fmla="*/ 1355 w 10000"/>
                <a:gd name="connsiteY535" fmla="*/ 2192 h 10000"/>
                <a:gd name="connsiteX536" fmla="*/ 1474 w 10000"/>
                <a:gd name="connsiteY536" fmla="*/ 1975 h 10000"/>
                <a:gd name="connsiteX537" fmla="*/ 1543 w 10000"/>
                <a:gd name="connsiteY537" fmla="*/ 1879 h 10000"/>
                <a:gd name="connsiteX538" fmla="*/ 1612 w 10000"/>
                <a:gd name="connsiteY538" fmla="*/ 1794 h 10000"/>
                <a:gd name="connsiteX539" fmla="*/ 1650 w 10000"/>
                <a:gd name="connsiteY539" fmla="*/ 1745 h 10000"/>
                <a:gd name="connsiteX540" fmla="*/ 1694 w 10000"/>
                <a:gd name="connsiteY540" fmla="*/ 1709 h 10000"/>
                <a:gd name="connsiteX541" fmla="*/ 1738 w 10000"/>
                <a:gd name="connsiteY541" fmla="*/ 1680 h 10000"/>
                <a:gd name="connsiteX542" fmla="*/ 1788 w 10000"/>
                <a:gd name="connsiteY542" fmla="*/ 1650 h 10000"/>
                <a:gd name="connsiteX543" fmla="*/ 1750 w 10000"/>
                <a:gd name="connsiteY543" fmla="*/ 1577 h 10000"/>
                <a:gd name="connsiteX544" fmla="*/ 1719 w 10000"/>
                <a:gd name="connsiteY544" fmla="*/ 1511 h 10000"/>
                <a:gd name="connsiteX545" fmla="*/ 1713 w 10000"/>
                <a:gd name="connsiteY545" fmla="*/ 1481 h 10000"/>
                <a:gd name="connsiteX546" fmla="*/ 1706 w 10000"/>
                <a:gd name="connsiteY546" fmla="*/ 1451 h 10000"/>
                <a:gd name="connsiteX547" fmla="*/ 1706 w 10000"/>
                <a:gd name="connsiteY547" fmla="*/ 1415 h 10000"/>
                <a:gd name="connsiteX548" fmla="*/ 1706 w 10000"/>
                <a:gd name="connsiteY548" fmla="*/ 1385 h 10000"/>
                <a:gd name="connsiteX549" fmla="*/ 1713 w 10000"/>
                <a:gd name="connsiteY549" fmla="*/ 1354 h 10000"/>
                <a:gd name="connsiteX550" fmla="*/ 1719 w 10000"/>
                <a:gd name="connsiteY550" fmla="*/ 1324 h 10000"/>
                <a:gd name="connsiteX551" fmla="*/ 1731 w 10000"/>
                <a:gd name="connsiteY551" fmla="*/ 1300 h 10000"/>
                <a:gd name="connsiteX552" fmla="*/ 1757 w 10000"/>
                <a:gd name="connsiteY552" fmla="*/ 1276 h 10000"/>
                <a:gd name="connsiteX553" fmla="*/ 1775 w 10000"/>
                <a:gd name="connsiteY553" fmla="*/ 1258 h 10000"/>
                <a:gd name="connsiteX554" fmla="*/ 1801 w 10000"/>
                <a:gd name="connsiteY554" fmla="*/ 1240 h 10000"/>
                <a:gd name="connsiteX555" fmla="*/ 1838 w 10000"/>
                <a:gd name="connsiteY555" fmla="*/ 1222 h 10000"/>
                <a:gd name="connsiteX556" fmla="*/ 1870 w 10000"/>
                <a:gd name="connsiteY556" fmla="*/ 1204 h 10000"/>
                <a:gd name="connsiteX557" fmla="*/ 1688 w 10000"/>
                <a:gd name="connsiteY557" fmla="*/ 1042 h 10000"/>
                <a:gd name="connsiteX558" fmla="*/ 1550 w 10000"/>
                <a:gd name="connsiteY558" fmla="*/ 920 h 10000"/>
                <a:gd name="connsiteX559" fmla="*/ 1487 w 10000"/>
                <a:gd name="connsiteY559" fmla="*/ 860 h 10000"/>
                <a:gd name="connsiteX560" fmla="*/ 1424 w 10000"/>
                <a:gd name="connsiteY560" fmla="*/ 794 h 10000"/>
                <a:gd name="connsiteX561" fmla="*/ 1361 w 10000"/>
                <a:gd name="connsiteY561" fmla="*/ 709 h 10000"/>
                <a:gd name="connsiteX562" fmla="*/ 1286 w 10000"/>
                <a:gd name="connsiteY562" fmla="*/ 608 h 10000"/>
                <a:gd name="connsiteX563" fmla="*/ 1286 w 10000"/>
                <a:gd name="connsiteY563" fmla="*/ 349 h 10000"/>
                <a:gd name="connsiteX564" fmla="*/ 1437 w 10000"/>
                <a:gd name="connsiteY564" fmla="*/ 349 h 10000"/>
                <a:gd name="connsiteX565" fmla="*/ 1606 w 10000"/>
                <a:gd name="connsiteY565" fmla="*/ 337 h 10000"/>
                <a:gd name="connsiteX566" fmla="*/ 1694 w 10000"/>
                <a:gd name="connsiteY566" fmla="*/ 331 h 10000"/>
                <a:gd name="connsiteX567" fmla="*/ 1775 w 10000"/>
                <a:gd name="connsiteY567" fmla="*/ 318 h 10000"/>
                <a:gd name="connsiteX568" fmla="*/ 1863 w 10000"/>
                <a:gd name="connsiteY568" fmla="*/ 299 h 10000"/>
                <a:gd name="connsiteX569" fmla="*/ 1945 w 10000"/>
                <a:gd name="connsiteY569" fmla="*/ 281 h 10000"/>
                <a:gd name="connsiteX570" fmla="*/ 2020 w 10000"/>
                <a:gd name="connsiteY570" fmla="*/ 263 h 10000"/>
                <a:gd name="connsiteX571" fmla="*/ 2102 w 10000"/>
                <a:gd name="connsiteY571" fmla="*/ 233 h 10000"/>
                <a:gd name="connsiteX572" fmla="*/ 2177 w 10000"/>
                <a:gd name="connsiteY572" fmla="*/ 203 h 10000"/>
                <a:gd name="connsiteX573" fmla="*/ 2240 w 10000"/>
                <a:gd name="connsiteY573" fmla="*/ 162 h 10000"/>
                <a:gd name="connsiteX574" fmla="*/ 2296 w 10000"/>
                <a:gd name="connsiteY574" fmla="*/ 120 h 10000"/>
                <a:gd name="connsiteX575" fmla="*/ 2587 w 10000"/>
                <a:gd name="connsiteY575" fmla="*/ 38 h 10000"/>
                <a:gd name="connsiteX576" fmla="*/ 2631 w 10000"/>
                <a:gd name="connsiteY576" fmla="*/ 32 h 10000"/>
                <a:gd name="connsiteX577" fmla="*/ 2415 w 10000"/>
                <a:gd name="connsiteY577"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2949 w 10000"/>
                <a:gd name="connsiteY6" fmla="*/ 94 h 10000"/>
                <a:gd name="connsiteX7" fmla="*/ 3120 w 10000"/>
                <a:gd name="connsiteY7" fmla="*/ 345 h 10000"/>
                <a:gd name="connsiteX8" fmla="*/ 3152 w 10000"/>
                <a:gd name="connsiteY8" fmla="*/ 463 h 10000"/>
                <a:gd name="connsiteX9" fmla="*/ 3093 w 10000"/>
                <a:gd name="connsiteY9" fmla="*/ 493 h 10000"/>
                <a:gd name="connsiteX10" fmla="*/ 2992 w 10000"/>
                <a:gd name="connsiteY10" fmla="*/ 584 h 10000"/>
                <a:gd name="connsiteX11" fmla="*/ 3043 w 10000"/>
                <a:gd name="connsiteY11" fmla="*/ 608 h 10000"/>
                <a:gd name="connsiteX12" fmla="*/ 3087 w 10000"/>
                <a:gd name="connsiteY12" fmla="*/ 650 h 10000"/>
                <a:gd name="connsiteX13" fmla="*/ 3130 w 10000"/>
                <a:gd name="connsiteY13" fmla="*/ 697 h 10000"/>
                <a:gd name="connsiteX14" fmla="*/ 3174 w 10000"/>
                <a:gd name="connsiteY14" fmla="*/ 746 h 10000"/>
                <a:gd name="connsiteX15" fmla="*/ 3212 w 10000"/>
                <a:gd name="connsiteY15" fmla="*/ 806 h 10000"/>
                <a:gd name="connsiteX16" fmla="*/ 3256 w 10000"/>
                <a:gd name="connsiteY16" fmla="*/ 860 h 10000"/>
                <a:gd name="connsiteX17" fmla="*/ 3281 w 10000"/>
                <a:gd name="connsiteY17" fmla="*/ 920 h 10000"/>
                <a:gd name="connsiteX18" fmla="*/ 3312 w 10000"/>
                <a:gd name="connsiteY18" fmla="*/ 987 h 10000"/>
                <a:gd name="connsiteX19" fmla="*/ 3331 w 10000"/>
                <a:gd name="connsiteY19" fmla="*/ 1054 h 10000"/>
                <a:gd name="connsiteX20" fmla="*/ 3043 w 10000"/>
                <a:gd name="connsiteY20" fmla="*/ 1054 h 10000"/>
                <a:gd name="connsiteX21" fmla="*/ 3043 w 10000"/>
                <a:gd name="connsiteY21" fmla="*/ 1240 h 10000"/>
                <a:gd name="connsiteX22" fmla="*/ 3074 w 10000"/>
                <a:gd name="connsiteY22" fmla="*/ 1318 h 10000"/>
                <a:gd name="connsiteX23" fmla="*/ 3118 w 10000"/>
                <a:gd name="connsiteY23" fmla="*/ 1385 h 10000"/>
                <a:gd name="connsiteX24" fmla="*/ 3168 w 10000"/>
                <a:gd name="connsiteY24" fmla="*/ 1445 h 10000"/>
                <a:gd name="connsiteX25" fmla="*/ 3225 w 10000"/>
                <a:gd name="connsiteY25" fmla="*/ 1487 h 10000"/>
                <a:gd name="connsiteX26" fmla="*/ 3281 w 10000"/>
                <a:gd name="connsiteY26" fmla="*/ 1529 h 10000"/>
                <a:gd name="connsiteX27" fmla="*/ 3350 w 10000"/>
                <a:gd name="connsiteY27" fmla="*/ 1559 h 10000"/>
                <a:gd name="connsiteX28" fmla="*/ 3413 w 10000"/>
                <a:gd name="connsiteY28" fmla="*/ 1589 h 10000"/>
                <a:gd name="connsiteX29" fmla="*/ 3488 w 10000"/>
                <a:gd name="connsiteY29" fmla="*/ 1614 h 10000"/>
                <a:gd name="connsiteX30" fmla="*/ 3626 w 10000"/>
                <a:gd name="connsiteY30" fmla="*/ 1668 h 10000"/>
                <a:gd name="connsiteX31" fmla="*/ 3764 w 10000"/>
                <a:gd name="connsiteY31" fmla="*/ 1721 h 10000"/>
                <a:gd name="connsiteX32" fmla="*/ 3827 w 10000"/>
                <a:gd name="connsiteY32" fmla="*/ 1758 h 10000"/>
                <a:gd name="connsiteX33" fmla="*/ 3890 w 10000"/>
                <a:gd name="connsiteY33" fmla="*/ 1806 h 10000"/>
                <a:gd name="connsiteX34" fmla="*/ 3946 w 10000"/>
                <a:gd name="connsiteY34" fmla="*/ 1855 h 10000"/>
                <a:gd name="connsiteX35" fmla="*/ 4003 w 10000"/>
                <a:gd name="connsiteY35" fmla="*/ 1909 h 10000"/>
                <a:gd name="connsiteX36" fmla="*/ 3959 w 10000"/>
                <a:gd name="connsiteY36" fmla="*/ 2470 h 10000"/>
                <a:gd name="connsiteX37" fmla="*/ 4034 w 10000"/>
                <a:gd name="connsiteY37" fmla="*/ 2524 h 10000"/>
                <a:gd name="connsiteX38" fmla="*/ 4141 w 10000"/>
                <a:gd name="connsiteY38" fmla="*/ 2590 h 10000"/>
                <a:gd name="connsiteX39" fmla="*/ 4260 w 10000"/>
                <a:gd name="connsiteY39" fmla="*/ 2650 h 10000"/>
                <a:gd name="connsiteX40" fmla="*/ 4398 w 10000"/>
                <a:gd name="connsiteY40" fmla="*/ 2705 h 10000"/>
                <a:gd name="connsiteX41" fmla="*/ 4536 w 10000"/>
                <a:gd name="connsiteY41" fmla="*/ 2758 h 10000"/>
                <a:gd name="connsiteX42" fmla="*/ 4668 w 10000"/>
                <a:gd name="connsiteY42" fmla="*/ 2800 h 10000"/>
                <a:gd name="connsiteX43" fmla="*/ 4724 w 10000"/>
                <a:gd name="connsiteY43" fmla="*/ 2818 h 10000"/>
                <a:gd name="connsiteX44" fmla="*/ 4780 w 10000"/>
                <a:gd name="connsiteY44" fmla="*/ 2830 h 10000"/>
                <a:gd name="connsiteX45" fmla="*/ 4831 w 10000"/>
                <a:gd name="connsiteY45" fmla="*/ 2836 h 10000"/>
                <a:gd name="connsiteX46" fmla="*/ 4875 w 10000"/>
                <a:gd name="connsiteY46" fmla="*/ 2836 h 10000"/>
                <a:gd name="connsiteX47" fmla="*/ 4887 w 10000"/>
                <a:gd name="connsiteY47" fmla="*/ 2879 h 10000"/>
                <a:gd name="connsiteX48" fmla="*/ 4918 w 10000"/>
                <a:gd name="connsiteY48" fmla="*/ 2915 h 10000"/>
                <a:gd name="connsiteX49" fmla="*/ 4950 w 10000"/>
                <a:gd name="connsiteY49" fmla="*/ 2933 h 10000"/>
                <a:gd name="connsiteX50" fmla="*/ 4987 w 10000"/>
                <a:gd name="connsiteY50" fmla="*/ 2945 h 10000"/>
                <a:gd name="connsiteX51" fmla="*/ 5019 w 10000"/>
                <a:gd name="connsiteY51" fmla="*/ 2957 h 10000"/>
                <a:gd name="connsiteX52" fmla="*/ 5063 w 10000"/>
                <a:gd name="connsiteY52" fmla="*/ 2957 h 10000"/>
                <a:gd name="connsiteX53" fmla="*/ 5107 w 10000"/>
                <a:gd name="connsiteY53" fmla="*/ 2951 h 10000"/>
                <a:gd name="connsiteX54" fmla="*/ 5157 w 10000"/>
                <a:gd name="connsiteY54" fmla="*/ 2945 h 10000"/>
                <a:gd name="connsiteX55" fmla="*/ 5245 w 10000"/>
                <a:gd name="connsiteY55" fmla="*/ 2927 h 10000"/>
                <a:gd name="connsiteX56" fmla="*/ 5345 w 10000"/>
                <a:gd name="connsiteY56" fmla="*/ 2903 h 10000"/>
                <a:gd name="connsiteX57" fmla="*/ 5383 w 10000"/>
                <a:gd name="connsiteY57" fmla="*/ 2903 h 10000"/>
                <a:gd name="connsiteX58" fmla="*/ 5427 w 10000"/>
                <a:gd name="connsiteY58" fmla="*/ 2897 h 10000"/>
                <a:gd name="connsiteX59" fmla="*/ 5464 w 10000"/>
                <a:gd name="connsiteY59" fmla="*/ 2903 h 10000"/>
                <a:gd name="connsiteX60" fmla="*/ 5502 w 10000"/>
                <a:gd name="connsiteY60" fmla="*/ 2909 h 10000"/>
                <a:gd name="connsiteX61" fmla="*/ 5558 w 10000"/>
                <a:gd name="connsiteY61" fmla="*/ 2945 h 10000"/>
                <a:gd name="connsiteX62" fmla="*/ 5596 w 10000"/>
                <a:gd name="connsiteY62" fmla="*/ 2975 h 10000"/>
                <a:gd name="connsiteX63" fmla="*/ 5634 w 10000"/>
                <a:gd name="connsiteY63" fmla="*/ 3017 h 10000"/>
                <a:gd name="connsiteX64" fmla="*/ 5665 w 10000"/>
                <a:gd name="connsiteY64" fmla="*/ 3053 h 10000"/>
                <a:gd name="connsiteX65" fmla="*/ 5696 w 10000"/>
                <a:gd name="connsiteY65" fmla="*/ 3090 h 10000"/>
                <a:gd name="connsiteX66" fmla="*/ 5734 w 10000"/>
                <a:gd name="connsiteY66" fmla="*/ 3126 h 10000"/>
                <a:gd name="connsiteX67" fmla="*/ 5759 w 10000"/>
                <a:gd name="connsiteY67" fmla="*/ 3144 h 10000"/>
                <a:gd name="connsiteX68" fmla="*/ 5778 w 10000"/>
                <a:gd name="connsiteY68" fmla="*/ 3156 h 10000"/>
                <a:gd name="connsiteX69" fmla="*/ 5803 w 10000"/>
                <a:gd name="connsiteY69" fmla="*/ 3168 h 10000"/>
                <a:gd name="connsiteX70" fmla="*/ 5834 w 10000"/>
                <a:gd name="connsiteY70" fmla="*/ 3174 h 10000"/>
                <a:gd name="connsiteX71" fmla="*/ 5935 w 10000"/>
                <a:gd name="connsiteY71" fmla="*/ 3193 h 10000"/>
                <a:gd name="connsiteX72" fmla="*/ 6073 w 10000"/>
                <a:gd name="connsiteY72" fmla="*/ 3228 h 10000"/>
                <a:gd name="connsiteX73" fmla="*/ 6230 w 10000"/>
                <a:gd name="connsiteY73" fmla="*/ 3264 h 10000"/>
                <a:gd name="connsiteX74" fmla="*/ 6405 w 10000"/>
                <a:gd name="connsiteY74" fmla="*/ 3307 h 10000"/>
                <a:gd name="connsiteX75" fmla="*/ 6568 w 10000"/>
                <a:gd name="connsiteY75" fmla="*/ 3337 h 10000"/>
                <a:gd name="connsiteX76" fmla="*/ 6719 w 10000"/>
                <a:gd name="connsiteY76" fmla="*/ 3361 h 10000"/>
                <a:gd name="connsiteX77" fmla="*/ 6788 w 10000"/>
                <a:gd name="connsiteY77" fmla="*/ 3367 h 10000"/>
                <a:gd name="connsiteX78" fmla="*/ 6838 w 10000"/>
                <a:gd name="connsiteY78" fmla="*/ 3373 h 10000"/>
                <a:gd name="connsiteX79" fmla="*/ 6888 w 10000"/>
                <a:gd name="connsiteY79" fmla="*/ 3367 h 10000"/>
                <a:gd name="connsiteX80" fmla="*/ 6913 w 10000"/>
                <a:gd name="connsiteY80" fmla="*/ 3355 h 10000"/>
                <a:gd name="connsiteX81" fmla="*/ 6888 w 10000"/>
                <a:gd name="connsiteY81" fmla="*/ 3313 h 10000"/>
                <a:gd name="connsiteX82" fmla="*/ 6857 w 10000"/>
                <a:gd name="connsiteY82" fmla="*/ 3264 h 10000"/>
                <a:gd name="connsiteX83" fmla="*/ 6838 w 10000"/>
                <a:gd name="connsiteY83" fmla="*/ 3216 h 10000"/>
                <a:gd name="connsiteX84" fmla="*/ 6826 w 10000"/>
                <a:gd name="connsiteY84" fmla="*/ 3162 h 10000"/>
                <a:gd name="connsiteX85" fmla="*/ 6794 w 10000"/>
                <a:gd name="connsiteY85" fmla="*/ 3071 h 10000"/>
                <a:gd name="connsiteX86" fmla="*/ 6788 w 10000"/>
                <a:gd name="connsiteY86" fmla="*/ 3023 h 10000"/>
                <a:gd name="connsiteX87" fmla="*/ 6788 w 10000"/>
                <a:gd name="connsiteY87" fmla="*/ 2836 h 10000"/>
                <a:gd name="connsiteX88" fmla="*/ 6788 w 10000"/>
                <a:gd name="connsiteY88" fmla="*/ 2650 h 10000"/>
                <a:gd name="connsiteX89" fmla="*/ 6995 w 10000"/>
                <a:gd name="connsiteY89" fmla="*/ 2650 h 10000"/>
                <a:gd name="connsiteX90" fmla="*/ 7033 w 10000"/>
                <a:gd name="connsiteY90" fmla="*/ 2716 h 10000"/>
                <a:gd name="connsiteX91" fmla="*/ 7058 w 10000"/>
                <a:gd name="connsiteY91" fmla="*/ 2758 h 10000"/>
                <a:gd name="connsiteX92" fmla="*/ 7095 w 10000"/>
                <a:gd name="connsiteY92" fmla="*/ 2794 h 10000"/>
                <a:gd name="connsiteX93" fmla="*/ 7127 w 10000"/>
                <a:gd name="connsiteY93" fmla="*/ 2836 h 10000"/>
                <a:gd name="connsiteX94" fmla="*/ 7120 w 10000"/>
                <a:gd name="connsiteY94" fmla="*/ 2933 h 10000"/>
                <a:gd name="connsiteX95" fmla="*/ 7102 w 10000"/>
                <a:gd name="connsiteY95" fmla="*/ 2993 h 10000"/>
                <a:gd name="connsiteX96" fmla="*/ 7089 w 10000"/>
                <a:gd name="connsiteY96" fmla="*/ 3041 h 10000"/>
                <a:gd name="connsiteX97" fmla="*/ 7077 w 10000"/>
                <a:gd name="connsiteY97" fmla="*/ 3096 h 10000"/>
                <a:gd name="connsiteX98" fmla="*/ 7208 w 10000"/>
                <a:gd name="connsiteY98" fmla="*/ 3132 h 10000"/>
                <a:gd name="connsiteX99" fmla="*/ 7334 w 10000"/>
                <a:gd name="connsiteY99" fmla="*/ 3168 h 10000"/>
                <a:gd name="connsiteX100" fmla="*/ 7396 w 10000"/>
                <a:gd name="connsiteY100" fmla="*/ 3187 h 10000"/>
                <a:gd name="connsiteX101" fmla="*/ 7459 w 10000"/>
                <a:gd name="connsiteY101" fmla="*/ 3199 h 10000"/>
                <a:gd name="connsiteX102" fmla="*/ 7522 w 10000"/>
                <a:gd name="connsiteY102" fmla="*/ 3205 h 10000"/>
                <a:gd name="connsiteX103" fmla="*/ 7585 w 10000"/>
                <a:gd name="connsiteY103" fmla="*/ 3210 h 10000"/>
                <a:gd name="connsiteX104" fmla="*/ 7591 w 10000"/>
                <a:gd name="connsiteY104" fmla="*/ 3234 h 10000"/>
                <a:gd name="connsiteX105" fmla="*/ 7604 w 10000"/>
                <a:gd name="connsiteY105" fmla="*/ 3258 h 10000"/>
                <a:gd name="connsiteX106" fmla="*/ 7622 w 10000"/>
                <a:gd name="connsiteY106" fmla="*/ 3276 h 10000"/>
                <a:gd name="connsiteX107" fmla="*/ 7654 w 10000"/>
                <a:gd name="connsiteY107" fmla="*/ 3294 h 10000"/>
                <a:gd name="connsiteX108" fmla="*/ 7704 w 10000"/>
                <a:gd name="connsiteY108" fmla="*/ 3313 h 10000"/>
                <a:gd name="connsiteX109" fmla="*/ 7748 w 10000"/>
                <a:gd name="connsiteY109" fmla="*/ 3319 h 10000"/>
                <a:gd name="connsiteX110" fmla="*/ 7798 w 10000"/>
                <a:gd name="connsiteY110" fmla="*/ 3319 h 10000"/>
                <a:gd name="connsiteX111" fmla="*/ 7836 w 10000"/>
                <a:gd name="connsiteY111" fmla="*/ 3307 h 10000"/>
                <a:gd name="connsiteX112" fmla="*/ 7880 w 10000"/>
                <a:gd name="connsiteY112" fmla="*/ 3288 h 10000"/>
                <a:gd name="connsiteX113" fmla="*/ 7911 w 10000"/>
                <a:gd name="connsiteY113" fmla="*/ 3270 h 10000"/>
                <a:gd name="connsiteX114" fmla="*/ 7949 w 10000"/>
                <a:gd name="connsiteY114" fmla="*/ 3246 h 10000"/>
                <a:gd name="connsiteX115" fmla="*/ 7980 w 10000"/>
                <a:gd name="connsiteY115" fmla="*/ 3216 h 10000"/>
                <a:gd name="connsiteX116" fmla="*/ 8011 w 10000"/>
                <a:gd name="connsiteY116" fmla="*/ 3187 h 10000"/>
                <a:gd name="connsiteX117" fmla="*/ 8036 w 10000"/>
                <a:gd name="connsiteY117" fmla="*/ 3156 h 10000"/>
                <a:gd name="connsiteX118" fmla="*/ 8087 w 10000"/>
                <a:gd name="connsiteY118" fmla="*/ 3077 h 10000"/>
                <a:gd name="connsiteX119" fmla="*/ 8118 w 10000"/>
                <a:gd name="connsiteY119" fmla="*/ 3005 h 10000"/>
                <a:gd name="connsiteX120" fmla="*/ 8149 w 10000"/>
                <a:gd name="connsiteY120" fmla="*/ 2939 h 10000"/>
                <a:gd name="connsiteX121" fmla="*/ 8168 w 10000"/>
                <a:gd name="connsiteY121" fmla="*/ 2873 h 10000"/>
                <a:gd name="connsiteX122" fmla="*/ 8231 w 10000"/>
                <a:gd name="connsiteY122" fmla="*/ 2806 h 10000"/>
                <a:gd name="connsiteX123" fmla="*/ 8294 w 10000"/>
                <a:gd name="connsiteY123" fmla="*/ 2740 h 10000"/>
                <a:gd name="connsiteX124" fmla="*/ 8363 w 10000"/>
                <a:gd name="connsiteY124" fmla="*/ 2687 h 10000"/>
                <a:gd name="connsiteX125" fmla="*/ 8432 w 10000"/>
                <a:gd name="connsiteY125" fmla="*/ 2626 h 10000"/>
                <a:gd name="connsiteX126" fmla="*/ 8507 w 10000"/>
                <a:gd name="connsiteY126" fmla="*/ 2578 h 10000"/>
                <a:gd name="connsiteX127" fmla="*/ 8576 w 10000"/>
                <a:gd name="connsiteY127" fmla="*/ 2530 h 10000"/>
                <a:gd name="connsiteX128" fmla="*/ 8651 w 10000"/>
                <a:gd name="connsiteY128" fmla="*/ 2488 h 10000"/>
                <a:gd name="connsiteX129" fmla="*/ 8726 w 10000"/>
                <a:gd name="connsiteY129" fmla="*/ 2444 h 10000"/>
                <a:gd name="connsiteX130" fmla="*/ 8808 w 10000"/>
                <a:gd name="connsiteY130" fmla="*/ 2402 h 10000"/>
                <a:gd name="connsiteX131" fmla="*/ 8890 w 10000"/>
                <a:gd name="connsiteY131" fmla="*/ 2366 h 10000"/>
                <a:gd name="connsiteX132" fmla="*/ 8971 w 10000"/>
                <a:gd name="connsiteY132" fmla="*/ 2336 h 10000"/>
                <a:gd name="connsiteX133" fmla="*/ 9059 w 10000"/>
                <a:gd name="connsiteY133" fmla="*/ 2306 h 10000"/>
                <a:gd name="connsiteX134" fmla="*/ 9235 w 10000"/>
                <a:gd name="connsiteY134" fmla="*/ 2252 h 10000"/>
                <a:gd name="connsiteX135" fmla="*/ 9417 w 10000"/>
                <a:gd name="connsiteY135" fmla="*/ 2209 h 10000"/>
                <a:gd name="connsiteX136" fmla="*/ 9454 w 10000"/>
                <a:gd name="connsiteY136" fmla="*/ 2258 h 10000"/>
                <a:gd name="connsiteX137" fmla="*/ 9504 w 10000"/>
                <a:gd name="connsiteY137" fmla="*/ 2318 h 10000"/>
                <a:gd name="connsiteX138" fmla="*/ 9573 w 10000"/>
                <a:gd name="connsiteY138" fmla="*/ 2384 h 10000"/>
                <a:gd name="connsiteX139" fmla="*/ 9642 w 10000"/>
                <a:gd name="connsiteY139" fmla="*/ 2457 h 10000"/>
                <a:gd name="connsiteX140" fmla="*/ 9718 w 10000"/>
                <a:gd name="connsiteY140" fmla="*/ 2518 h 10000"/>
                <a:gd name="connsiteX141" fmla="*/ 9799 w 10000"/>
                <a:gd name="connsiteY141" fmla="*/ 2566 h 10000"/>
                <a:gd name="connsiteX142" fmla="*/ 9837 w 10000"/>
                <a:gd name="connsiteY142" fmla="*/ 2590 h 10000"/>
                <a:gd name="connsiteX143" fmla="*/ 9875 w 10000"/>
                <a:gd name="connsiteY143" fmla="*/ 2602 h 10000"/>
                <a:gd name="connsiteX144" fmla="*/ 9918 w 10000"/>
                <a:gd name="connsiteY144" fmla="*/ 2614 h 10000"/>
                <a:gd name="connsiteX145" fmla="*/ 9956 w 10000"/>
                <a:gd name="connsiteY145" fmla="*/ 2614 h 10000"/>
                <a:gd name="connsiteX146" fmla="*/ 10000 w 10000"/>
                <a:gd name="connsiteY146" fmla="*/ 2542 h 10000"/>
                <a:gd name="connsiteX147" fmla="*/ 9975 w 10000"/>
                <a:gd name="connsiteY147" fmla="*/ 2669 h 10000"/>
                <a:gd name="connsiteX148" fmla="*/ 9944 w 10000"/>
                <a:gd name="connsiteY148" fmla="*/ 2812 h 10000"/>
                <a:gd name="connsiteX149" fmla="*/ 9931 w 10000"/>
                <a:gd name="connsiteY149" fmla="*/ 2879 h 10000"/>
                <a:gd name="connsiteX150" fmla="*/ 9906 w 10000"/>
                <a:gd name="connsiteY150" fmla="*/ 2939 h 10000"/>
                <a:gd name="connsiteX151" fmla="*/ 9887 w 10000"/>
                <a:gd name="connsiteY151" fmla="*/ 2963 h 10000"/>
                <a:gd name="connsiteX152" fmla="*/ 9875 w 10000"/>
                <a:gd name="connsiteY152" fmla="*/ 2987 h 10000"/>
                <a:gd name="connsiteX153" fmla="*/ 9856 w 10000"/>
                <a:gd name="connsiteY153" fmla="*/ 3005 h 10000"/>
                <a:gd name="connsiteX154" fmla="*/ 9837 w 10000"/>
                <a:gd name="connsiteY154" fmla="*/ 3023 h 10000"/>
                <a:gd name="connsiteX155" fmla="*/ 9749 w 10000"/>
                <a:gd name="connsiteY155" fmla="*/ 3041 h 10000"/>
                <a:gd name="connsiteX156" fmla="*/ 9605 w 10000"/>
                <a:gd name="connsiteY156" fmla="*/ 3090 h 10000"/>
                <a:gd name="connsiteX157" fmla="*/ 9536 w 10000"/>
                <a:gd name="connsiteY157" fmla="*/ 3132 h 10000"/>
                <a:gd name="connsiteX158" fmla="*/ 9479 w 10000"/>
                <a:gd name="connsiteY158" fmla="*/ 3168 h 10000"/>
                <a:gd name="connsiteX159" fmla="*/ 9448 w 10000"/>
                <a:gd name="connsiteY159" fmla="*/ 3187 h 10000"/>
                <a:gd name="connsiteX160" fmla="*/ 9435 w 10000"/>
                <a:gd name="connsiteY160" fmla="*/ 3205 h 10000"/>
                <a:gd name="connsiteX161" fmla="*/ 9423 w 10000"/>
                <a:gd name="connsiteY161" fmla="*/ 3228 h 10000"/>
                <a:gd name="connsiteX162" fmla="*/ 9417 w 10000"/>
                <a:gd name="connsiteY162" fmla="*/ 3246 h 10000"/>
                <a:gd name="connsiteX163" fmla="*/ 9423 w 10000"/>
                <a:gd name="connsiteY163" fmla="*/ 3457 h 10000"/>
                <a:gd name="connsiteX164" fmla="*/ 9417 w 10000"/>
                <a:gd name="connsiteY164" fmla="*/ 3698 h 10000"/>
                <a:gd name="connsiteX165" fmla="*/ 9398 w 10000"/>
                <a:gd name="connsiteY165" fmla="*/ 3758 h 10000"/>
                <a:gd name="connsiteX166" fmla="*/ 9391 w 10000"/>
                <a:gd name="connsiteY166" fmla="*/ 3824 h 10000"/>
                <a:gd name="connsiteX167" fmla="*/ 9379 w 10000"/>
                <a:gd name="connsiteY167" fmla="*/ 3878 h 10000"/>
                <a:gd name="connsiteX168" fmla="*/ 9366 w 10000"/>
                <a:gd name="connsiteY168" fmla="*/ 3933 h 10000"/>
                <a:gd name="connsiteX169" fmla="*/ 9348 w 10000"/>
                <a:gd name="connsiteY169" fmla="*/ 3982 h 10000"/>
                <a:gd name="connsiteX170" fmla="*/ 9316 w 10000"/>
                <a:gd name="connsiteY170" fmla="*/ 4030 h 10000"/>
                <a:gd name="connsiteX171" fmla="*/ 9285 w 10000"/>
                <a:gd name="connsiteY171" fmla="*/ 4066 h 10000"/>
                <a:gd name="connsiteX172" fmla="*/ 9247 w 10000"/>
                <a:gd name="connsiteY172" fmla="*/ 4096 h 10000"/>
                <a:gd name="connsiteX173" fmla="*/ 9228 w 10000"/>
                <a:gd name="connsiteY173" fmla="*/ 4114 h 10000"/>
                <a:gd name="connsiteX174" fmla="*/ 9184 w 10000"/>
                <a:gd name="connsiteY174" fmla="*/ 4120 h 10000"/>
                <a:gd name="connsiteX175" fmla="*/ 9141 w 10000"/>
                <a:gd name="connsiteY175" fmla="*/ 4126 h 10000"/>
                <a:gd name="connsiteX176" fmla="*/ 9090 w 10000"/>
                <a:gd name="connsiteY176" fmla="*/ 4132 h 10000"/>
                <a:gd name="connsiteX177" fmla="*/ 9040 w 10000"/>
                <a:gd name="connsiteY177" fmla="*/ 4138 h 10000"/>
                <a:gd name="connsiteX178" fmla="*/ 8996 w 10000"/>
                <a:gd name="connsiteY178" fmla="*/ 4157 h 10000"/>
                <a:gd name="connsiteX179" fmla="*/ 8977 w 10000"/>
                <a:gd name="connsiteY179" fmla="*/ 4163 h 10000"/>
                <a:gd name="connsiteX180" fmla="*/ 8965 w 10000"/>
                <a:gd name="connsiteY180" fmla="*/ 4181 h 10000"/>
                <a:gd name="connsiteX181" fmla="*/ 8959 w 10000"/>
                <a:gd name="connsiteY181" fmla="*/ 4193 h 10000"/>
                <a:gd name="connsiteX182" fmla="*/ 8959 w 10000"/>
                <a:gd name="connsiteY182" fmla="*/ 4211 h 10000"/>
                <a:gd name="connsiteX183" fmla="*/ 8952 w 10000"/>
                <a:gd name="connsiteY183" fmla="*/ 4282 h 10000"/>
                <a:gd name="connsiteX184" fmla="*/ 8952 w 10000"/>
                <a:gd name="connsiteY184" fmla="*/ 4367 h 10000"/>
                <a:gd name="connsiteX185" fmla="*/ 8940 w 10000"/>
                <a:gd name="connsiteY185" fmla="*/ 4457 h 10000"/>
                <a:gd name="connsiteX186" fmla="*/ 8927 w 10000"/>
                <a:gd name="connsiteY186" fmla="*/ 4541 h 10000"/>
                <a:gd name="connsiteX187" fmla="*/ 8908 w 10000"/>
                <a:gd name="connsiteY187" fmla="*/ 4627 h 10000"/>
                <a:gd name="connsiteX188" fmla="*/ 8890 w 10000"/>
                <a:gd name="connsiteY188" fmla="*/ 4705 h 10000"/>
                <a:gd name="connsiteX189" fmla="*/ 8864 w 10000"/>
                <a:gd name="connsiteY189" fmla="*/ 4776 h 10000"/>
                <a:gd name="connsiteX190" fmla="*/ 8833 w 10000"/>
                <a:gd name="connsiteY190" fmla="*/ 4843 h 10000"/>
                <a:gd name="connsiteX191" fmla="*/ 8538 w 10000"/>
                <a:gd name="connsiteY191" fmla="*/ 4354 h 10000"/>
                <a:gd name="connsiteX192" fmla="*/ 8526 w 10000"/>
                <a:gd name="connsiteY192" fmla="*/ 4379 h 10000"/>
                <a:gd name="connsiteX193" fmla="*/ 8494 w 10000"/>
                <a:gd name="connsiteY193" fmla="*/ 4433 h 10000"/>
                <a:gd name="connsiteX194" fmla="*/ 8463 w 10000"/>
                <a:gd name="connsiteY194" fmla="*/ 4463 h 10000"/>
                <a:gd name="connsiteX195" fmla="*/ 8438 w 10000"/>
                <a:gd name="connsiteY195" fmla="*/ 4487 h 10000"/>
                <a:gd name="connsiteX196" fmla="*/ 8407 w 10000"/>
                <a:gd name="connsiteY196" fmla="*/ 4505 h 10000"/>
                <a:gd name="connsiteX197" fmla="*/ 8375 w 10000"/>
                <a:gd name="connsiteY197" fmla="*/ 4511 h 10000"/>
                <a:gd name="connsiteX198" fmla="*/ 8338 w 10000"/>
                <a:gd name="connsiteY198" fmla="*/ 4505 h 10000"/>
                <a:gd name="connsiteX199" fmla="*/ 8312 w 10000"/>
                <a:gd name="connsiteY199" fmla="*/ 4499 h 10000"/>
                <a:gd name="connsiteX200" fmla="*/ 8287 w 10000"/>
                <a:gd name="connsiteY200" fmla="*/ 4481 h 10000"/>
                <a:gd name="connsiteX201" fmla="*/ 8256 w 10000"/>
                <a:gd name="connsiteY201" fmla="*/ 4463 h 10000"/>
                <a:gd name="connsiteX202" fmla="*/ 8237 w 10000"/>
                <a:gd name="connsiteY202" fmla="*/ 4433 h 10000"/>
                <a:gd name="connsiteX203" fmla="*/ 8225 w 10000"/>
                <a:gd name="connsiteY203" fmla="*/ 4409 h 10000"/>
                <a:gd name="connsiteX204" fmla="*/ 8206 w 10000"/>
                <a:gd name="connsiteY204" fmla="*/ 4385 h 10000"/>
                <a:gd name="connsiteX205" fmla="*/ 8206 w 10000"/>
                <a:gd name="connsiteY205" fmla="*/ 4354 h 10000"/>
                <a:gd name="connsiteX206" fmla="*/ 8206 w 10000"/>
                <a:gd name="connsiteY206" fmla="*/ 4318 h 10000"/>
                <a:gd name="connsiteX207" fmla="*/ 8225 w 10000"/>
                <a:gd name="connsiteY207" fmla="*/ 4282 h 10000"/>
                <a:gd name="connsiteX208" fmla="*/ 8237 w 10000"/>
                <a:gd name="connsiteY208" fmla="*/ 4246 h 10000"/>
                <a:gd name="connsiteX209" fmla="*/ 8250 w 10000"/>
                <a:gd name="connsiteY209" fmla="*/ 4211 h 10000"/>
                <a:gd name="connsiteX210" fmla="*/ 8300 w 10000"/>
                <a:gd name="connsiteY210" fmla="*/ 4144 h 10000"/>
                <a:gd name="connsiteX211" fmla="*/ 8356 w 10000"/>
                <a:gd name="connsiteY211" fmla="*/ 4078 h 10000"/>
                <a:gd name="connsiteX212" fmla="*/ 8407 w 10000"/>
                <a:gd name="connsiteY212" fmla="*/ 4018 h 10000"/>
                <a:gd name="connsiteX213" fmla="*/ 8457 w 10000"/>
                <a:gd name="connsiteY213" fmla="*/ 3952 h 10000"/>
                <a:gd name="connsiteX214" fmla="*/ 8469 w 10000"/>
                <a:gd name="connsiteY214" fmla="*/ 3915 h 10000"/>
                <a:gd name="connsiteX215" fmla="*/ 8482 w 10000"/>
                <a:gd name="connsiteY215" fmla="*/ 3884 h 10000"/>
                <a:gd name="connsiteX216" fmla="*/ 8501 w 10000"/>
                <a:gd name="connsiteY216" fmla="*/ 3842 h 10000"/>
                <a:gd name="connsiteX217" fmla="*/ 8501 w 10000"/>
                <a:gd name="connsiteY217" fmla="*/ 3806 h 10000"/>
                <a:gd name="connsiteX218" fmla="*/ 7748 w 10000"/>
                <a:gd name="connsiteY218" fmla="*/ 3806 h 10000"/>
                <a:gd name="connsiteX219" fmla="*/ 7723 w 10000"/>
                <a:gd name="connsiteY219" fmla="*/ 3800 h 10000"/>
                <a:gd name="connsiteX220" fmla="*/ 7685 w 10000"/>
                <a:gd name="connsiteY220" fmla="*/ 3782 h 10000"/>
                <a:gd name="connsiteX221" fmla="*/ 7660 w 10000"/>
                <a:gd name="connsiteY221" fmla="*/ 3746 h 10000"/>
                <a:gd name="connsiteX222" fmla="*/ 7635 w 10000"/>
                <a:gd name="connsiteY222" fmla="*/ 3710 h 10000"/>
                <a:gd name="connsiteX223" fmla="*/ 7616 w 10000"/>
                <a:gd name="connsiteY223" fmla="*/ 3662 h 10000"/>
                <a:gd name="connsiteX224" fmla="*/ 7597 w 10000"/>
                <a:gd name="connsiteY224" fmla="*/ 3614 h 10000"/>
                <a:gd name="connsiteX225" fmla="*/ 7591 w 10000"/>
                <a:gd name="connsiteY225" fmla="*/ 3560 h 10000"/>
                <a:gd name="connsiteX226" fmla="*/ 7585 w 10000"/>
                <a:gd name="connsiteY226" fmla="*/ 3505 h 10000"/>
                <a:gd name="connsiteX227" fmla="*/ 7547 w 10000"/>
                <a:gd name="connsiteY227" fmla="*/ 3505 h 10000"/>
                <a:gd name="connsiteX228" fmla="*/ 7516 w 10000"/>
                <a:gd name="connsiteY228" fmla="*/ 3499 h 10000"/>
                <a:gd name="connsiteX229" fmla="*/ 7478 w 10000"/>
                <a:gd name="connsiteY229" fmla="*/ 3493 h 10000"/>
                <a:gd name="connsiteX230" fmla="*/ 7447 w 10000"/>
                <a:gd name="connsiteY230" fmla="*/ 3481 h 10000"/>
                <a:gd name="connsiteX231" fmla="*/ 7415 w 10000"/>
                <a:gd name="connsiteY231" fmla="*/ 3463 h 10000"/>
                <a:gd name="connsiteX232" fmla="*/ 7396 w 10000"/>
                <a:gd name="connsiteY232" fmla="*/ 3445 h 10000"/>
                <a:gd name="connsiteX233" fmla="*/ 7384 w 10000"/>
                <a:gd name="connsiteY233" fmla="*/ 3415 h 10000"/>
                <a:gd name="connsiteX234" fmla="*/ 7378 w 10000"/>
                <a:gd name="connsiteY234" fmla="*/ 3391 h 10000"/>
                <a:gd name="connsiteX235" fmla="*/ 7321 w 10000"/>
                <a:gd name="connsiteY235" fmla="*/ 3391 h 10000"/>
                <a:gd name="connsiteX236" fmla="*/ 7271 w 10000"/>
                <a:gd name="connsiteY236" fmla="*/ 3391 h 10000"/>
                <a:gd name="connsiteX237" fmla="*/ 7221 w 10000"/>
                <a:gd name="connsiteY237" fmla="*/ 3391 h 10000"/>
                <a:gd name="connsiteX238" fmla="*/ 7171 w 10000"/>
                <a:gd name="connsiteY238" fmla="*/ 3391 h 10000"/>
                <a:gd name="connsiteX239" fmla="*/ 7127 w 10000"/>
                <a:gd name="connsiteY239" fmla="*/ 3397 h 10000"/>
                <a:gd name="connsiteX240" fmla="*/ 7095 w 10000"/>
                <a:gd name="connsiteY240" fmla="*/ 3403 h 10000"/>
                <a:gd name="connsiteX241" fmla="*/ 7051 w 10000"/>
                <a:gd name="connsiteY241" fmla="*/ 3421 h 10000"/>
                <a:gd name="connsiteX242" fmla="*/ 7008 w 10000"/>
                <a:gd name="connsiteY242" fmla="*/ 3445 h 10000"/>
                <a:gd name="connsiteX243" fmla="*/ 6976 w 10000"/>
                <a:gd name="connsiteY243" fmla="*/ 3475 h 10000"/>
                <a:gd name="connsiteX244" fmla="*/ 6939 w 10000"/>
                <a:gd name="connsiteY244" fmla="*/ 3505 h 10000"/>
                <a:gd name="connsiteX245" fmla="*/ 6920 w 10000"/>
                <a:gd name="connsiteY245" fmla="*/ 3542 h 10000"/>
                <a:gd name="connsiteX246" fmla="*/ 6913 w 10000"/>
                <a:gd name="connsiteY246" fmla="*/ 3578 h 10000"/>
                <a:gd name="connsiteX247" fmla="*/ 6926 w 10000"/>
                <a:gd name="connsiteY247" fmla="*/ 3602 h 10000"/>
                <a:gd name="connsiteX248" fmla="*/ 6964 w 10000"/>
                <a:gd name="connsiteY248" fmla="*/ 3632 h 10000"/>
                <a:gd name="connsiteX249" fmla="*/ 7008 w 10000"/>
                <a:gd name="connsiteY249" fmla="*/ 3668 h 10000"/>
                <a:gd name="connsiteX250" fmla="*/ 7070 w 10000"/>
                <a:gd name="connsiteY250" fmla="*/ 3704 h 10000"/>
                <a:gd name="connsiteX251" fmla="*/ 7133 w 10000"/>
                <a:gd name="connsiteY251" fmla="*/ 3740 h 10000"/>
                <a:gd name="connsiteX252" fmla="*/ 7196 w 10000"/>
                <a:gd name="connsiteY252" fmla="*/ 3770 h 10000"/>
                <a:gd name="connsiteX253" fmla="*/ 7252 w 10000"/>
                <a:gd name="connsiteY253" fmla="*/ 3794 h 10000"/>
                <a:gd name="connsiteX254" fmla="*/ 7290 w 10000"/>
                <a:gd name="connsiteY254" fmla="*/ 3806 h 10000"/>
                <a:gd name="connsiteX255" fmla="*/ 7208 w 10000"/>
                <a:gd name="connsiteY255" fmla="*/ 3866 h 10000"/>
                <a:gd name="connsiteX256" fmla="*/ 7114 w 10000"/>
                <a:gd name="connsiteY256" fmla="*/ 3940 h 10000"/>
                <a:gd name="connsiteX257" fmla="*/ 7070 w 10000"/>
                <a:gd name="connsiteY257" fmla="*/ 3976 h 10000"/>
                <a:gd name="connsiteX258" fmla="*/ 7033 w 10000"/>
                <a:gd name="connsiteY258" fmla="*/ 4018 h 10000"/>
                <a:gd name="connsiteX259" fmla="*/ 7020 w 10000"/>
                <a:gd name="connsiteY259" fmla="*/ 4036 h 10000"/>
                <a:gd name="connsiteX260" fmla="*/ 7008 w 10000"/>
                <a:gd name="connsiteY260" fmla="*/ 4054 h 10000"/>
                <a:gd name="connsiteX261" fmla="*/ 7001 w 10000"/>
                <a:gd name="connsiteY261" fmla="*/ 4078 h 10000"/>
                <a:gd name="connsiteX262" fmla="*/ 6995 w 10000"/>
                <a:gd name="connsiteY262" fmla="*/ 4096 h 10000"/>
                <a:gd name="connsiteX263" fmla="*/ 7001 w 10000"/>
                <a:gd name="connsiteY263" fmla="*/ 4126 h 10000"/>
                <a:gd name="connsiteX264" fmla="*/ 7008 w 10000"/>
                <a:gd name="connsiteY264" fmla="*/ 4144 h 10000"/>
                <a:gd name="connsiteX265" fmla="*/ 7026 w 10000"/>
                <a:gd name="connsiteY265" fmla="*/ 4169 h 10000"/>
                <a:gd name="connsiteX266" fmla="*/ 7039 w 10000"/>
                <a:gd name="connsiteY266" fmla="*/ 4193 h 10000"/>
                <a:gd name="connsiteX267" fmla="*/ 7089 w 10000"/>
                <a:gd name="connsiteY267" fmla="*/ 4240 h 10000"/>
                <a:gd name="connsiteX268" fmla="*/ 7146 w 10000"/>
                <a:gd name="connsiteY268" fmla="*/ 4288 h 10000"/>
                <a:gd name="connsiteX269" fmla="*/ 7208 w 10000"/>
                <a:gd name="connsiteY269" fmla="*/ 4330 h 10000"/>
                <a:gd name="connsiteX270" fmla="*/ 7277 w 10000"/>
                <a:gd name="connsiteY270" fmla="*/ 4367 h 10000"/>
                <a:gd name="connsiteX271" fmla="*/ 7315 w 10000"/>
                <a:gd name="connsiteY271" fmla="*/ 4379 h 10000"/>
                <a:gd name="connsiteX272" fmla="*/ 7346 w 10000"/>
                <a:gd name="connsiteY272" fmla="*/ 4385 h 10000"/>
                <a:gd name="connsiteX273" fmla="*/ 7384 w 10000"/>
                <a:gd name="connsiteY273" fmla="*/ 4391 h 10000"/>
                <a:gd name="connsiteX274" fmla="*/ 7415 w 10000"/>
                <a:gd name="connsiteY274" fmla="*/ 4397 h 10000"/>
                <a:gd name="connsiteX275" fmla="*/ 7585 w 10000"/>
                <a:gd name="connsiteY275" fmla="*/ 5024 h 10000"/>
                <a:gd name="connsiteX276" fmla="*/ 7491 w 10000"/>
                <a:gd name="connsiteY276" fmla="*/ 5024 h 10000"/>
                <a:gd name="connsiteX277" fmla="*/ 7403 w 10000"/>
                <a:gd name="connsiteY277" fmla="*/ 5024 h 10000"/>
                <a:gd name="connsiteX278" fmla="*/ 7321 w 10000"/>
                <a:gd name="connsiteY278" fmla="*/ 5024 h 10000"/>
                <a:gd name="connsiteX279" fmla="*/ 7252 w 10000"/>
                <a:gd name="connsiteY279" fmla="*/ 5024 h 10000"/>
                <a:gd name="connsiteX280" fmla="*/ 7208 w 10000"/>
                <a:gd name="connsiteY280" fmla="*/ 5018 h 10000"/>
                <a:gd name="connsiteX281" fmla="*/ 7164 w 10000"/>
                <a:gd name="connsiteY281" fmla="*/ 4987 h 10000"/>
                <a:gd name="connsiteX282" fmla="*/ 7133 w 10000"/>
                <a:gd name="connsiteY282" fmla="*/ 4975 h 10000"/>
                <a:gd name="connsiteX283" fmla="*/ 7102 w 10000"/>
                <a:gd name="connsiteY283" fmla="*/ 4963 h 10000"/>
                <a:gd name="connsiteX284" fmla="*/ 7070 w 10000"/>
                <a:gd name="connsiteY284" fmla="*/ 4957 h 10000"/>
                <a:gd name="connsiteX285" fmla="*/ 7039 w 10000"/>
                <a:gd name="connsiteY285" fmla="*/ 4951 h 10000"/>
                <a:gd name="connsiteX286" fmla="*/ 7008 w 10000"/>
                <a:gd name="connsiteY286" fmla="*/ 4963 h 10000"/>
                <a:gd name="connsiteX287" fmla="*/ 6957 w 10000"/>
                <a:gd name="connsiteY287" fmla="*/ 4993 h 10000"/>
                <a:gd name="connsiteX288" fmla="*/ 6895 w 10000"/>
                <a:gd name="connsiteY288" fmla="*/ 5036 h 10000"/>
                <a:gd name="connsiteX289" fmla="*/ 6819 w 10000"/>
                <a:gd name="connsiteY289" fmla="*/ 5084 h 10000"/>
                <a:gd name="connsiteX290" fmla="*/ 6744 w 10000"/>
                <a:gd name="connsiteY290" fmla="*/ 5144 h 10000"/>
                <a:gd name="connsiteX291" fmla="*/ 6681 w 10000"/>
                <a:gd name="connsiteY291" fmla="*/ 5192 h 10000"/>
                <a:gd name="connsiteX292" fmla="*/ 6637 w 10000"/>
                <a:gd name="connsiteY292" fmla="*/ 5228 h 10000"/>
                <a:gd name="connsiteX293" fmla="*/ 6625 w 10000"/>
                <a:gd name="connsiteY293" fmla="*/ 5252 h 10000"/>
                <a:gd name="connsiteX294" fmla="*/ 6750 w 10000"/>
                <a:gd name="connsiteY294" fmla="*/ 5324 h 10000"/>
                <a:gd name="connsiteX295" fmla="*/ 6744 w 10000"/>
                <a:gd name="connsiteY295" fmla="*/ 5361 h 10000"/>
                <a:gd name="connsiteX296" fmla="*/ 6725 w 10000"/>
                <a:gd name="connsiteY296" fmla="*/ 5403 h 10000"/>
                <a:gd name="connsiteX297" fmla="*/ 6706 w 10000"/>
                <a:gd name="connsiteY297" fmla="*/ 5434 h 10000"/>
                <a:gd name="connsiteX298" fmla="*/ 6688 w 10000"/>
                <a:gd name="connsiteY298" fmla="*/ 5476 h 10000"/>
                <a:gd name="connsiteX299" fmla="*/ 6637 w 10000"/>
                <a:gd name="connsiteY299" fmla="*/ 5530 h 10000"/>
                <a:gd name="connsiteX300" fmla="*/ 6581 w 10000"/>
                <a:gd name="connsiteY300" fmla="*/ 5584 h 10000"/>
                <a:gd name="connsiteX301" fmla="*/ 6518 w 10000"/>
                <a:gd name="connsiteY301" fmla="*/ 5632 h 10000"/>
                <a:gd name="connsiteX302" fmla="*/ 6443 w 10000"/>
                <a:gd name="connsiteY302" fmla="*/ 5675 h 10000"/>
                <a:gd name="connsiteX303" fmla="*/ 6374 w 10000"/>
                <a:gd name="connsiteY303" fmla="*/ 5711 h 10000"/>
                <a:gd name="connsiteX304" fmla="*/ 6299 w 10000"/>
                <a:gd name="connsiteY304" fmla="*/ 5746 h 10000"/>
                <a:gd name="connsiteX305" fmla="*/ 6223 w 10000"/>
                <a:gd name="connsiteY305" fmla="*/ 5794 h 10000"/>
                <a:gd name="connsiteX306" fmla="*/ 6154 w 10000"/>
                <a:gd name="connsiteY306" fmla="*/ 5830 h 10000"/>
                <a:gd name="connsiteX307" fmla="*/ 6092 w 10000"/>
                <a:gd name="connsiteY307" fmla="*/ 5873 h 10000"/>
                <a:gd name="connsiteX308" fmla="*/ 6035 w 10000"/>
                <a:gd name="connsiteY308" fmla="*/ 5921 h 10000"/>
                <a:gd name="connsiteX309" fmla="*/ 6004 w 10000"/>
                <a:gd name="connsiteY309" fmla="*/ 5945 h 10000"/>
                <a:gd name="connsiteX310" fmla="*/ 5985 w 10000"/>
                <a:gd name="connsiteY310" fmla="*/ 5969 h 10000"/>
                <a:gd name="connsiteX311" fmla="*/ 5966 w 10000"/>
                <a:gd name="connsiteY311" fmla="*/ 5999 h 10000"/>
                <a:gd name="connsiteX312" fmla="*/ 5947 w 10000"/>
                <a:gd name="connsiteY312" fmla="*/ 6029 h 10000"/>
                <a:gd name="connsiteX313" fmla="*/ 5935 w 10000"/>
                <a:gd name="connsiteY313" fmla="*/ 6067 h 10000"/>
                <a:gd name="connsiteX314" fmla="*/ 5922 w 10000"/>
                <a:gd name="connsiteY314" fmla="*/ 6097 h 10000"/>
                <a:gd name="connsiteX315" fmla="*/ 5916 w 10000"/>
                <a:gd name="connsiteY315" fmla="*/ 6139 h 10000"/>
                <a:gd name="connsiteX316" fmla="*/ 5916 w 10000"/>
                <a:gd name="connsiteY316" fmla="*/ 6181 h 10000"/>
                <a:gd name="connsiteX317" fmla="*/ 5859 w 10000"/>
                <a:gd name="connsiteY317" fmla="*/ 6199 h 10000"/>
                <a:gd name="connsiteX318" fmla="*/ 5809 w 10000"/>
                <a:gd name="connsiteY318" fmla="*/ 6217 h 10000"/>
                <a:gd name="connsiteX319" fmla="*/ 5765 w 10000"/>
                <a:gd name="connsiteY319" fmla="*/ 6240 h 10000"/>
                <a:gd name="connsiteX320" fmla="*/ 5721 w 10000"/>
                <a:gd name="connsiteY320" fmla="*/ 6264 h 10000"/>
                <a:gd name="connsiteX321" fmla="*/ 5634 w 10000"/>
                <a:gd name="connsiteY321" fmla="*/ 6325 h 10000"/>
                <a:gd name="connsiteX322" fmla="*/ 5558 w 10000"/>
                <a:gd name="connsiteY322" fmla="*/ 6397 h 10000"/>
                <a:gd name="connsiteX323" fmla="*/ 5420 w 10000"/>
                <a:gd name="connsiteY323" fmla="*/ 6560 h 10000"/>
                <a:gd name="connsiteX324" fmla="*/ 5289 w 10000"/>
                <a:gd name="connsiteY324" fmla="*/ 6734 h 10000"/>
                <a:gd name="connsiteX325" fmla="*/ 5220 w 10000"/>
                <a:gd name="connsiteY325" fmla="*/ 6825 h 10000"/>
                <a:gd name="connsiteX326" fmla="*/ 5151 w 10000"/>
                <a:gd name="connsiteY326" fmla="*/ 6903 h 10000"/>
                <a:gd name="connsiteX327" fmla="*/ 5075 w 10000"/>
                <a:gd name="connsiteY327" fmla="*/ 6976 h 10000"/>
                <a:gd name="connsiteX328" fmla="*/ 4994 w 10000"/>
                <a:gd name="connsiteY328" fmla="*/ 7042 h 10000"/>
                <a:gd name="connsiteX329" fmla="*/ 4944 w 10000"/>
                <a:gd name="connsiteY329" fmla="*/ 7072 h 10000"/>
                <a:gd name="connsiteX330" fmla="*/ 4893 w 10000"/>
                <a:gd name="connsiteY330" fmla="*/ 7096 h 10000"/>
                <a:gd name="connsiteX331" fmla="*/ 4849 w 10000"/>
                <a:gd name="connsiteY331" fmla="*/ 7120 h 10000"/>
                <a:gd name="connsiteX332" fmla="*/ 4793 w 10000"/>
                <a:gd name="connsiteY332" fmla="*/ 7145 h 10000"/>
                <a:gd name="connsiteX333" fmla="*/ 4730 w 10000"/>
                <a:gd name="connsiteY333" fmla="*/ 7163 h 10000"/>
                <a:gd name="connsiteX334" fmla="*/ 4674 w 10000"/>
                <a:gd name="connsiteY334" fmla="*/ 7175 h 10000"/>
                <a:gd name="connsiteX335" fmla="*/ 4605 w 10000"/>
                <a:gd name="connsiteY335" fmla="*/ 7181 h 10000"/>
                <a:gd name="connsiteX336" fmla="*/ 4536 w 10000"/>
                <a:gd name="connsiteY336" fmla="*/ 7181 h 10000"/>
                <a:gd name="connsiteX337" fmla="*/ 4536 w 10000"/>
                <a:gd name="connsiteY337" fmla="*/ 7234 h 10000"/>
                <a:gd name="connsiteX338" fmla="*/ 4536 w 10000"/>
                <a:gd name="connsiteY338" fmla="*/ 7288 h 10000"/>
                <a:gd name="connsiteX339" fmla="*/ 4536 w 10000"/>
                <a:gd name="connsiteY339" fmla="*/ 7330 h 10000"/>
                <a:gd name="connsiteX340" fmla="*/ 4536 w 10000"/>
                <a:gd name="connsiteY340" fmla="*/ 7367 h 10000"/>
                <a:gd name="connsiteX341" fmla="*/ 4536 w 10000"/>
                <a:gd name="connsiteY341" fmla="*/ 7433 h 10000"/>
                <a:gd name="connsiteX342" fmla="*/ 4536 w 10000"/>
                <a:gd name="connsiteY342" fmla="*/ 7536 h 10000"/>
                <a:gd name="connsiteX343" fmla="*/ 4536 w 10000"/>
                <a:gd name="connsiteY343" fmla="*/ 7645 h 10000"/>
                <a:gd name="connsiteX344" fmla="*/ 4548 w 10000"/>
                <a:gd name="connsiteY344" fmla="*/ 7758 h 10000"/>
                <a:gd name="connsiteX345" fmla="*/ 4561 w 10000"/>
                <a:gd name="connsiteY345" fmla="*/ 7819 h 10000"/>
                <a:gd name="connsiteX346" fmla="*/ 4573 w 10000"/>
                <a:gd name="connsiteY346" fmla="*/ 7873 h 10000"/>
                <a:gd name="connsiteX347" fmla="*/ 4586 w 10000"/>
                <a:gd name="connsiteY347" fmla="*/ 7921 h 10000"/>
                <a:gd name="connsiteX348" fmla="*/ 4611 w 10000"/>
                <a:gd name="connsiteY348" fmla="*/ 7963 h 10000"/>
                <a:gd name="connsiteX349" fmla="*/ 4636 w 10000"/>
                <a:gd name="connsiteY349" fmla="*/ 8006 h 10000"/>
                <a:gd name="connsiteX350" fmla="*/ 4668 w 10000"/>
                <a:gd name="connsiteY350" fmla="*/ 8036 h 10000"/>
                <a:gd name="connsiteX351" fmla="*/ 4705 w 10000"/>
                <a:gd name="connsiteY351" fmla="*/ 8060 h 10000"/>
                <a:gd name="connsiteX352" fmla="*/ 4749 w 10000"/>
                <a:gd name="connsiteY352" fmla="*/ 8072 h 10000"/>
                <a:gd name="connsiteX353" fmla="*/ 4711 w 10000"/>
                <a:gd name="connsiteY353" fmla="*/ 8168 h 10000"/>
                <a:gd name="connsiteX354" fmla="*/ 4668 w 10000"/>
                <a:gd name="connsiteY354" fmla="*/ 8253 h 10000"/>
                <a:gd name="connsiteX355" fmla="*/ 4617 w 10000"/>
                <a:gd name="connsiteY355" fmla="*/ 8331 h 10000"/>
                <a:gd name="connsiteX356" fmla="*/ 4573 w 10000"/>
                <a:gd name="connsiteY356" fmla="*/ 8403 h 10000"/>
                <a:gd name="connsiteX357" fmla="*/ 4523 w 10000"/>
                <a:gd name="connsiteY357" fmla="*/ 8488 h 10000"/>
                <a:gd name="connsiteX358" fmla="*/ 4492 w 10000"/>
                <a:gd name="connsiteY358" fmla="*/ 8566 h 10000"/>
                <a:gd name="connsiteX359" fmla="*/ 4473 w 10000"/>
                <a:gd name="connsiteY359" fmla="*/ 8602 h 10000"/>
                <a:gd name="connsiteX360" fmla="*/ 4467 w 10000"/>
                <a:gd name="connsiteY360" fmla="*/ 8645 h 10000"/>
                <a:gd name="connsiteX361" fmla="*/ 4460 w 10000"/>
                <a:gd name="connsiteY361" fmla="*/ 8693 h 10000"/>
                <a:gd name="connsiteX362" fmla="*/ 4454 w 10000"/>
                <a:gd name="connsiteY362" fmla="*/ 8735 h 10000"/>
                <a:gd name="connsiteX363" fmla="*/ 4460 w 10000"/>
                <a:gd name="connsiteY363" fmla="*/ 8752 h 10000"/>
                <a:gd name="connsiteX364" fmla="*/ 4467 w 10000"/>
                <a:gd name="connsiteY364" fmla="*/ 8764 h 10000"/>
                <a:gd name="connsiteX365" fmla="*/ 4479 w 10000"/>
                <a:gd name="connsiteY365" fmla="*/ 8776 h 10000"/>
                <a:gd name="connsiteX366" fmla="*/ 4504 w 10000"/>
                <a:gd name="connsiteY366" fmla="*/ 8788 h 10000"/>
                <a:gd name="connsiteX367" fmla="*/ 4542 w 10000"/>
                <a:gd name="connsiteY367" fmla="*/ 8812 h 10000"/>
                <a:gd name="connsiteX368" fmla="*/ 4580 w 10000"/>
                <a:gd name="connsiteY368" fmla="*/ 8818 h 10000"/>
                <a:gd name="connsiteX369" fmla="*/ 4580 w 10000"/>
                <a:gd name="connsiteY369" fmla="*/ 9036 h 10000"/>
                <a:gd name="connsiteX370" fmla="*/ 4529 w 10000"/>
                <a:gd name="connsiteY370" fmla="*/ 9121 h 10000"/>
                <a:gd name="connsiteX371" fmla="*/ 4492 w 10000"/>
                <a:gd name="connsiteY371" fmla="*/ 9211 h 10000"/>
                <a:gd name="connsiteX372" fmla="*/ 4460 w 10000"/>
                <a:gd name="connsiteY372" fmla="*/ 9246 h 10000"/>
                <a:gd name="connsiteX373" fmla="*/ 4429 w 10000"/>
                <a:gd name="connsiteY373" fmla="*/ 9271 h 10000"/>
                <a:gd name="connsiteX374" fmla="*/ 4404 w 10000"/>
                <a:gd name="connsiteY374" fmla="*/ 9283 h 10000"/>
                <a:gd name="connsiteX375" fmla="*/ 4385 w 10000"/>
                <a:gd name="connsiteY375" fmla="*/ 9289 h 10000"/>
                <a:gd name="connsiteX376" fmla="*/ 4360 w 10000"/>
                <a:gd name="connsiteY376" fmla="*/ 9295 h 10000"/>
                <a:gd name="connsiteX377" fmla="*/ 4329 w 10000"/>
                <a:gd name="connsiteY377" fmla="*/ 9295 h 10000"/>
                <a:gd name="connsiteX378" fmla="*/ 4329 w 10000"/>
                <a:gd name="connsiteY378" fmla="*/ 9343 h 10000"/>
                <a:gd name="connsiteX379" fmla="*/ 4335 w 10000"/>
                <a:gd name="connsiteY379" fmla="*/ 9403 h 10000"/>
                <a:gd name="connsiteX380" fmla="*/ 4348 w 10000"/>
                <a:gd name="connsiteY380" fmla="*/ 9433 h 10000"/>
                <a:gd name="connsiteX381" fmla="*/ 4354 w 10000"/>
                <a:gd name="connsiteY381" fmla="*/ 9457 h 10000"/>
                <a:gd name="connsiteX382" fmla="*/ 4360 w 10000"/>
                <a:gd name="connsiteY382" fmla="*/ 9476 h 10000"/>
                <a:gd name="connsiteX383" fmla="*/ 4373 w 10000"/>
                <a:gd name="connsiteY383" fmla="*/ 9482 h 10000"/>
                <a:gd name="connsiteX384" fmla="*/ 4210 w 10000"/>
                <a:gd name="connsiteY384" fmla="*/ 9608 h 10000"/>
                <a:gd name="connsiteX385" fmla="*/ 4072 w 10000"/>
                <a:gd name="connsiteY385" fmla="*/ 9712 h 10000"/>
                <a:gd name="connsiteX386" fmla="*/ 4009 w 10000"/>
                <a:gd name="connsiteY386" fmla="*/ 9771 h 10000"/>
                <a:gd name="connsiteX387" fmla="*/ 3952 w 10000"/>
                <a:gd name="connsiteY387" fmla="*/ 9837 h 10000"/>
                <a:gd name="connsiteX388" fmla="*/ 3890 w 10000"/>
                <a:gd name="connsiteY388" fmla="*/ 9916 h 10000"/>
                <a:gd name="connsiteX389" fmla="*/ 3833 w 10000"/>
                <a:gd name="connsiteY389" fmla="*/ 10000 h 10000"/>
                <a:gd name="connsiteX390" fmla="*/ 3733 w 10000"/>
                <a:gd name="connsiteY390" fmla="*/ 9958 h 10000"/>
                <a:gd name="connsiteX391" fmla="*/ 3664 w 10000"/>
                <a:gd name="connsiteY391" fmla="*/ 9916 h 10000"/>
                <a:gd name="connsiteX392" fmla="*/ 3607 w 10000"/>
                <a:gd name="connsiteY392" fmla="*/ 9873 h 10000"/>
                <a:gd name="connsiteX393" fmla="*/ 3563 w 10000"/>
                <a:gd name="connsiteY393" fmla="*/ 9825 h 10000"/>
                <a:gd name="connsiteX394" fmla="*/ 3532 w 10000"/>
                <a:gd name="connsiteY394" fmla="*/ 9765 h 10000"/>
                <a:gd name="connsiteX395" fmla="*/ 3513 w 10000"/>
                <a:gd name="connsiteY395" fmla="*/ 9706 h 10000"/>
                <a:gd name="connsiteX396" fmla="*/ 3482 w 10000"/>
                <a:gd name="connsiteY396" fmla="*/ 9632 h 10000"/>
                <a:gd name="connsiteX397" fmla="*/ 3457 w 10000"/>
                <a:gd name="connsiteY397" fmla="*/ 9560 h 10000"/>
                <a:gd name="connsiteX398" fmla="*/ 3400 w 10000"/>
                <a:gd name="connsiteY398" fmla="*/ 9421 h 10000"/>
                <a:gd name="connsiteX399" fmla="*/ 3325 w 10000"/>
                <a:gd name="connsiteY399" fmla="*/ 9289 h 10000"/>
                <a:gd name="connsiteX400" fmla="*/ 3237 w 10000"/>
                <a:gd name="connsiteY400" fmla="*/ 9151 h 10000"/>
                <a:gd name="connsiteX401" fmla="*/ 3143 w 10000"/>
                <a:gd name="connsiteY401" fmla="*/ 9006 h 10000"/>
                <a:gd name="connsiteX402" fmla="*/ 3049 w 10000"/>
                <a:gd name="connsiteY402" fmla="*/ 8873 h 10000"/>
                <a:gd name="connsiteX403" fmla="*/ 2967 w 10000"/>
                <a:gd name="connsiteY403" fmla="*/ 8741 h 10000"/>
                <a:gd name="connsiteX404" fmla="*/ 2892 w 10000"/>
                <a:gd name="connsiteY404" fmla="*/ 8621 h 10000"/>
                <a:gd name="connsiteX405" fmla="*/ 2829 w 10000"/>
                <a:gd name="connsiteY405" fmla="*/ 8518 h 10000"/>
                <a:gd name="connsiteX406" fmla="*/ 2773 w 10000"/>
                <a:gd name="connsiteY406" fmla="*/ 8403 h 10000"/>
                <a:gd name="connsiteX407" fmla="*/ 2735 w 10000"/>
                <a:gd name="connsiteY407" fmla="*/ 8301 h 10000"/>
                <a:gd name="connsiteX408" fmla="*/ 2698 w 10000"/>
                <a:gd name="connsiteY408" fmla="*/ 8193 h 10000"/>
                <a:gd name="connsiteX409" fmla="*/ 2666 w 10000"/>
                <a:gd name="connsiteY409" fmla="*/ 8084 h 10000"/>
                <a:gd name="connsiteX410" fmla="*/ 2629 w 10000"/>
                <a:gd name="connsiteY410" fmla="*/ 7975 h 10000"/>
                <a:gd name="connsiteX411" fmla="*/ 2597 w 10000"/>
                <a:gd name="connsiteY411" fmla="*/ 7867 h 10000"/>
                <a:gd name="connsiteX412" fmla="*/ 2553 w 10000"/>
                <a:gd name="connsiteY412" fmla="*/ 7746 h 10000"/>
                <a:gd name="connsiteX413" fmla="*/ 2497 w 10000"/>
                <a:gd name="connsiteY413" fmla="*/ 7627 h 10000"/>
                <a:gd name="connsiteX414" fmla="*/ 2359 w 10000"/>
                <a:gd name="connsiteY414" fmla="*/ 7433 h 10000"/>
                <a:gd name="connsiteX415" fmla="*/ 2208 w 10000"/>
                <a:gd name="connsiteY415" fmla="*/ 7252 h 10000"/>
                <a:gd name="connsiteX416" fmla="*/ 2139 w 10000"/>
                <a:gd name="connsiteY416" fmla="*/ 7169 h 10000"/>
                <a:gd name="connsiteX417" fmla="*/ 2070 w 10000"/>
                <a:gd name="connsiteY417" fmla="*/ 7072 h 10000"/>
                <a:gd name="connsiteX418" fmla="*/ 2008 w 10000"/>
                <a:gd name="connsiteY418" fmla="*/ 6982 h 10000"/>
                <a:gd name="connsiteX419" fmla="*/ 1957 w 10000"/>
                <a:gd name="connsiteY419" fmla="*/ 6885 h 10000"/>
                <a:gd name="connsiteX420" fmla="*/ 1888 w 10000"/>
                <a:gd name="connsiteY420" fmla="*/ 6650 h 10000"/>
                <a:gd name="connsiteX421" fmla="*/ 1832 w 10000"/>
                <a:gd name="connsiteY421" fmla="*/ 6433 h 10000"/>
                <a:gd name="connsiteX422" fmla="*/ 1782 w 10000"/>
                <a:gd name="connsiteY422" fmla="*/ 6223 h 10000"/>
                <a:gd name="connsiteX423" fmla="*/ 1757 w 10000"/>
                <a:gd name="connsiteY423" fmla="*/ 6011 h 10000"/>
                <a:gd name="connsiteX424" fmla="*/ 1725 w 10000"/>
                <a:gd name="connsiteY424" fmla="*/ 5806 h 10000"/>
                <a:gd name="connsiteX425" fmla="*/ 1713 w 10000"/>
                <a:gd name="connsiteY425" fmla="*/ 5590 h 10000"/>
                <a:gd name="connsiteX426" fmla="*/ 1706 w 10000"/>
                <a:gd name="connsiteY426" fmla="*/ 5367 h 10000"/>
                <a:gd name="connsiteX427" fmla="*/ 1706 w 10000"/>
                <a:gd name="connsiteY427" fmla="*/ 5144 h 10000"/>
                <a:gd name="connsiteX428" fmla="*/ 1681 w 10000"/>
                <a:gd name="connsiteY428" fmla="*/ 5138 h 10000"/>
                <a:gd name="connsiteX429" fmla="*/ 1650 w 10000"/>
                <a:gd name="connsiteY429" fmla="*/ 5132 h 10000"/>
                <a:gd name="connsiteX430" fmla="*/ 1625 w 10000"/>
                <a:gd name="connsiteY430" fmla="*/ 5126 h 10000"/>
                <a:gd name="connsiteX431" fmla="*/ 1606 w 10000"/>
                <a:gd name="connsiteY431" fmla="*/ 5102 h 10000"/>
                <a:gd name="connsiteX432" fmla="*/ 1581 w 10000"/>
                <a:gd name="connsiteY432" fmla="*/ 5090 h 10000"/>
                <a:gd name="connsiteX433" fmla="*/ 1568 w 10000"/>
                <a:gd name="connsiteY433" fmla="*/ 5072 h 10000"/>
                <a:gd name="connsiteX434" fmla="*/ 1550 w 10000"/>
                <a:gd name="connsiteY434" fmla="*/ 5048 h 10000"/>
                <a:gd name="connsiteX435" fmla="*/ 1543 w 10000"/>
                <a:gd name="connsiteY435" fmla="*/ 5024 h 10000"/>
                <a:gd name="connsiteX436" fmla="*/ 1518 w 10000"/>
                <a:gd name="connsiteY436" fmla="*/ 4975 h 10000"/>
                <a:gd name="connsiteX437" fmla="*/ 1506 w 10000"/>
                <a:gd name="connsiteY437" fmla="*/ 4921 h 10000"/>
                <a:gd name="connsiteX438" fmla="*/ 1499 w 10000"/>
                <a:gd name="connsiteY438" fmla="*/ 4861 h 10000"/>
                <a:gd name="connsiteX439" fmla="*/ 1499 w 10000"/>
                <a:gd name="connsiteY439" fmla="*/ 4807 h 10000"/>
                <a:gd name="connsiteX440" fmla="*/ 1443 w 10000"/>
                <a:gd name="connsiteY440" fmla="*/ 4843 h 10000"/>
                <a:gd name="connsiteX441" fmla="*/ 1405 w 10000"/>
                <a:gd name="connsiteY441" fmla="*/ 4885 h 10000"/>
                <a:gd name="connsiteX442" fmla="*/ 1361 w 10000"/>
                <a:gd name="connsiteY442" fmla="*/ 4927 h 10000"/>
                <a:gd name="connsiteX443" fmla="*/ 1317 w 10000"/>
                <a:gd name="connsiteY443" fmla="*/ 4975 h 10000"/>
                <a:gd name="connsiteX444" fmla="*/ 1261 w 10000"/>
                <a:gd name="connsiteY444" fmla="*/ 5072 h 10000"/>
                <a:gd name="connsiteX445" fmla="*/ 1205 w 10000"/>
                <a:gd name="connsiteY445" fmla="*/ 5174 h 10000"/>
                <a:gd name="connsiteX446" fmla="*/ 1167 w 10000"/>
                <a:gd name="connsiteY446" fmla="*/ 5217 h 10000"/>
                <a:gd name="connsiteX447" fmla="*/ 1142 w 10000"/>
                <a:gd name="connsiteY447" fmla="*/ 5258 h 10000"/>
                <a:gd name="connsiteX448" fmla="*/ 1104 w 10000"/>
                <a:gd name="connsiteY448" fmla="*/ 5300 h 10000"/>
                <a:gd name="connsiteX449" fmla="*/ 1073 w 10000"/>
                <a:gd name="connsiteY449" fmla="*/ 5330 h 10000"/>
                <a:gd name="connsiteX450" fmla="*/ 1029 w 10000"/>
                <a:gd name="connsiteY450" fmla="*/ 5361 h 10000"/>
                <a:gd name="connsiteX451" fmla="*/ 985 w 10000"/>
                <a:gd name="connsiteY451" fmla="*/ 5379 h 10000"/>
                <a:gd name="connsiteX452" fmla="*/ 928 w 10000"/>
                <a:gd name="connsiteY452" fmla="*/ 5391 h 10000"/>
                <a:gd name="connsiteX453" fmla="*/ 872 w 10000"/>
                <a:gd name="connsiteY453" fmla="*/ 5397 h 10000"/>
                <a:gd name="connsiteX454" fmla="*/ 841 w 10000"/>
                <a:gd name="connsiteY454" fmla="*/ 5391 h 10000"/>
                <a:gd name="connsiteX455" fmla="*/ 797 w 10000"/>
                <a:gd name="connsiteY455" fmla="*/ 5379 h 10000"/>
                <a:gd name="connsiteX456" fmla="*/ 753 w 10000"/>
                <a:gd name="connsiteY456" fmla="*/ 5361 h 10000"/>
                <a:gd name="connsiteX457" fmla="*/ 709 w 10000"/>
                <a:gd name="connsiteY457" fmla="*/ 5330 h 10000"/>
                <a:gd name="connsiteX458" fmla="*/ 659 w 10000"/>
                <a:gd name="connsiteY458" fmla="*/ 5294 h 10000"/>
                <a:gd name="connsiteX459" fmla="*/ 609 w 10000"/>
                <a:gd name="connsiteY459" fmla="*/ 5258 h 10000"/>
                <a:gd name="connsiteX460" fmla="*/ 565 w 10000"/>
                <a:gd name="connsiteY460" fmla="*/ 5217 h 10000"/>
                <a:gd name="connsiteX461" fmla="*/ 514 w 10000"/>
                <a:gd name="connsiteY461" fmla="*/ 5168 h 10000"/>
                <a:gd name="connsiteX462" fmla="*/ 471 w 10000"/>
                <a:gd name="connsiteY462" fmla="*/ 5120 h 10000"/>
                <a:gd name="connsiteX463" fmla="*/ 433 w 10000"/>
                <a:gd name="connsiteY463" fmla="*/ 5066 h 10000"/>
                <a:gd name="connsiteX464" fmla="*/ 389 w 10000"/>
                <a:gd name="connsiteY464" fmla="*/ 5012 h 10000"/>
                <a:gd name="connsiteX465" fmla="*/ 358 w 10000"/>
                <a:gd name="connsiteY465" fmla="*/ 4957 h 10000"/>
                <a:gd name="connsiteX466" fmla="*/ 326 w 10000"/>
                <a:gd name="connsiteY466" fmla="*/ 4909 h 10000"/>
                <a:gd name="connsiteX467" fmla="*/ 307 w 10000"/>
                <a:gd name="connsiteY467" fmla="*/ 4861 h 10000"/>
                <a:gd name="connsiteX468" fmla="*/ 295 w 10000"/>
                <a:gd name="connsiteY468" fmla="*/ 4813 h 10000"/>
                <a:gd name="connsiteX469" fmla="*/ 289 w 10000"/>
                <a:gd name="connsiteY469" fmla="*/ 4764 h 10000"/>
                <a:gd name="connsiteX470" fmla="*/ 320 w 10000"/>
                <a:gd name="connsiteY470" fmla="*/ 4746 h 10000"/>
                <a:gd name="connsiteX471" fmla="*/ 395 w 10000"/>
                <a:gd name="connsiteY471" fmla="*/ 4711 h 10000"/>
                <a:gd name="connsiteX472" fmla="*/ 483 w 10000"/>
                <a:gd name="connsiteY472" fmla="*/ 4675 h 10000"/>
                <a:gd name="connsiteX473" fmla="*/ 533 w 10000"/>
                <a:gd name="connsiteY473" fmla="*/ 4657 h 10000"/>
                <a:gd name="connsiteX474" fmla="*/ 483 w 10000"/>
                <a:gd name="connsiteY474" fmla="*/ 4657 h 10000"/>
                <a:gd name="connsiteX475" fmla="*/ 420 w 10000"/>
                <a:gd name="connsiteY475" fmla="*/ 4651 h 10000"/>
                <a:gd name="connsiteX476" fmla="*/ 370 w 10000"/>
                <a:gd name="connsiteY476" fmla="*/ 4639 h 10000"/>
                <a:gd name="connsiteX477" fmla="*/ 320 w 10000"/>
                <a:gd name="connsiteY477" fmla="*/ 4633 h 10000"/>
                <a:gd name="connsiteX478" fmla="*/ 276 w 10000"/>
                <a:gd name="connsiteY478" fmla="*/ 4614 h 10000"/>
                <a:gd name="connsiteX479" fmla="*/ 232 w 10000"/>
                <a:gd name="connsiteY479" fmla="*/ 4602 h 10000"/>
                <a:gd name="connsiteX480" fmla="*/ 188 w 10000"/>
                <a:gd name="connsiteY480" fmla="*/ 4584 h 10000"/>
                <a:gd name="connsiteX481" fmla="*/ 157 w 10000"/>
                <a:gd name="connsiteY481" fmla="*/ 4559 h 10000"/>
                <a:gd name="connsiteX482" fmla="*/ 132 w 10000"/>
                <a:gd name="connsiteY482" fmla="*/ 4535 h 10000"/>
                <a:gd name="connsiteX483" fmla="*/ 100 w 10000"/>
                <a:gd name="connsiteY483" fmla="*/ 4511 h 10000"/>
                <a:gd name="connsiteX484" fmla="*/ 75 w 10000"/>
                <a:gd name="connsiteY484" fmla="*/ 4481 h 10000"/>
                <a:gd name="connsiteX485" fmla="*/ 50 w 10000"/>
                <a:gd name="connsiteY485" fmla="*/ 4457 h 10000"/>
                <a:gd name="connsiteX486" fmla="*/ 19 w 10000"/>
                <a:gd name="connsiteY486" fmla="*/ 4385 h 10000"/>
                <a:gd name="connsiteX487" fmla="*/ 0 w 10000"/>
                <a:gd name="connsiteY487" fmla="*/ 4318 h 10000"/>
                <a:gd name="connsiteX488" fmla="*/ 63 w 10000"/>
                <a:gd name="connsiteY488" fmla="*/ 4270 h 10000"/>
                <a:gd name="connsiteX489" fmla="*/ 132 w 10000"/>
                <a:gd name="connsiteY489" fmla="*/ 4234 h 10000"/>
                <a:gd name="connsiteX490" fmla="*/ 201 w 10000"/>
                <a:gd name="connsiteY490" fmla="*/ 4205 h 10000"/>
                <a:gd name="connsiteX491" fmla="*/ 276 w 10000"/>
                <a:gd name="connsiteY491" fmla="*/ 4181 h 10000"/>
                <a:gd name="connsiteX492" fmla="*/ 420 w 10000"/>
                <a:gd name="connsiteY492" fmla="*/ 4151 h 10000"/>
                <a:gd name="connsiteX493" fmla="*/ 565 w 10000"/>
                <a:gd name="connsiteY493" fmla="*/ 4126 h 10000"/>
                <a:gd name="connsiteX494" fmla="*/ 640 w 10000"/>
                <a:gd name="connsiteY494" fmla="*/ 4114 h 10000"/>
                <a:gd name="connsiteX495" fmla="*/ 709 w 10000"/>
                <a:gd name="connsiteY495" fmla="*/ 4090 h 10000"/>
                <a:gd name="connsiteX496" fmla="*/ 772 w 10000"/>
                <a:gd name="connsiteY496" fmla="*/ 4072 h 10000"/>
                <a:gd name="connsiteX497" fmla="*/ 834 w 10000"/>
                <a:gd name="connsiteY497" fmla="*/ 4042 h 10000"/>
                <a:gd name="connsiteX498" fmla="*/ 891 w 10000"/>
                <a:gd name="connsiteY498" fmla="*/ 4012 h 10000"/>
                <a:gd name="connsiteX499" fmla="*/ 947 w 10000"/>
                <a:gd name="connsiteY499" fmla="*/ 3964 h 10000"/>
                <a:gd name="connsiteX500" fmla="*/ 997 w 10000"/>
                <a:gd name="connsiteY500" fmla="*/ 3909 h 10000"/>
                <a:gd name="connsiteX501" fmla="*/ 1035 w 10000"/>
                <a:gd name="connsiteY501" fmla="*/ 3842 h 10000"/>
                <a:gd name="connsiteX502" fmla="*/ 1010 w 10000"/>
                <a:gd name="connsiteY502" fmla="*/ 3830 h 10000"/>
                <a:gd name="connsiteX503" fmla="*/ 985 w 10000"/>
                <a:gd name="connsiteY503" fmla="*/ 3812 h 10000"/>
                <a:gd name="connsiteX504" fmla="*/ 947 w 10000"/>
                <a:gd name="connsiteY504" fmla="*/ 3788 h 10000"/>
                <a:gd name="connsiteX505" fmla="*/ 910 w 10000"/>
                <a:gd name="connsiteY505" fmla="*/ 3752 h 10000"/>
                <a:gd name="connsiteX506" fmla="*/ 822 w 10000"/>
                <a:gd name="connsiteY506" fmla="*/ 3680 h 10000"/>
                <a:gd name="connsiteX507" fmla="*/ 740 w 10000"/>
                <a:gd name="connsiteY507" fmla="*/ 3596 h 10000"/>
                <a:gd name="connsiteX508" fmla="*/ 665 w 10000"/>
                <a:gd name="connsiteY508" fmla="*/ 3505 h 10000"/>
                <a:gd name="connsiteX509" fmla="*/ 596 w 10000"/>
                <a:gd name="connsiteY509" fmla="*/ 3409 h 10000"/>
                <a:gd name="connsiteX510" fmla="*/ 577 w 10000"/>
                <a:gd name="connsiteY510" fmla="*/ 3367 h 10000"/>
                <a:gd name="connsiteX511" fmla="*/ 558 w 10000"/>
                <a:gd name="connsiteY511" fmla="*/ 3325 h 10000"/>
                <a:gd name="connsiteX512" fmla="*/ 540 w 10000"/>
                <a:gd name="connsiteY512" fmla="*/ 3282 h 10000"/>
                <a:gd name="connsiteX513" fmla="*/ 533 w 10000"/>
                <a:gd name="connsiteY513" fmla="*/ 3246 h 10000"/>
                <a:gd name="connsiteX514" fmla="*/ 508 w 10000"/>
                <a:gd name="connsiteY514" fmla="*/ 3240 h 10000"/>
                <a:gd name="connsiteX515" fmla="*/ 483 w 10000"/>
                <a:gd name="connsiteY515" fmla="*/ 3234 h 10000"/>
                <a:gd name="connsiteX516" fmla="*/ 458 w 10000"/>
                <a:gd name="connsiteY516" fmla="*/ 3222 h 10000"/>
                <a:gd name="connsiteX517" fmla="*/ 439 w 10000"/>
                <a:gd name="connsiteY517" fmla="*/ 3199 h 10000"/>
                <a:gd name="connsiteX518" fmla="*/ 402 w 10000"/>
                <a:gd name="connsiteY518" fmla="*/ 3156 h 10000"/>
                <a:gd name="connsiteX519" fmla="*/ 370 w 10000"/>
                <a:gd name="connsiteY519" fmla="*/ 3096 h 10000"/>
                <a:gd name="connsiteX520" fmla="*/ 370 w 10000"/>
                <a:gd name="connsiteY520" fmla="*/ 2951 h 10000"/>
                <a:gd name="connsiteX521" fmla="*/ 458 w 10000"/>
                <a:gd name="connsiteY521" fmla="*/ 2945 h 10000"/>
                <a:gd name="connsiteX522" fmla="*/ 540 w 10000"/>
                <a:gd name="connsiteY522" fmla="*/ 2939 h 10000"/>
                <a:gd name="connsiteX523" fmla="*/ 615 w 10000"/>
                <a:gd name="connsiteY523" fmla="*/ 2927 h 10000"/>
                <a:gd name="connsiteX524" fmla="*/ 684 w 10000"/>
                <a:gd name="connsiteY524" fmla="*/ 2903 h 10000"/>
                <a:gd name="connsiteX525" fmla="*/ 747 w 10000"/>
                <a:gd name="connsiteY525" fmla="*/ 2885 h 10000"/>
                <a:gd name="connsiteX526" fmla="*/ 809 w 10000"/>
                <a:gd name="connsiteY526" fmla="*/ 2854 h 10000"/>
                <a:gd name="connsiteX527" fmla="*/ 866 w 10000"/>
                <a:gd name="connsiteY527" fmla="*/ 2824 h 10000"/>
                <a:gd name="connsiteX528" fmla="*/ 922 w 10000"/>
                <a:gd name="connsiteY528" fmla="*/ 2788 h 10000"/>
                <a:gd name="connsiteX529" fmla="*/ 966 w 10000"/>
                <a:gd name="connsiteY529" fmla="*/ 2746 h 10000"/>
                <a:gd name="connsiteX530" fmla="*/ 1016 w 10000"/>
                <a:gd name="connsiteY530" fmla="*/ 2705 h 10000"/>
                <a:gd name="connsiteX531" fmla="*/ 1060 w 10000"/>
                <a:gd name="connsiteY531" fmla="*/ 2663 h 10000"/>
                <a:gd name="connsiteX532" fmla="*/ 1098 w 10000"/>
                <a:gd name="connsiteY532" fmla="*/ 2614 h 10000"/>
                <a:gd name="connsiteX533" fmla="*/ 1167 w 10000"/>
                <a:gd name="connsiteY533" fmla="*/ 2518 h 10000"/>
                <a:gd name="connsiteX534" fmla="*/ 1236 w 10000"/>
                <a:gd name="connsiteY534" fmla="*/ 2408 h 10000"/>
                <a:gd name="connsiteX535" fmla="*/ 1355 w 10000"/>
                <a:gd name="connsiteY535" fmla="*/ 2192 h 10000"/>
                <a:gd name="connsiteX536" fmla="*/ 1474 w 10000"/>
                <a:gd name="connsiteY536" fmla="*/ 1975 h 10000"/>
                <a:gd name="connsiteX537" fmla="*/ 1543 w 10000"/>
                <a:gd name="connsiteY537" fmla="*/ 1879 h 10000"/>
                <a:gd name="connsiteX538" fmla="*/ 1612 w 10000"/>
                <a:gd name="connsiteY538" fmla="*/ 1794 h 10000"/>
                <a:gd name="connsiteX539" fmla="*/ 1650 w 10000"/>
                <a:gd name="connsiteY539" fmla="*/ 1745 h 10000"/>
                <a:gd name="connsiteX540" fmla="*/ 1694 w 10000"/>
                <a:gd name="connsiteY540" fmla="*/ 1709 h 10000"/>
                <a:gd name="connsiteX541" fmla="*/ 1738 w 10000"/>
                <a:gd name="connsiteY541" fmla="*/ 1680 h 10000"/>
                <a:gd name="connsiteX542" fmla="*/ 1788 w 10000"/>
                <a:gd name="connsiteY542" fmla="*/ 1650 h 10000"/>
                <a:gd name="connsiteX543" fmla="*/ 1750 w 10000"/>
                <a:gd name="connsiteY543" fmla="*/ 1577 h 10000"/>
                <a:gd name="connsiteX544" fmla="*/ 1719 w 10000"/>
                <a:gd name="connsiteY544" fmla="*/ 1511 h 10000"/>
                <a:gd name="connsiteX545" fmla="*/ 1713 w 10000"/>
                <a:gd name="connsiteY545" fmla="*/ 1481 h 10000"/>
                <a:gd name="connsiteX546" fmla="*/ 1706 w 10000"/>
                <a:gd name="connsiteY546" fmla="*/ 1451 h 10000"/>
                <a:gd name="connsiteX547" fmla="*/ 1706 w 10000"/>
                <a:gd name="connsiteY547" fmla="*/ 1415 h 10000"/>
                <a:gd name="connsiteX548" fmla="*/ 1706 w 10000"/>
                <a:gd name="connsiteY548" fmla="*/ 1385 h 10000"/>
                <a:gd name="connsiteX549" fmla="*/ 1713 w 10000"/>
                <a:gd name="connsiteY549" fmla="*/ 1354 h 10000"/>
                <a:gd name="connsiteX550" fmla="*/ 1719 w 10000"/>
                <a:gd name="connsiteY550" fmla="*/ 1324 h 10000"/>
                <a:gd name="connsiteX551" fmla="*/ 1731 w 10000"/>
                <a:gd name="connsiteY551" fmla="*/ 1300 h 10000"/>
                <a:gd name="connsiteX552" fmla="*/ 1757 w 10000"/>
                <a:gd name="connsiteY552" fmla="*/ 1276 h 10000"/>
                <a:gd name="connsiteX553" fmla="*/ 1775 w 10000"/>
                <a:gd name="connsiteY553" fmla="*/ 1258 h 10000"/>
                <a:gd name="connsiteX554" fmla="*/ 1801 w 10000"/>
                <a:gd name="connsiteY554" fmla="*/ 1240 h 10000"/>
                <a:gd name="connsiteX555" fmla="*/ 1838 w 10000"/>
                <a:gd name="connsiteY555" fmla="*/ 1222 h 10000"/>
                <a:gd name="connsiteX556" fmla="*/ 1870 w 10000"/>
                <a:gd name="connsiteY556" fmla="*/ 1204 h 10000"/>
                <a:gd name="connsiteX557" fmla="*/ 1688 w 10000"/>
                <a:gd name="connsiteY557" fmla="*/ 1042 h 10000"/>
                <a:gd name="connsiteX558" fmla="*/ 1550 w 10000"/>
                <a:gd name="connsiteY558" fmla="*/ 920 h 10000"/>
                <a:gd name="connsiteX559" fmla="*/ 1487 w 10000"/>
                <a:gd name="connsiteY559" fmla="*/ 860 h 10000"/>
                <a:gd name="connsiteX560" fmla="*/ 1424 w 10000"/>
                <a:gd name="connsiteY560" fmla="*/ 794 h 10000"/>
                <a:gd name="connsiteX561" fmla="*/ 1361 w 10000"/>
                <a:gd name="connsiteY561" fmla="*/ 709 h 10000"/>
                <a:gd name="connsiteX562" fmla="*/ 1286 w 10000"/>
                <a:gd name="connsiteY562" fmla="*/ 608 h 10000"/>
                <a:gd name="connsiteX563" fmla="*/ 1286 w 10000"/>
                <a:gd name="connsiteY563" fmla="*/ 349 h 10000"/>
                <a:gd name="connsiteX564" fmla="*/ 1437 w 10000"/>
                <a:gd name="connsiteY564" fmla="*/ 349 h 10000"/>
                <a:gd name="connsiteX565" fmla="*/ 1606 w 10000"/>
                <a:gd name="connsiteY565" fmla="*/ 337 h 10000"/>
                <a:gd name="connsiteX566" fmla="*/ 1694 w 10000"/>
                <a:gd name="connsiteY566" fmla="*/ 331 h 10000"/>
                <a:gd name="connsiteX567" fmla="*/ 1775 w 10000"/>
                <a:gd name="connsiteY567" fmla="*/ 318 h 10000"/>
                <a:gd name="connsiteX568" fmla="*/ 1863 w 10000"/>
                <a:gd name="connsiteY568" fmla="*/ 299 h 10000"/>
                <a:gd name="connsiteX569" fmla="*/ 1945 w 10000"/>
                <a:gd name="connsiteY569" fmla="*/ 281 h 10000"/>
                <a:gd name="connsiteX570" fmla="*/ 2020 w 10000"/>
                <a:gd name="connsiteY570" fmla="*/ 263 h 10000"/>
                <a:gd name="connsiteX571" fmla="*/ 2102 w 10000"/>
                <a:gd name="connsiteY571" fmla="*/ 233 h 10000"/>
                <a:gd name="connsiteX572" fmla="*/ 2177 w 10000"/>
                <a:gd name="connsiteY572" fmla="*/ 203 h 10000"/>
                <a:gd name="connsiteX573" fmla="*/ 2240 w 10000"/>
                <a:gd name="connsiteY573" fmla="*/ 162 h 10000"/>
                <a:gd name="connsiteX574" fmla="*/ 2296 w 10000"/>
                <a:gd name="connsiteY574" fmla="*/ 120 h 10000"/>
                <a:gd name="connsiteX575" fmla="*/ 2587 w 10000"/>
                <a:gd name="connsiteY575" fmla="*/ 38 h 10000"/>
                <a:gd name="connsiteX576" fmla="*/ 2631 w 10000"/>
                <a:gd name="connsiteY576" fmla="*/ 32 h 10000"/>
                <a:gd name="connsiteX577" fmla="*/ 2415 w 10000"/>
                <a:gd name="connsiteY577"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2949 w 10000"/>
                <a:gd name="connsiteY6" fmla="*/ 94 h 10000"/>
                <a:gd name="connsiteX7" fmla="*/ 2990 w 10000"/>
                <a:gd name="connsiteY7" fmla="*/ 193 h 10000"/>
                <a:gd name="connsiteX8" fmla="*/ 3120 w 10000"/>
                <a:gd name="connsiteY8" fmla="*/ 345 h 10000"/>
                <a:gd name="connsiteX9" fmla="*/ 3152 w 10000"/>
                <a:gd name="connsiteY9" fmla="*/ 463 h 10000"/>
                <a:gd name="connsiteX10" fmla="*/ 3093 w 10000"/>
                <a:gd name="connsiteY10" fmla="*/ 493 h 10000"/>
                <a:gd name="connsiteX11" fmla="*/ 2992 w 10000"/>
                <a:gd name="connsiteY11" fmla="*/ 584 h 10000"/>
                <a:gd name="connsiteX12" fmla="*/ 3043 w 10000"/>
                <a:gd name="connsiteY12" fmla="*/ 608 h 10000"/>
                <a:gd name="connsiteX13" fmla="*/ 3087 w 10000"/>
                <a:gd name="connsiteY13" fmla="*/ 650 h 10000"/>
                <a:gd name="connsiteX14" fmla="*/ 3130 w 10000"/>
                <a:gd name="connsiteY14" fmla="*/ 697 h 10000"/>
                <a:gd name="connsiteX15" fmla="*/ 3174 w 10000"/>
                <a:gd name="connsiteY15" fmla="*/ 746 h 10000"/>
                <a:gd name="connsiteX16" fmla="*/ 3212 w 10000"/>
                <a:gd name="connsiteY16" fmla="*/ 806 h 10000"/>
                <a:gd name="connsiteX17" fmla="*/ 3256 w 10000"/>
                <a:gd name="connsiteY17" fmla="*/ 860 h 10000"/>
                <a:gd name="connsiteX18" fmla="*/ 3281 w 10000"/>
                <a:gd name="connsiteY18" fmla="*/ 920 h 10000"/>
                <a:gd name="connsiteX19" fmla="*/ 3312 w 10000"/>
                <a:gd name="connsiteY19" fmla="*/ 987 h 10000"/>
                <a:gd name="connsiteX20" fmla="*/ 3331 w 10000"/>
                <a:gd name="connsiteY20" fmla="*/ 1054 h 10000"/>
                <a:gd name="connsiteX21" fmla="*/ 3043 w 10000"/>
                <a:gd name="connsiteY21" fmla="*/ 1054 h 10000"/>
                <a:gd name="connsiteX22" fmla="*/ 3043 w 10000"/>
                <a:gd name="connsiteY22" fmla="*/ 1240 h 10000"/>
                <a:gd name="connsiteX23" fmla="*/ 3074 w 10000"/>
                <a:gd name="connsiteY23" fmla="*/ 1318 h 10000"/>
                <a:gd name="connsiteX24" fmla="*/ 3118 w 10000"/>
                <a:gd name="connsiteY24" fmla="*/ 1385 h 10000"/>
                <a:gd name="connsiteX25" fmla="*/ 3168 w 10000"/>
                <a:gd name="connsiteY25" fmla="*/ 1445 h 10000"/>
                <a:gd name="connsiteX26" fmla="*/ 3225 w 10000"/>
                <a:gd name="connsiteY26" fmla="*/ 1487 h 10000"/>
                <a:gd name="connsiteX27" fmla="*/ 3281 w 10000"/>
                <a:gd name="connsiteY27" fmla="*/ 1529 h 10000"/>
                <a:gd name="connsiteX28" fmla="*/ 3350 w 10000"/>
                <a:gd name="connsiteY28" fmla="*/ 1559 h 10000"/>
                <a:gd name="connsiteX29" fmla="*/ 3413 w 10000"/>
                <a:gd name="connsiteY29" fmla="*/ 1589 h 10000"/>
                <a:gd name="connsiteX30" fmla="*/ 3488 w 10000"/>
                <a:gd name="connsiteY30" fmla="*/ 1614 h 10000"/>
                <a:gd name="connsiteX31" fmla="*/ 3626 w 10000"/>
                <a:gd name="connsiteY31" fmla="*/ 1668 h 10000"/>
                <a:gd name="connsiteX32" fmla="*/ 3764 w 10000"/>
                <a:gd name="connsiteY32" fmla="*/ 1721 h 10000"/>
                <a:gd name="connsiteX33" fmla="*/ 3827 w 10000"/>
                <a:gd name="connsiteY33" fmla="*/ 1758 h 10000"/>
                <a:gd name="connsiteX34" fmla="*/ 3890 w 10000"/>
                <a:gd name="connsiteY34" fmla="*/ 1806 h 10000"/>
                <a:gd name="connsiteX35" fmla="*/ 3946 w 10000"/>
                <a:gd name="connsiteY35" fmla="*/ 1855 h 10000"/>
                <a:gd name="connsiteX36" fmla="*/ 4003 w 10000"/>
                <a:gd name="connsiteY36" fmla="*/ 1909 h 10000"/>
                <a:gd name="connsiteX37" fmla="*/ 3959 w 10000"/>
                <a:gd name="connsiteY37" fmla="*/ 2470 h 10000"/>
                <a:gd name="connsiteX38" fmla="*/ 4034 w 10000"/>
                <a:gd name="connsiteY38" fmla="*/ 2524 h 10000"/>
                <a:gd name="connsiteX39" fmla="*/ 4141 w 10000"/>
                <a:gd name="connsiteY39" fmla="*/ 2590 h 10000"/>
                <a:gd name="connsiteX40" fmla="*/ 4260 w 10000"/>
                <a:gd name="connsiteY40" fmla="*/ 2650 h 10000"/>
                <a:gd name="connsiteX41" fmla="*/ 4398 w 10000"/>
                <a:gd name="connsiteY41" fmla="*/ 2705 h 10000"/>
                <a:gd name="connsiteX42" fmla="*/ 4536 w 10000"/>
                <a:gd name="connsiteY42" fmla="*/ 2758 h 10000"/>
                <a:gd name="connsiteX43" fmla="*/ 4668 w 10000"/>
                <a:gd name="connsiteY43" fmla="*/ 2800 h 10000"/>
                <a:gd name="connsiteX44" fmla="*/ 4724 w 10000"/>
                <a:gd name="connsiteY44" fmla="*/ 2818 h 10000"/>
                <a:gd name="connsiteX45" fmla="*/ 4780 w 10000"/>
                <a:gd name="connsiteY45" fmla="*/ 2830 h 10000"/>
                <a:gd name="connsiteX46" fmla="*/ 4831 w 10000"/>
                <a:gd name="connsiteY46" fmla="*/ 2836 h 10000"/>
                <a:gd name="connsiteX47" fmla="*/ 4875 w 10000"/>
                <a:gd name="connsiteY47" fmla="*/ 2836 h 10000"/>
                <a:gd name="connsiteX48" fmla="*/ 4887 w 10000"/>
                <a:gd name="connsiteY48" fmla="*/ 2879 h 10000"/>
                <a:gd name="connsiteX49" fmla="*/ 4918 w 10000"/>
                <a:gd name="connsiteY49" fmla="*/ 2915 h 10000"/>
                <a:gd name="connsiteX50" fmla="*/ 4950 w 10000"/>
                <a:gd name="connsiteY50" fmla="*/ 2933 h 10000"/>
                <a:gd name="connsiteX51" fmla="*/ 4987 w 10000"/>
                <a:gd name="connsiteY51" fmla="*/ 2945 h 10000"/>
                <a:gd name="connsiteX52" fmla="*/ 5019 w 10000"/>
                <a:gd name="connsiteY52" fmla="*/ 2957 h 10000"/>
                <a:gd name="connsiteX53" fmla="*/ 5063 w 10000"/>
                <a:gd name="connsiteY53" fmla="*/ 2957 h 10000"/>
                <a:gd name="connsiteX54" fmla="*/ 5107 w 10000"/>
                <a:gd name="connsiteY54" fmla="*/ 2951 h 10000"/>
                <a:gd name="connsiteX55" fmla="*/ 5157 w 10000"/>
                <a:gd name="connsiteY55" fmla="*/ 2945 h 10000"/>
                <a:gd name="connsiteX56" fmla="*/ 5245 w 10000"/>
                <a:gd name="connsiteY56" fmla="*/ 2927 h 10000"/>
                <a:gd name="connsiteX57" fmla="*/ 5345 w 10000"/>
                <a:gd name="connsiteY57" fmla="*/ 2903 h 10000"/>
                <a:gd name="connsiteX58" fmla="*/ 5383 w 10000"/>
                <a:gd name="connsiteY58" fmla="*/ 2903 h 10000"/>
                <a:gd name="connsiteX59" fmla="*/ 5427 w 10000"/>
                <a:gd name="connsiteY59" fmla="*/ 2897 h 10000"/>
                <a:gd name="connsiteX60" fmla="*/ 5464 w 10000"/>
                <a:gd name="connsiteY60" fmla="*/ 2903 h 10000"/>
                <a:gd name="connsiteX61" fmla="*/ 5502 w 10000"/>
                <a:gd name="connsiteY61" fmla="*/ 2909 h 10000"/>
                <a:gd name="connsiteX62" fmla="*/ 5558 w 10000"/>
                <a:gd name="connsiteY62" fmla="*/ 2945 h 10000"/>
                <a:gd name="connsiteX63" fmla="*/ 5596 w 10000"/>
                <a:gd name="connsiteY63" fmla="*/ 2975 h 10000"/>
                <a:gd name="connsiteX64" fmla="*/ 5634 w 10000"/>
                <a:gd name="connsiteY64" fmla="*/ 3017 h 10000"/>
                <a:gd name="connsiteX65" fmla="*/ 5665 w 10000"/>
                <a:gd name="connsiteY65" fmla="*/ 3053 h 10000"/>
                <a:gd name="connsiteX66" fmla="*/ 5696 w 10000"/>
                <a:gd name="connsiteY66" fmla="*/ 3090 h 10000"/>
                <a:gd name="connsiteX67" fmla="*/ 5734 w 10000"/>
                <a:gd name="connsiteY67" fmla="*/ 3126 h 10000"/>
                <a:gd name="connsiteX68" fmla="*/ 5759 w 10000"/>
                <a:gd name="connsiteY68" fmla="*/ 3144 h 10000"/>
                <a:gd name="connsiteX69" fmla="*/ 5778 w 10000"/>
                <a:gd name="connsiteY69" fmla="*/ 3156 h 10000"/>
                <a:gd name="connsiteX70" fmla="*/ 5803 w 10000"/>
                <a:gd name="connsiteY70" fmla="*/ 3168 h 10000"/>
                <a:gd name="connsiteX71" fmla="*/ 5834 w 10000"/>
                <a:gd name="connsiteY71" fmla="*/ 3174 h 10000"/>
                <a:gd name="connsiteX72" fmla="*/ 5935 w 10000"/>
                <a:gd name="connsiteY72" fmla="*/ 3193 h 10000"/>
                <a:gd name="connsiteX73" fmla="*/ 6073 w 10000"/>
                <a:gd name="connsiteY73" fmla="*/ 3228 h 10000"/>
                <a:gd name="connsiteX74" fmla="*/ 6230 w 10000"/>
                <a:gd name="connsiteY74" fmla="*/ 3264 h 10000"/>
                <a:gd name="connsiteX75" fmla="*/ 6405 w 10000"/>
                <a:gd name="connsiteY75" fmla="*/ 3307 h 10000"/>
                <a:gd name="connsiteX76" fmla="*/ 6568 w 10000"/>
                <a:gd name="connsiteY76" fmla="*/ 3337 h 10000"/>
                <a:gd name="connsiteX77" fmla="*/ 6719 w 10000"/>
                <a:gd name="connsiteY77" fmla="*/ 3361 h 10000"/>
                <a:gd name="connsiteX78" fmla="*/ 6788 w 10000"/>
                <a:gd name="connsiteY78" fmla="*/ 3367 h 10000"/>
                <a:gd name="connsiteX79" fmla="*/ 6838 w 10000"/>
                <a:gd name="connsiteY79" fmla="*/ 3373 h 10000"/>
                <a:gd name="connsiteX80" fmla="*/ 6888 w 10000"/>
                <a:gd name="connsiteY80" fmla="*/ 3367 h 10000"/>
                <a:gd name="connsiteX81" fmla="*/ 6913 w 10000"/>
                <a:gd name="connsiteY81" fmla="*/ 3355 h 10000"/>
                <a:gd name="connsiteX82" fmla="*/ 6888 w 10000"/>
                <a:gd name="connsiteY82" fmla="*/ 3313 h 10000"/>
                <a:gd name="connsiteX83" fmla="*/ 6857 w 10000"/>
                <a:gd name="connsiteY83" fmla="*/ 3264 h 10000"/>
                <a:gd name="connsiteX84" fmla="*/ 6838 w 10000"/>
                <a:gd name="connsiteY84" fmla="*/ 3216 h 10000"/>
                <a:gd name="connsiteX85" fmla="*/ 6826 w 10000"/>
                <a:gd name="connsiteY85" fmla="*/ 3162 h 10000"/>
                <a:gd name="connsiteX86" fmla="*/ 6794 w 10000"/>
                <a:gd name="connsiteY86" fmla="*/ 3071 h 10000"/>
                <a:gd name="connsiteX87" fmla="*/ 6788 w 10000"/>
                <a:gd name="connsiteY87" fmla="*/ 3023 h 10000"/>
                <a:gd name="connsiteX88" fmla="*/ 6788 w 10000"/>
                <a:gd name="connsiteY88" fmla="*/ 2836 h 10000"/>
                <a:gd name="connsiteX89" fmla="*/ 6788 w 10000"/>
                <a:gd name="connsiteY89" fmla="*/ 2650 h 10000"/>
                <a:gd name="connsiteX90" fmla="*/ 6995 w 10000"/>
                <a:gd name="connsiteY90" fmla="*/ 2650 h 10000"/>
                <a:gd name="connsiteX91" fmla="*/ 7033 w 10000"/>
                <a:gd name="connsiteY91" fmla="*/ 2716 h 10000"/>
                <a:gd name="connsiteX92" fmla="*/ 7058 w 10000"/>
                <a:gd name="connsiteY92" fmla="*/ 2758 h 10000"/>
                <a:gd name="connsiteX93" fmla="*/ 7095 w 10000"/>
                <a:gd name="connsiteY93" fmla="*/ 2794 h 10000"/>
                <a:gd name="connsiteX94" fmla="*/ 7127 w 10000"/>
                <a:gd name="connsiteY94" fmla="*/ 2836 h 10000"/>
                <a:gd name="connsiteX95" fmla="*/ 7120 w 10000"/>
                <a:gd name="connsiteY95" fmla="*/ 2933 h 10000"/>
                <a:gd name="connsiteX96" fmla="*/ 7102 w 10000"/>
                <a:gd name="connsiteY96" fmla="*/ 2993 h 10000"/>
                <a:gd name="connsiteX97" fmla="*/ 7089 w 10000"/>
                <a:gd name="connsiteY97" fmla="*/ 3041 h 10000"/>
                <a:gd name="connsiteX98" fmla="*/ 7077 w 10000"/>
                <a:gd name="connsiteY98" fmla="*/ 3096 h 10000"/>
                <a:gd name="connsiteX99" fmla="*/ 7208 w 10000"/>
                <a:gd name="connsiteY99" fmla="*/ 3132 h 10000"/>
                <a:gd name="connsiteX100" fmla="*/ 7334 w 10000"/>
                <a:gd name="connsiteY100" fmla="*/ 3168 h 10000"/>
                <a:gd name="connsiteX101" fmla="*/ 7396 w 10000"/>
                <a:gd name="connsiteY101" fmla="*/ 3187 h 10000"/>
                <a:gd name="connsiteX102" fmla="*/ 7459 w 10000"/>
                <a:gd name="connsiteY102" fmla="*/ 3199 h 10000"/>
                <a:gd name="connsiteX103" fmla="*/ 7522 w 10000"/>
                <a:gd name="connsiteY103" fmla="*/ 3205 h 10000"/>
                <a:gd name="connsiteX104" fmla="*/ 7585 w 10000"/>
                <a:gd name="connsiteY104" fmla="*/ 3210 h 10000"/>
                <a:gd name="connsiteX105" fmla="*/ 7591 w 10000"/>
                <a:gd name="connsiteY105" fmla="*/ 3234 h 10000"/>
                <a:gd name="connsiteX106" fmla="*/ 7604 w 10000"/>
                <a:gd name="connsiteY106" fmla="*/ 3258 h 10000"/>
                <a:gd name="connsiteX107" fmla="*/ 7622 w 10000"/>
                <a:gd name="connsiteY107" fmla="*/ 3276 h 10000"/>
                <a:gd name="connsiteX108" fmla="*/ 7654 w 10000"/>
                <a:gd name="connsiteY108" fmla="*/ 3294 h 10000"/>
                <a:gd name="connsiteX109" fmla="*/ 7704 w 10000"/>
                <a:gd name="connsiteY109" fmla="*/ 3313 h 10000"/>
                <a:gd name="connsiteX110" fmla="*/ 7748 w 10000"/>
                <a:gd name="connsiteY110" fmla="*/ 3319 h 10000"/>
                <a:gd name="connsiteX111" fmla="*/ 7798 w 10000"/>
                <a:gd name="connsiteY111" fmla="*/ 3319 h 10000"/>
                <a:gd name="connsiteX112" fmla="*/ 7836 w 10000"/>
                <a:gd name="connsiteY112" fmla="*/ 3307 h 10000"/>
                <a:gd name="connsiteX113" fmla="*/ 7880 w 10000"/>
                <a:gd name="connsiteY113" fmla="*/ 3288 h 10000"/>
                <a:gd name="connsiteX114" fmla="*/ 7911 w 10000"/>
                <a:gd name="connsiteY114" fmla="*/ 3270 h 10000"/>
                <a:gd name="connsiteX115" fmla="*/ 7949 w 10000"/>
                <a:gd name="connsiteY115" fmla="*/ 3246 h 10000"/>
                <a:gd name="connsiteX116" fmla="*/ 7980 w 10000"/>
                <a:gd name="connsiteY116" fmla="*/ 3216 h 10000"/>
                <a:gd name="connsiteX117" fmla="*/ 8011 w 10000"/>
                <a:gd name="connsiteY117" fmla="*/ 3187 h 10000"/>
                <a:gd name="connsiteX118" fmla="*/ 8036 w 10000"/>
                <a:gd name="connsiteY118" fmla="*/ 3156 h 10000"/>
                <a:gd name="connsiteX119" fmla="*/ 8087 w 10000"/>
                <a:gd name="connsiteY119" fmla="*/ 3077 h 10000"/>
                <a:gd name="connsiteX120" fmla="*/ 8118 w 10000"/>
                <a:gd name="connsiteY120" fmla="*/ 3005 h 10000"/>
                <a:gd name="connsiteX121" fmla="*/ 8149 w 10000"/>
                <a:gd name="connsiteY121" fmla="*/ 2939 h 10000"/>
                <a:gd name="connsiteX122" fmla="*/ 8168 w 10000"/>
                <a:gd name="connsiteY122" fmla="*/ 2873 h 10000"/>
                <a:gd name="connsiteX123" fmla="*/ 8231 w 10000"/>
                <a:gd name="connsiteY123" fmla="*/ 2806 h 10000"/>
                <a:gd name="connsiteX124" fmla="*/ 8294 w 10000"/>
                <a:gd name="connsiteY124" fmla="*/ 2740 h 10000"/>
                <a:gd name="connsiteX125" fmla="*/ 8363 w 10000"/>
                <a:gd name="connsiteY125" fmla="*/ 2687 h 10000"/>
                <a:gd name="connsiteX126" fmla="*/ 8432 w 10000"/>
                <a:gd name="connsiteY126" fmla="*/ 2626 h 10000"/>
                <a:gd name="connsiteX127" fmla="*/ 8507 w 10000"/>
                <a:gd name="connsiteY127" fmla="*/ 2578 h 10000"/>
                <a:gd name="connsiteX128" fmla="*/ 8576 w 10000"/>
                <a:gd name="connsiteY128" fmla="*/ 2530 h 10000"/>
                <a:gd name="connsiteX129" fmla="*/ 8651 w 10000"/>
                <a:gd name="connsiteY129" fmla="*/ 2488 h 10000"/>
                <a:gd name="connsiteX130" fmla="*/ 8726 w 10000"/>
                <a:gd name="connsiteY130" fmla="*/ 2444 h 10000"/>
                <a:gd name="connsiteX131" fmla="*/ 8808 w 10000"/>
                <a:gd name="connsiteY131" fmla="*/ 2402 h 10000"/>
                <a:gd name="connsiteX132" fmla="*/ 8890 w 10000"/>
                <a:gd name="connsiteY132" fmla="*/ 2366 h 10000"/>
                <a:gd name="connsiteX133" fmla="*/ 8971 w 10000"/>
                <a:gd name="connsiteY133" fmla="*/ 2336 h 10000"/>
                <a:gd name="connsiteX134" fmla="*/ 9059 w 10000"/>
                <a:gd name="connsiteY134" fmla="*/ 2306 h 10000"/>
                <a:gd name="connsiteX135" fmla="*/ 9235 w 10000"/>
                <a:gd name="connsiteY135" fmla="*/ 2252 h 10000"/>
                <a:gd name="connsiteX136" fmla="*/ 9417 w 10000"/>
                <a:gd name="connsiteY136" fmla="*/ 2209 h 10000"/>
                <a:gd name="connsiteX137" fmla="*/ 9454 w 10000"/>
                <a:gd name="connsiteY137" fmla="*/ 2258 h 10000"/>
                <a:gd name="connsiteX138" fmla="*/ 9504 w 10000"/>
                <a:gd name="connsiteY138" fmla="*/ 2318 h 10000"/>
                <a:gd name="connsiteX139" fmla="*/ 9573 w 10000"/>
                <a:gd name="connsiteY139" fmla="*/ 2384 h 10000"/>
                <a:gd name="connsiteX140" fmla="*/ 9642 w 10000"/>
                <a:gd name="connsiteY140" fmla="*/ 2457 h 10000"/>
                <a:gd name="connsiteX141" fmla="*/ 9718 w 10000"/>
                <a:gd name="connsiteY141" fmla="*/ 2518 h 10000"/>
                <a:gd name="connsiteX142" fmla="*/ 9799 w 10000"/>
                <a:gd name="connsiteY142" fmla="*/ 2566 h 10000"/>
                <a:gd name="connsiteX143" fmla="*/ 9837 w 10000"/>
                <a:gd name="connsiteY143" fmla="*/ 2590 h 10000"/>
                <a:gd name="connsiteX144" fmla="*/ 9875 w 10000"/>
                <a:gd name="connsiteY144" fmla="*/ 2602 h 10000"/>
                <a:gd name="connsiteX145" fmla="*/ 9918 w 10000"/>
                <a:gd name="connsiteY145" fmla="*/ 2614 h 10000"/>
                <a:gd name="connsiteX146" fmla="*/ 9956 w 10000"/>
                <a:gd name="connsiteY146" fmla="*/ 2614 h 10000"/>
                <a:gd name="connsiteX147" fmla="*/ 10000 w 10000"/>
                <a:gd name="connsiteY147" fmla="*/ 2542 h 10000"/>
                <a:gd name="connsiteX148" fmla="*/ 9975 w 10000"/>
                <a:gd name="connsiteY148" fmla="*/ 2669 h 10000"/>
                <a:gd name="connsiteX149" fmla="*/ 9944 w 10000"/>
                <a:gd name="connsiteY149" fmla="*/ 2812 h 10000"/>
                <a:gd name="connsiteX150" fmla="*/ 9931 w 10000"/>
                <a:gd name="connsiteY150" fmla="*/ 2879 h 10000"/>
                <a:gd name="connsiteX151" fmla="*/ 9906 w 10000"/>
                <a:gd name="connsiteY151" fmla="*/ 2939 h 10000"/>
                <a:gd name="connsiteX152" fmla="*/ 9887 w 10000"/>
                <a:gd name="connsiteY152" fmla="*/ 2963 h 10000"/>
                <a:gd name="connsiteX153" fmla="*/ 9875 w 10000"/>
                <a:gd name="connsiteY153" fmla="*/ 2987 h 10000"/>
                <a:gd name="connsiteX154" fmla="*/ 9856 w 10000"/>
                <a:gd name="connsiteY154" fmla="*/ 3005 h 10000"/>
                <a:gd name="connsiteX155" fmla="*/ 9837 w 10000"/>
                <a:gd name="connsiteY155" fmla="*/ 3023 h 10000"/>
                <a:gd name="connsiteX156" fmla="*/ 9749 w 10000"/>
                <a:gd name="connsiteY156" fmla="*/ 3041 h 10000"/>
                <a:gd name="connsiteX157" fmla="*/ 9605 w 10000"/>
                <a:gd name="connsiteY157" fmla="*/ 3090 h 10000"/>
                <a:gd name="connsiteX158" fmla="*/ 9536 w 10000"/>
                <a:gd name="connsiteY158" fmla="*/ 3132 h 10000"/>
                <a:gd name="connsiteX159" fmla="*/ 9479 w 10000"/>
                <a:gd name="connsiteY159" fmla="*/ 3168 h 10000"/>
                <a:gd name="connsiteX160" fmla="*/ 9448 w 10000"/>
                <a:gd name="connsiteY160" fmla="*/ 3187 h 10000"/>
                <a:gd name="connsiteX161" fmla="*/ 9435 w 10000"/>
                <a:gd name="connsiteY161" fmla="*/ 3205 h 10000"/>
                <a:gd name="connsiteX162" fmla="*/ 9423 w 10000"/>
                <a:gd name="connsiteY162" fmla="*/ 3228 h 10000"/>
                <a:gd name="connsiteX163" fmla="*/ 9417 w 10000"/>
                <a:gd name="connsiteY163" fmla="*/ 3246 h 10000"/>
                <a:gd name="connsiteX164" fmla="*/ 9423 w 10000"/>
                <a:gd name="connsiteY164" fmla="*/ 3457 h 10000"/>
                <a:gd name="connsiteX165" fmla="*/ 9417 w 10000"/>
                <a:gd name="connsiteY165" fmla="*/ 3698 h 10000"/>
                <a:gd name="connsiteX166" fmla="*/ 9398 w 10000"/>
                <a:gd name="connsiteY166" fmla="*/ 3758 h 10000"/>
                <a:gd name="connsiteX167" fmla="*/ 9391 w 10000"/>
                <a:gd name="connsiteY167" fmla="*/ 3824 h 10000"/>
                <a:gd name="connsiteX168" fmla="*/ 9379 w 10000"/>
                <a:gd name="connsiteY168" fmla="*/ 3878 h 10000"/>
                <a:gd name="connsiteX169" fmla="*/ 9366 w 10000"/>
                <a:gd name="connsiteY169" fmla="*/ 3933 h 10000"/>
                <a:gd name="connsiteX170" fmla="*/ 9348 w 10000"/>
                <a:gd name="connsiteY170" fmla="*/ 3982 h 10000"/>
                <a:gd name="connsiteX171" fmla="*/ 9316 w 10000"/>
                <a:gd name="connsiteY171" fmla="*/ 4030 h 10000"/>
                <a:gd name="connsiteX172" fmla="*/ 9285 w 10000"/>
                <a:gd name="connsiteY172" fmla="*/ 4066 h 10000"/>
                <a:gd name="connsiteX173" fmla="*/ 9247 w 10000"/>
                <a:gd name="connsiteY173" fmla="*/ 4096 h 10000"/>
                <a:gd name="connsiteX174" fmla="*/ 9228 w 10000"/>
                <a:gd name="connsiteY174" fmla="*/ 4114 h 10000"/>
                <a:gd name="connsiteX175" fmla="*/ 9184 w 10000"/>
                <a:gd name="connsiteY175" fmla="*/ 4120 h 10000"/>
                <a:gd name="connsiteX176" fmla="*/ 9141 w 10000"/>
                <a:gd name="connsiteY176" fmla="*/ 4126 h 10000"/>
                <a:gd name="connsiteX177" fmla="*/ 9090 w 10000"/>
                <a:gd name="connsiteY177" fmla="*/ 4132 h 10000"/>
                <a:gd name="connsiteX178" fmla="*/ 9040 w 10000"/>
                <a:gd name="connsiteY178" fmla="*/ 4138 h 10000"/>
                <a:gd name="connsiteX179" fmla="*/ 8996 w 10000"/>
                <a:gd name="connsiteY179" fmla="*/ 4157 h 10000"/>
                <a:gd name="connsiteX180" fmla="*/ 8977 w 10000"/>
                <a:gd name="connsiteY180" fmla="*/ 4163 h 10000"/>
                <a:gd name="connsiteX181" fmla="*/ 8965 w 10000"/>
                <a:gd name="connsiteY181" fmla="*/ 4181 h 10000"/>
                <a:gd name="connsiteX182" fmla="*/ 8959 w 10000"/>
                <a:gd name="connsiteY182" fmla="*/ 4193 h 10000"/>
                <a:gd name="connsiteX183" fmla="*/ 8959 w 10000"/>
                <a:gd name="connsiteY183" fmla="*/ 4211 h 10000"/>
                <a:gd name="connsiteX184" fmla="*/ 8952 w 10000"/>
                <a:gd name="connsiteY184" fmla="*/ 4282 h 10000"/>
                <a:gd name="connsiteX185" fmla="*/ 8952 w 10000"/>
                <a:gd name="connsiteY185" fmla="*/ 4367 h 10000"/>
                <a:gd name="connsiteX186" fmla="*/ 8940 w 10000"/>
                <a:gd name="connsiteY186" fmla="*/ 4457 h 10000"/>
                <a:gd name="connsiteX187" fmla="*/ 8927 w 10000"/>
                <a:gd name="connsiteY187" fmla="*/ 4541 h 10000"/>
                <a:gd name="connsiteX188" fmla="*/ 8908 w 10000"/>
                <a:gd name="connsiteY188" fmla="*/ 4627 h 10000"/>
                <a:gd name="connsiteX189" fmla="*/ 8890 w 10000"/>
                <a:gd name="connsiteY189" fmla="*/ 4705 h 10000"/>
                <a:gd name="connsiteX190" fmla="*/ 8864 w 10000"/>
                <a:gd name="connsiteY190" fmla="*/ 4776 h 10000"/>
                <a:gd name="connsiteX191" fmla="*/ 8833 w 10000"/>
                <a:gd name="connsiteY191" fmla="*/ 4843 h 10000"/>
                <a:gd name="connsiteX192" fmla="*/ 8538 w 10000"/>
                <a:gd name="connsiteY192" fmla="*/ 4354 h 10000"/>
                <a:gd name="connsiteX193" fmla="*/ 8526 w 10000"/>
                <a:gd name="connsiteY193" fmla="*/ 4379 h 10000"/>
                <a:gd name="connsiteX194" fmla="*/ 8494 w 10000"/>
                <a:gd name="connsiteY194" fmla="*/ 4433 h 10000"/>
                <a:gd name="connsiteX195" fmla="*/ 8463 w 10000"/>
                <a:gd name="connsiteY195" fmla="*/ 4463 h 10000"/>
                <a:gd name="connsiteX196" fmla="*/ 8438 w 10000"/>
                <a:gd name="connsiteY196" fmla="*/ 4487 h 10000"/>
                <a:gd name="connsiteX197" fmla="*/ 8407 w 10000"/>
                <a:gd name="connsiteY197" fmla="*/ 4505 h 10000"/>
                <a:gd name="connsiteX198" fmla="*/ 8375 w 10000"/>
                <a:gd name="connsiteY198" fmla="*/ 4511 h 10000"/>
                <a:gd name="connsiteX199" fmla="*/ 8338 w 10000"/>
                <a:gd name="connsiteY199" fmla="*/ 4505 h 10000"/>
                <a:gd name="connsiteX200" fmla="*/ 8312 w 10000"/>
                <a:gd name="connsiteY200" fmla="*/ 4499 h 10000"/>
                <a:gd name="connsiteX201" fmla="*/ 8287 w 10000"/>
                <a:gd name="connsiteY201" fmla="*/ 4481 h 10000"/>
                <a:gd name="connsiteX202" fmla="*/ 8256 w 10000"/>
                <a:gd name="connsiteY202" fmla="*/ 4463 h 10000"/>
                <a:gd name="connsiteX203" fmla="*/ 8237 w 10000"/>
                <a:gd name="connsiteY203" fmla="*/ 4433 h 10000"/>
                <a:gd name="connsiteX204" fmla="*/ 8225 w 10000"/>
                <a:gd name="connsiteY204" fmla="*/ 4409 h 10000"/>
                <a:gd name="connsiteX205" fmla="*/ 8206 w 10000"/>
                <a:gd name="connsiteY205" fmla="*/ 4385 h 10000"/>
                <a:gd name="connsiteX206" fmla="*/ 8206 w 10000"/>
                <a:gd name="connsiteY206" fmla="*/ 4354 h 10000"/>
                <a:gd name="connsiteX207" fmla="*/ 8206 w 10000"/>
                <a:gd name="connsiteY207" fmla="*/ 4318 h 10000"/>
                <a:gd name="connsiteX208" fmla="*/ 8225 w 10000"/>
                <a:gd name="connsiteY208" fmla="*/ 4282 h 10000"/>
                <a:gd name="connsiteX209" fmla="*/ 8237 w 10000"/>
                <a:gd name="connsiteY209" fmla="*/ 4246 h 10000"/>
                <a:gd name="connsiteX210" fmla="*/ 8250 w 10000"/>
                <a:gd name="connsiteY210" fmla="*/ 4211 h 10000"/>
                <a:gd name="connsiteX211" fmla="*/ 8300 w 10000"/>
                <a:gd name="connsiteY211" fmla="*/ 4144 h 10000"/>
                <a:gd name="connsiteX212" fmla="*/ 8356 w 10000"/>
                <a:gd name="connsiteY212" fmla="*/ 4078 h 10000"/>
                <a:gd name="connsiteX213" fmla="*/ 8407 w 10000"/>
                <a:gd name="connsiteY213" fmla="*/ 4018 h 10000"/>
                <a:gd name="connsiteX214" fmla="*/ 8457 w 10000"/>
                <a:gd name="connsiteY214" fmla="*/ 3952 h 10000"/>
                <a:gd name="connsiteX215" fmla="*/ 8469 w 10000"/>
                <a:gd name="connsiteY215" fmla="*/ 3915 h 10000"/>
                <a:gd name="connsiteX216" fmla="*/ 8482 w 10000"/>
                <a:gd name="connsiteY216" fmla="*/ 3884 h 10000"/>
                <a:gd name="connsiteX217" fmla="*/ 8501 w 10000"/>
                <a:gd name="connsiteY217" fmla="*/ 3842 h 10000"/>
                <a:gd name="connsiteX218" fmla="*/ 8501 w 10000"/>
                <a:gd name="connsiteY218" fmla="*/ 3806 h 10000"/>
                <a:gd name="connsiteX219" fmla="*/ 7748 w 10000"/>
                <a:gd name="connsiteY219" fmla="*/ 3806 h 10000"/>
                <a:gd name="connsiteX220" fmla="*/ 7723 w 10000"/>
                <a:gd name="connsiteY220" fmla="*/ 3800 h 10000"/>
                <a:gd name="connsiteX221" fmla="*/ 7685 w 10000"/>
                <a:gd name="connsiteY221" fmla="*/ 3782 h 10000"/>
                <a:gd name="connsiteX222" fmla="*/ 7660 w 10000"/>
                <a:gd name="connsiteY222" fmla="*/ 3746 h 10000"/>
                <a:gd name="connsiteX223" fmla="*/ 7635 w 10000"/>
                <a:gd name="connsiteY223" fmla="*/ 3710 h 10000"/>
                <a:gd name="connsiteX224" fmla="*/ 7616 w 10000"/>
                <a:gd name="connsiteY224" fmla="*/ 3662 h 10000"/>
                <a:gd name="connsiteX225" fmla="*/ 7597 w 10000"/>
                <a:gd name="connsiteY225" fmla="*/ 3614 h 10000"/>
                <a:gd name="connsiteX226" fmla="*/ 7591 w 10000"/>
                <a:gd name="connsiteY226" fmla="*/ 3560 h 10000"/>
                <a:gd name="connsiteX227" fmla="*/ 7585 w 10000"/>
                <a:gd name="connsiteY227" fmla="*/ 3505 h 10000"/>
                <a:gd name="connsiteX228" fmla="*/ 7547 w 10000"/>
                <a:gd name="connsiteY228" fmla="*/ 3505 h 10000"/>
                <a:gd name="connsiteX229" fmla="*/ 7516 w 10000"/>
                <a:gd name="connsiteY229" fmla="*/ 3499 h 10000"/>
                <a:gd name="connsiteX230" fmla="*/ 7478 w 10000"/>
                <a:gd name="connsiteY230" fmla="*/ 3493 h 10000"/>
                <a:gd name="connsiteX231" fmla="*/ 7447 w 10000"/>
                <a:gd name="connsiteY231" fmla="*/ 3481 h 10000"/>
                <a:gd name="connsiteX232" fmla="*/ 7415 w 10000"/>
                <a:gd name="connsiteY232" fmla="*/ 3463 h 10000"/>
                <a:gd name="connsiteX233" fmla="*/ 7396 w 10000"/>
                <a:gd name="connsiteY233" fmla="*/ 3445 h 10000"/>
                <a:gd name="connsiteX234" fmla="*/ 7384 w 10000"/>
                <a:gd name="connsiteY234" fmla="*/ 3415 h 10000"/>
                <a:gd name="connsiteX235" fmla="*/ 7378 w 10000"/>
                <a:gd name="connsiteY235" fmla="*/ 3391 h 10000"/>
                <a:gd name="connsiteX236" fmla="*/ 7321 w 10000"/>
                <a:gd name="connsiteY236" fmla="*/ 3391 h 10000"/>
                <a:gd name="connsiteX237" fmla="*/ 7271 w 10000"/>
                <a:gd name="connsiteY237" fmla="*/ 3391 h 10000"/>
                <a:gd name="connsiteX238" fmla="*/ 7221 w 10000"/>
                <a:gd name="connsiteY238" fmla="*/ 3391 h 10000"/>
                <a:gd name="connsiteX239" fmla="*/ 7171 w 10000"/>
                <a:gd name="connsiteY239" fmla="*/ 3391 h 10000"/>
                <a:gd name="connsiteX240" fmla="*/ 7127 w 10000"/>
                <a:gd name="connsiteY240" fmla="*/ 3397 h 10000"/>
                <a:gd name="connsiteX241" fmla="*/ 7095 w 10000"/>
                <a:gd name="connsiteY241" fmla="*/ 3403 h 10000"/>
                <a:gd name="connsiteX242" fmla="*/ 7051 w 10000"/>
                <a:gd name="connsiteY242" fmla="*/ 3421 h 10000"/>
                <a:gd name="connsiteX243" fmla="*/ 7008 w 10000"/>
                <a:gd name="connsiteY243" fmla="*/ 3445 h 10000"/>
                <a:gd name="connsiteX244" fmla="*/ 6976 w 10000"/>
                <a:gd name="connsiteY244" fmla="*/ 3475 h 10000"/>
                <a:gd name="connsiteX245" fmla="*/ 6939 w 10000"/>
                <a:gd name="connsiteY245" fmla="*/ 3505 h 10000"/>
                <a:gd name="connsiteX246" fmla="*/ 6920 w 10000"/>
                <a:gd name="connsiteY246" fmla="*/ 3542 h 10000"/>
                <a:gd name="connsiteX247" fmla="*/ 6913 w 10000"/>
                <a:gd name="connsiteY247" fmla="*/ 3578 h 10000"/>
                <a:gd name="connsiteX248" fmla="*/ 6926 w 10000"/>
                <a:gd name="connsiteY248" fmla="*/ 3602 h 10000"/>
                <a:gd name="connsiteX249" fmla="*/ 6964 w 10000"/>
                <a:gd name="connsiteY249" fmla="*/ 3632 h 10000"/>
                <a:gd name="connsiteX250" fmla="*/ 7008 w 10000"/>
                <a:gd name="connsiteY250" fmla="*/ 3668 h 10000"/>
                <a:gd name="connsiteX251" fmla="*/ 7070 w 10000"/>
                <a:gd name="connsiteY251" fmla="*/ 3704 h 10000"/>
                <a:gd name="connsiteX252" fmla="*/ 7133 w 10000"/>
                <a:gd name="connsiteY252" fmla="*/ 3740 h 10000"/>
                <a:gd name="connsiteX253" fmla="*/ 7196 w 10000"/>
                <a:gd name="connsiteY253" fmla="*/ 3770 h 10000"/>
                <a:gd name="connsiteX254" fmla="*/ 7252 w 10000"/>
                <a:gd name="connsiteY254" fmla="*/ 3794 h 10000"/>
                <a:gd name="connsiteX255" fmla="*/ 7290 w 10000"/>
                <a:gd name="connsiteY255" fmla="*/ 3806 h 10000"/>
                <a:gd name="connsiteX256" fmla="*/ 7208 w 10000"/>
                <a:gd name="connsiteY256" fmla="*/ 3866 h 10000"/>
                <a:gd name="connsiteX257" fmla="*/ 7114 w 10000"/>
                <a:gd name="connsiteY257" fmla="*/ 3940 h 10000"/>
                <a:gd name="connsiteX258" fmla="*/ 7070 w 10000"/>
                <a:gd name="connsiteY258" fmla="*/ 3976 h 10000"/>
                <a:gd name="connsiteX259" fmla="*/ 7033 w 10000"/>
                <a:gd name="connsiteY259" fmla="*/ 4018 h 10000"/>
                <a:gd name="connsiteX260" fmla="*/ 7020 w 10000"/>
                <a:gd name="connsiteY260" fmla="*/ 4036 h 10000"/>
                <a:gd name="connsiteX261" fmla="*/ 7008 w 10000"/>
                <a:gd name="connsiteY261" fmla="*/ 4054 h 10000"/>
                <a:gd name="connsiteX262" fmla="*/ 7001 w 10000"/>
                <a:gd name="connsiteY262" fmla="*/ 4078 h 10000"/>
                <a:gd name="connsiteX263" fmla="*/ 6995 w 10000"/>
                <a:gd name="connsiteY263" fmla="*/ 4096 h 10000"/>
                <a:gd name="connsiteX264" fmla="*/ 7001 w 10000"/>
                <a:gd name="connsiteY264" fmla="*/ 4126 h 10000"/>
                <a:gd name="connsiteX265" fmla="*/ 7008 w 10000"/>
                <a:gd name="connsiteY265" fmla="*/ 4144 h 10000"/>
                <a:gd name="connsiteX266" fmla="*/ 7026 w 10000"/>
                <a:gd name="connsiteY266" fmla="*/ 4169 h 10000"/>
                <a:gd name="connsiteX267" fmla="*/ 7039 w 10000"/>
                <a:gd name="connsiteY267" fmla="*/ 4193 h 10000"/>
                <a:gd name="connsiteX268" fmla="*/ 7089 w 10000"/>
                <a:gd name="connsiteY268" fmla="*/ 4240 h 10000"/>
                <a:gd name="connsiteX269" fmla="*/ 7146 w 10000"/>
                <a:gd name="connsiteY269" fmla="*/ 4288 h 10000"/>
                <a:gd name="connsiteX270" fmla="*/ 7208 w 10000"/>
                <a:gd name="connsiteY270" fmla="*/ 4330 h 10000"/>
                <a:gd name="connsiteX271" fmla="*/ 7277 w 10000"/>
                <a:gd name="connsiteY271" fmla="*/ 4367 h 10000"/>
                <a:gd name="connsiteX272" fmla="*/ 7315 w 10000"/>
                <a:gd name="connsiteY272" fmla="*/ 4379 h 10000"/>
                <a:gd name="connsiteX273" fmla="*/ 7346 w 10000"/>
                <a:gd name="connsiteY273" fmla="*/ 4385 h 10000"/>
                <a:gd name="connsiteX274" fmla="*/ 7384 w 10000"/>
                <a:gd name="connsiteY274" fmla="*/ 4391 h 10000"/>
                <a:gd name="connsiteX275" fmla="*/ 7415 w 10000"/>
                <a:gd name="connsiteY275" fmla="*/ 4397 h 10000"/>
                <a:gd name="connsiteX276" fmla="*/ 7585 w 10000"/>
                <a:gd name="connsiteY276" fmla="*/ 5024 h 10000"/>
                <a:gd name="connsiteX277" fmla="*/ 7491 w 10000"/>
                <a:gd name="connsiteY277" fmla="*/ 5024 h 10000"/>
                <a:gd name="connsiteX278" fmla="*/ 7403 w 10000"/>
                <a:gd name="connsiteY278" fmla="*/ 5024 h 10000"/>
                <a:gd name="connsiteX279" fmla="*/ 7321 w 10000"/>
                <a:gd name="connsiteY279" fmla="*/ 5024 h 10000"/>
                <a:gd name="connsiteX280" fmla="*/ 7252 w 10000"/>
                <a:gd name="connsiteY280" fmla="*/ 5024 h 10000"/>
                <a:gd name="connsiteX281" fmla="*/ 7208 w 10000"/>
                <a:gd name="connsiteY281" fmla="*/ 5018 h 10000"/>
                <a:gd name="connsiteX282" fmla="*/ 7164 w 10000"/>
                <a:gd name="connsiteY282" fmla="*/ 4987 h 10000"/>
                <a:gd name="connsiteX283" fmla="*/ 7133 w 10000"/>
                <a:gd name="connsiteY283" fmla="*/ 4975 h 10000"/>
                <a:gd name="connsiteX284" fmla="*/ 7102 w 10000"/>
                <a:gd name="connsiteY284" fmla="*/ 4963 h 10000"/>
                <a:gd name="connsiteX285" fmla="*/ 7070 w 10000"/>
                <a:gd name="connsiteY285" fmla="*/ 4957 h 10000"/>
                <a:gd name="connsiteX286" fmla="*/ 7039 w 10000"/>
                <a:gd name="connsiteY286" fmla="*/ 4951 h 10000"/>
                <a:gd name="connsiteX287" fmla="*/ 7008 w 10000"/>
                <a:gd name="connsiteY287" fmla="*/ 4963 h 10000"/>
                <a:gd name="connsiteX288" fmla="*/ 6957 w 10000"/>
                <a:gd name="connsiteY288" fmla="*/ 4993 h 10000"/>
                <a:gd name="connsiteX289" fmla="*/ 6895 w 10000"/>
                <a:gd name="connsiteY289" fmla="*/ 5036 h 10000"/>
                <a:gd name="connsiteX290" fmla="*/ 6819 w 10000"/>
                <a:gd name="connsiteY290" fmla="*/ 5084 h 10000"/>
                <a:gd name="connsiteX291" fmla="*/ 6744 w 10000"/>
                <a:gd name="connsiteY291" fmla="*/ 5144 h 10000"/>
                <a:gd name="connsiteX292" fmla="*/ 6681 w 10000"/>
                <a:gd name="connsiteY292" fmla="*/ 5192 h 10000"/>
                <a:gd name="connsiteX293" fmla="*/ 6637 w 10000"/>
                <a:gd name="connsiteY293" fmla="*/ 5228 h 10000"/>
                <a:gd name="connsiteX294" fmla="*/ 6625 w 10000"/>
                <a:gd name="connsiteY294" fmla="*/ 5252 h 10000"/>
                <a:gd name="connsiteX295" fmla="*/ 6750 w 10000"/>
                <a:gd name="connsiteY295" fmla="*/ 5324 h 10000"/>
                <a:gd name="connsiteX296" fmla="*/ 6744 w 10000"/>
                <a:gd name="connsiteY296" fmla="*/ 5361 h 10000"/>
                <a:gd name="connsiteX297" fmla="*/ 6725 w 10000"/>
                <a:gd name="connsiteY297" fmla="*/ 5403 h 10000"/>
                <a:gd name="connsiteX298" fmla="*/ 6706 w 10000"/>
                <a:gd name="connsiteY298" fmla="*/ 5434 h 10000"/>
                <a:gd name="connsiteX299" fmla="*/ 6688 w 10000"/>
                <a:gd name="connsiteY299" fmla="*/ 5476 h 10000"/>
                <a:gd name="connsiteX300" fmla="*/ 6637 w 10000"/>
                <a:gd name="connsiteY300" fmla="*/ 5530 h 10000"/>
                <a:gd name="connsiteX301" fmla="*/ 6581 w 10000"/>
                <a:gd name="connsiteY301" fmla="*/ 5584 h 10000"/>
                <a:gd name="connsiteX302" fmla="*/ 6518 w 10000"/>
                <a:gd name="connsiteY302" fmla="*/ 5632 h 10000"/>
                <a:gd name="connsiteX303" fmla="*/ 6443 w 10000"/>
                <a:gd name="connsiteY303" fmla="*/ 5675 h 10000"/>
                <a:gd name="connsiteX304" fmla="*/ 6374 w 10000"/>
                <a:gd name="connsiteY304" fmla="*/ 5711 h 10000"/>
                <a:gd name="connsiteX305" fmla="*/ 6299 w 10000"/>
                <a:gd name="connsiteY305" fmla="*/ 5746 h 10000"/>
                <a:gd name="connsiteX306" fmla="*/ 6223 w 10000"/>
                <a:gd name="connsiteY306" fmla="*/ 5794 h 10000"/>
                <a:gd name="connsiteX307" fmla="*/ 6154 w 10000"/>
                <a:gd name="connsiteY307" fmla="*/ 5830 h 10000"/>
                <a:gd name="connsiteX308" fmla="*/ 6092 w 10000"/>
                <a:gd name="connsiteY308" fmla="*/ 5873 h 10000"/>
                <a:gd name="connsiteX309" fmla="*/ 6035 w 10000"/>
                <a:gd name="connsiteY309" fmla="*/ 5921 h 10000"/>
                <a:gd name="connsiteX310" fmla="*/ 6004 w 10000"/>
                <a:gd name="connsiteY310" fmla="*/ 5945 h 10000"/>
                <a:gd name="connsiteX311" fmla="*/ 5985 w 10000"/>
                <a:gd name="connsiteY311" fmla="*/ 5969 h 10000"/>
                <a:gd name="connsiteX312" fmla="*/ 5966 w 10000"/>
                <a:gd name="connsiteY312" fmla="*/ 5999 h 10000"/>
                <a:gd name="connsiteX313" fmla="*/ 5947 w 10000"/>
                <a:gd name="connsiteY313" fmla="*/ 6029 h 10000"/>
                <a:gd name="connsiteX314" fmla="*/ 5935 w 10000"/>
                <a:gd name="connsiteY314" fmla="*/ 6067 h 10000"/>
                <a:gd name="connsiteX315" fmla="*/ 5922 w 10000"/>
                <a:gd name="connsiteY315" fmla="*/ 6097 h 10000"/>
                <a:gd name="connsiteX316" fmla="*/ 5916 w 10000"/>
                <a:gd name="connsiteY316" fmla="*/ 6139 h 10000"/>
                <a:gd name="connsiteX317" fmla="*/ 5916 w 10000"/>
                <a:gd name="connsiteY317" fmla="*/ 6181 h 10000"/>
                <a:gd name="connsiteX318" fmla="*/ 5859 w 10000"/>
                <a:gd name="connsiteY318" fmla="*/ 6199 h 10000"/>
                <a:gd name="connsiteX319" fmla="*/ 5809 w 10000"/>
                <a:gd name="connsiteY319" fmla="*/ 6217 h 10000"/>
                <a:gd name="connsiteX320" fmla="*/ 5765 w 10000"/>
                <a:gd name="connsiteY320" fmla="*/ 6240 h 10000"/>
                <a:gd name="connsiteX321" fmla="*/ 5721 w 10000"/>
                <a:gd name="connsiteY321" fmla="*/ 6264 h 10000"/>
                <a:gd name="connsiteX322" fmla="*/ 5634 w 10000"/>
                <a:gd name="connsiteY322" fmla="*/ 6325 h 10000"/>
                <a:gd name="connsiteX323" fmla="*/ 5558 w 10000"/>
                <a:gd name="connsiteY323" fmla="*/ 6397 h 10000"/>
                <a:gd name="connsiteX324" fmla="*/ 5420 w 10000"/>
                <a:gd name="connsiteY324" fmla="*/ 6560 h 10000"/>
                <a:gd name="connsiteX325" fmla="*/ 5289 w 10000"/>
                <a:gd name="connsiteY325" fmla="*/ 6734 h 10000"/>
                <a:gd name="connsiteX326" fmla="*/ 5220 w 10000"/>
                <a:gd name="connsiteY326" fmla="*/ 6825 h 10000"/>
                <a:gd name="connsiteX327" fmla="*/ 5151 w 10000"/>
                <a:gd name="connsiteY327" fmla="*/ 6903 h 10000"/>
                <a:gd name="connsiteX328" fmla="*/ 5075 w 10000"/>
                <a:gd name="connsiteY328" fmla="*/ 6976 h 10000"/>
                <a:gd name="connsiteX329" fmla="*/ 4994 w 10000"/>
                <a:gd name="connsiteY329" fmla="*/ 7042 h 10000"/>
                <a:gd name="connsiteX330" fmla="*/ 4944 w 10000"/>
                <a:gd name="connsiteY330" fmla="*/ 7072 h 10000"/>
                <a:gd name="connsiteX331" fmla="*/ 4893 w 10000"/>
                <a:gd name="connsiteY331" fmla="*/ 7096 h 10000"/>
                <a:gd name="connsiteX332" fmla="*/ 4849 w 10000"/>
                <a:gd name="connsiteY332" fmla="*/ 7120 h 10000"/>
                <a:gd name="connsiteX333" fmla="*/ 4793 w 10000"/>
                <a:gd name="connsiteY333" fmla="*/ 7145 h 10000"/>
                <a:gd name="connsiteX334" fmla="*/ 4730 w 10000"/>
                <a:gd name="connsiteY334" fmla="*/ 7163 h 10000"/>
                <a:gd name="connsiteX335" fmla="*/ 4674 w 10000"/>
                <a:gd name="connsiteY335" fmla="*/ 7175 h 10000"/>
                <a:gd name="connsiteX336" fmla="*/ 4605 w 10000"/>
                <a:gd name="connsiteY336" fmla="*/ 7181 h 10000"/>
                <a:gd name="connsiteX337" fmla="*/ 4536 w 10000"/>
                <a:gd name="connsiteY337" fmla="*/ 7181 h 10000"/>
                <a:gd name="connsiteX338" fmla="*/ 4536 w 10000"/>
                <a:gd name="connsiteY338" fmla="*/ 7234 h 10000"/>
                <a:gd name="connsiteX339" fmla="*/ 4536 w 10000"/>
                <a:gd name="connsiteY339" fmla="*/ 7288 h 10000"/>
                <a:gd name="connsiteX340" fmla="*/ 4536 w 10000"/>
                <a:gd name="connsiteY340" fmla="*/ 7330 h 10000"/>
                <a:gd name="connsiteX341" fmla="*/ 4536 w 10000"/>
                <a:gd name="connsiteY341" fmla="*/ 7367 h 10000"/>
                <a:gd name="connsiteX342" fmla="*/ 4536 w 10000"/>
                <a:gd name="connsiteY342" fmla="*/ 7433 h 10000"/>
                <a:gd name="connsiteX343" fmla="*/ 4536 w 10000"/>
                <a:gd name="connsiteY343" fmla="*/ 7536 h 10000"/>
                <a:gd name="connsiteX344" fmla="*/ 4536 w 10000"/>
                <a:gd name="connsiteY344" fmla="*/ 7645 h 10000"/>
                <a:gd name="connsiteX345" fmla="*/ 4548 w 10000"/>
                <a:gd name="connsiteY345" fmla="*/ 7758 h 10000"/>
                <a:gd name="connsiteX346" fmla="*/ 4561 w 10000"/>
                <a:gd name="connsiteY346" fmla="*/ 7819 h 10000"/>
                <a:gd name="connsiteX347" fmla="*/ 4573 w 10000"/>
                <a:gd name="connsiteY347" fmla="*/ 7873 h 10000"/>
                <a:gd name="connsiteX348" fmla="*/ 4586 w 10000"/>
                <a:gd name="connsiteY348" fmla="*/ 7921 h 10000"/>
                <a:gd name="connsiteX349" fmla="*/ 4611 w 10000"/>
                <a:gd name="connsiteY349" fmla="*/ 7963 h 10000"/>
                <a:gd name="connsiteX350" fmla="*/ 4636 w 10000"/>
                <a:gd name="connsiteY350" fmla="*/ 8006 h 10000"/>
                <a:gd name="connsiteX351" fmla="*/ 4668 w 10000"/>
                <a:gd name="connsiteY351" fmla="*/ 8036 h 10000"/>
                <a:gd name="connsiteX352" fmla="*/ 4705 w 10000"/>
                <a:gd name="connsiteY352" fmla="*/ 8060 h 10000"/>
                <a:gd name="connsiteX353" fmla="*/ 4749 w 10000"/>
                <a:gd name="connsiteY353" fmla="*/ 8072 h 10000"/>
                <a:gd name="connsiteX354" fmla="*/ 4711 w 10000"/>
                <a:gd name="connsiteY354" fmla="*/ 8168 h 10000"/>
                <a:gd name="connsiteX355" fmla="*/ 4668 w 10000"/>
                <a:gd name="connsiteY355" fmla="*/ 8253 h 10000"/>
                <a:gd name="connsiteX356" fmla="*/ 4617 w 10000"/>
                <a:gd name="connsiteY356" fmla="*/ 8331 h 10000"/>
                <a:gd name="connsiteX357" fmla="*/ 4573 w 10000"/>
                <a:gd name="connsiteY357" fmla="*/ 8403 h 10000"/>
                <a:gd name="connsiteX358" fmla="*/ 4523 w 10000"/>
                <a:gd name="connsiteY358" fmla="*/ 8488 h 10000"/>
                <a:gd name="connsiteX359" fmla="*/ 4492 w 10000"/>
                <a:gd name="connsiteY359" fmla="*/ 8566 h 10000"/>
                <a:gd name="connsiteX360" fmla="*/ 4473 w 10000"/>
                <a:gd name="connsiteY360" fmla="*/ 8602 h 10000"/>
                <a:gd name="connsiteX361" fmla="*/ 4467 w 10000"/>
                <a:gd name="connsiteY361" fmla="*/ 8645 h 10000"/>
                <a:gd name="connsiteX362" fmla="*/ 4460 w 10000"/>
                <a:gd name="connsiteY362" fmla="*/ 8693 h 10000"/>
                <a:gd name="connsiteX363" fmla="*/ 4454 w 10000"/>
                <a:gd name="connsiteY363" fmla="*/ 8735 h 10000"/>
                <a:gd name="connsiteX364" fmla="*/ 4460 w 10000"/>
                <a:gd name="connsiteY364" fmla="*/ 8752 h 10000"/>
                <a:gd name="connsiteX365" fmla="*/ 4467 w 10000"/>
                <a:gd name="connsiteY365" fmla="*/ 8764 h 10000"/>
                <a:gd name="connsiteX366" fmla="*/ 4479 w 10000"/>
                <a:gd name="connsiteY366" fmla="*/ 8776 h 10000"/>
                <a:gd name="connsiteX367" fmla="*/ 4504 w 10000"/>
                <a:gd name="connsiteY367" fmla="*/ 8788 h 10000"/>
                <a:gd name="connsiteX368" fmla="*/ 4542 w 10000"/>
                <a:gd name="connsiteY368" fmla="*/ 8812 h 10000"/>
                <a:gd name="connsiteX369" fmla="*/ 4580 w 10000"/>
                <a:gd name="connsiteY369" fmla="*/ 8818 h 10000"/>
                <a:gd name="connsiteX370" fmla="*/ 4580 w 10000"/>
                <a:gd name="connsiteY370" fmla="*/ 9036 h 10000"/>
                <a:gd name="connsiteX371" fmla="*/ 4529 w 10000"/>
                <a:gd name="connsiteY371" fmla="*/ 9121 h 10000"/>
                <a:gd name="connsiteX372" fmla="*/ 4492 w 10000"/>
                <a:gd name="connsiteY372" fmla="*/ 9211 h 10000"/>
                <a:gd name="connsiteX373" fmla="*/ 4460 w 10000"/>
                <a:gd name="connsiteY373" fmla="*/ 9246 h 10000"/>
                <a:gd name="connsiteX374" fmla="*/ 4429 w 10000"/>
                <a:gd name="connsiteY374" fmla="*/ 9271 h 10000"/>
                <a:gd name="connsiteX375" fmla="*/ 4404 w 10000"/>
                <a:gd name="connsiteY375" fmla="*/ 9283 h 10000"/>
                <a:gd name="connsiteX376" fmla="*/ 4385 w 10000"/>
                <a:gd name="connsiteY376" fmla="*/ 9289 h 10000"/>
                <a:gd name="connsiteX377" fmla="*/ 4360 w 10000"/>
                <a:gd name="connsiteY377" fmla="*/ 9295 h 10000"/>
                <a:gd name="connsiteX378" fmla="*/ 4329 w 10000"/>
                <a:gd name="connsiteY378" fmla="*/ 9295 h 10000"/>
                <a:gd name="connsiteX379" fmla="*/ 4329 w 10000"/>
                <a:gd name="connsiteY379" fmla="*/ 9343 h 10000"/>
                <a:gd name="connsiteX380" fmla="*/ 4335 w 10000"/>
                <a:gd name="connsiteY380" fmla="*/ 9403 h 10000"/>
                <a:gd name="connsiteX381" fmla="*/ 4348 w 10000"/>
                <a:gd name="connsiteY381" fmla="*/ 9433 h 10000"/>
                <a:gd name="connsiteX382" fmla="*/ 4354 w 10000"/>
                <a:gd name="connsiteY382" fmla="*/ 9457 h 10000"/>
                <a:gd name="connsiteX383" fmla="*/ 4360 w 10000"/>
                <a:gd name="connsiteY383" fmla="*/ 9476 h 10000"/>
                <a:gd name="connsiteX384" fmla="*/ 4373 w 10000"/>
                <a:gd name="connsiteY384" fmla="*/ 9482 h 10000"/>
                <a:gd name="connsiteX385" fmla="*/ 4210 w 10000"/>
                <a:gd name="connsiteY385" fmla="*/ 9608 h 10000"/>
                <a:gd name="connsiteX386" fmla="*/ 4072 w 10000"/>
                <a:gd name="connsiteY386" fmla="*/ 9712 h 10000"/>
                <a:gd name="connsiteX387" fmla="*/ 4009 w 10000"/>
                <a:gd name="connsiteY387" fmla="*/ 9771 h 10000"/>
                <a:gd name="connsiteX388" fmla="*/ 3952 w 10000"/>
                <a:gd name="connsiteY388" fmla="*/ 9837 h 10000"/>
                <a:gd name="connsiteX389" fmla="*/ 3890 w 10000"/>
                <a:gd name="connsiteY389" fmla="*/ 9916 h 10000"/>
                <a:gd name="connsiteX390" fmla="*/ 3833 w 10000"/>
                <a:gd name="connsiteY390" fmla="*/ 10000 h 10000"/>
                <a:gd name="connsiteX391" fmla="*/ 3733 w 10000"/>
                <a:gd name="connsiteY391" fmla="*/ 9958 h 10000"/>
                <a:gd name="connsiteX392" fmla="*/ 3664 w 10000"/>
                <a:gd name="connsiteY392" fmla="*/ 9916 h 10000"/>
                <a:gd name="connsiteX393" fmla="*/ 3607 w 10000"/>
                <a:gd name="connsiteY393" fmla="*/ 9873 h 10000"/>
                <a:gd name="connsiteX394" fmla="*/ 3563 w 10000"/>
                <a:gd name="connsiteY394" fmla="*/ 9825 h 10000"/>
                <a:gd name="connsiteX395" fmla="*/ 3532 w 10000"/>
                <a:gd name="connsiteY395" fmla="*/ 9765 h 10000"/>
                <a:gd name="connsiteX396" fmla="*/ 3513 w 10000"/>
                <a:gd name="connsiteY396" fmla="*/ 9706 h 10000"/>
                <a:gd name="connsiteX397" fmla="*/ 3482 w 10000"/>
                <a:gd name="connsiteY397" fmla="*/ 9632 h 10000"/>
                <a:gd name="connsiteX398" fmla="*/ 3457 w 10000"/>
                <a:gd name="connsiteY398" fmla="*/ 9560 h 10000"/>
                <a:gd name="connsiteX399" fmla="*/ 3400 w 10000"/>
                <a:gd name="connsiteY399" fmla="*/ 9421 h 10000"/>
                <a:gd name="connsiteX400" fmla="*/ 3325 w 10000"/>
                <a:gd name="connsiteY400" fmla="*/ 9289 h 10000"/>
                <a:gd name="connsiteX401" fmla="*/ 3237 w 10000"/>
                <a:gd name="connsiteY401" fmla="*/ 9151 h 10000"/>
                <a:gd name="connsiteX402" fmla="*/ 3143 w 10000"/>
                <a:gd name="connsiteY402" fmla="*/ 9006 h 10000"/>
                <a:gd name="connsiteX403" fmla="*/ 3049 w 10000"/>
                <a:gd name="connsiteY403" fmla="*/ 8873 h 10000"/>
                <a:gd name="connsiteX404" fmla="*/ 2967 w 10000"/>
                <a:gd name="connsiteY404" fmla="*/ 8741 h 10000"/>
                <a:gd name="connsiteX405" fmla="*/ 2892 w 10000"/>
                <a:gd name="connsiteY405" fmla="*/ 8621 h 10000"/>
                <a:gd name="connsiteX406" fmla="*/ 2829 w 10000"/>
                <a:gd name="connsiteY406" fmla="*/ 8518 h 10000"/>
                <a:gd name="connsiteX407" fmla="*/ 2773 w 10000"/>
                <a:gd name="connsiteY407" fmla="*/ 8403 h 10000"/>
                <a:gd name="connsiteX408" fmla="*/ 2735 w 10000"/>
                <a:gd name="connsiteY408" fmla="*/ 8301 h 10000"/>
                <a:gd name="connsiteX409" fmla="*/ 2698 w 10000"/>
                <a:gd name="connsiteY409" fmla="*/ 8193 h 10000"/>
                <a:gd name="connsiteX410" fmla="*/ 2666 w 10000"/>
                <a:gd name="connsiteY410" fmla="*/ 8084 h 10000"/>
                <a:gd name="connsiteX411" fmla="*/ 2629 w 10000"/>
                <a:gd name="connsiteY411" fmla="*/ 7975 h 10000"/>
                <a:gd name="connsiteX412" fmla="*/ 2597 w 10000"/>
                <a:gd name="connsiteY412" fmla="*/ 7867 h 10000"/>
                <a:gd name="connsiteX413" fmla="*/ 2553 w 10000"/>
                <a:gd name="connsiteY413" fmla="*/ 7746 h 10000"/>
                <a:gd name="connsiteX414" fmla="*/ 2497 w 10000"/>
                <a:gd name="connsiteY414" fmla="*/ 7627 h 10000"/>
                <a:gd name="connsiteX415" fmla="*/ 2359 w 10000"/>
                <a:gd name="connsiteY415" fmla="*/ 7433 h 10000"/>
                <a:gd name="connsiteX416" fmla="*/ 2208 w 10000"/>
                <a:gd name="connsiteY416" fmla="*/ 7252 h 10000"/>
                <a:gd name="connsiteX417" fmla="*/ 2139 w 10000"/>
                <a:gd name="connsiteY417" fmla="*/ 7169 h 10000"/>
                <a:gd name="connsiteX418" fmla="*/ 2070 w 10000"/>
                <a:gd name="connsiteY418" fmla="*/ 7072 h 10000"/>
                <a:gd name="connsiteX419" fmla="*/ 2008 w 10000"/>
                <a:gd name="connsiteY419" fmla="*/ 6982 h 10000"/>
                <a:gd name="connsiteX420" fmla="*/ 1957 w 10000"/>
                <a:gd name="connsiteY420" fmla="*/ 6885 h 10000"/>
                <a:gd name="connsiteX421" fmla="*/ 1888 w 10000"/>
                <a:gd name="connsiteY421" fmla="*/ 6650 h 10000"/>
                <a:gd name="connsiteX422" fmla="*/ 1832 w 10000"/>
                <a:gd name="connsiteY422" fmla="*/ 6433 h 10000"/>
                <a:gd name="connsiteX423" fmla="*/ 1782 w 10000"/>
                <a:gd name="connsiteY423" fmla="*/ 6223 h 10000"/>
                <a:gd name="connsiteX424" fmla="*/ 1757 w 10000"/>
                <a:gd name="connsiteY424" fmla="*/ 6011 h 10000"/>
                <a:gd name="connsiteX425" fmla="*/ 1725 w 10000"/>
                <a:gd name="connsiteY425" fmla="*/ 5806 h 10000"/>
                <a:gd name="connsiteX426" fmla="*/ 1713 w 10000"/>
                <a:gd name="connsiteY426" fmla="*/ 5590 h 10000"/>
                <a:gd name="connsiteX427" fmla="*/ 1706 w 10000"/>
                <a:gd name="connsiteY427" fmla="*/ 5367 h 10000"/>
                <a:gd name="connsiteX428" fmla="*/ 1706 w 10000"/>
                <a:gd name="connsiteY428" fmla="*/ 5144 h 10000"/>
                <a:gd name="connsiteX429" fmla="*/ 1681 w 10000"/>
                <a:gd name="connsiteY429" fmla="*/ 5138 h 10000"/>
                <a:gd name="connsiteX430" fmla="*/ 1650 w 10000"/>
                <a:gd name="connsiteY430" fmla="*/ 5132 h 10000"/>
                <a:gd name="connsiteX431" fmla="*/ 1625 w 10000"/>
                <a:gd name="connsiteY431" fmla="*/ 5126 h 10000"/>
                <a:gd name="connsiteX432" fmla="*/ 1606 w 10000"/>
                <a:gd name="connsiteY432" fmla="*/ 5102 h 10000"/>
                <a:gd name="connsiteX433" fmla="*/ 1581 w 10000"/>
                <a:gd name="connsiteY433" fmla="*/ 5090 h 10000"/>
                <a:gd name="connsiteX434" fmla="*/ 1568 w 10000"/>
                <a:gd name="connsiteY434" fmla="*/ 5072 h 10000"/>
                <a:gd name="connsiteX435" fmla="*/ 1550 w 10000"/>
                <a:gd name="connsiteY435" fmla="*/ 5048 h 10000"/>
                <a:gd name="connsiteX436" fmla="*/ 1543 w 10000"/>
                <a:gd name="connsiteY436" fmla="*/ 5024 h 10000"/>
                <a:gd name="connsiteX437" fmla="*/ 1518 w 10000"/>
                <a:gd name="connsiteY437" fmla="*/ 4975 h 10000"/>
                <a:gd name="connsiteX438" fmla="*/ 1506 w 10000"/>
                <a:gd name="connsiteY438" fmla="*/ 4921 h 10000"/>
                <a:gd name="connsiteX439" fmla="*/ 1499 w 10000"/>
                <a:gd name="connsiteY439" fmla="*/ 4861 h 10000"/>
                <a:gd name="connsiteX440" fmla="*/ 1499 w 10000"/>
                <a:gd name="connsiteY440" fmla="*/ 4807 h 10000"/>
                <a:gd name="connsiteX441" fmla="*/ 1443 w 10000"/>
                <a:gd name="connsiteY441" fmla="*/ 4843 h 10000"/>
                <a:gd name="connsiteX442" fmla="*/ 1405 w 10000"/>
                <a:gd name="connsiteY442" fmla="*/ 4885 h 10000"/>
                <a:gd name="connsiteX443" fmla="*/ 1361 w 10000"/>
                <a:gd name="connsiteY443" fmla="*/ 4927 h 10000"/>
                <a:gd name="connsiteX444" fmla="*/ 1317 w 10000"/>
                <a:gd name="connsiteY444" fmla="*/ 4975 h 10000"/>
                <a:gd name="connsiteX445" fmla="*/ 1261 w 10000"/>
                <a:gd name="connsiteY445" fmla="*/ 5072 h 10000"/>
                <a:gd name="connsiteX446" fmla="*/ 1205 w 10000"/>
                <a:gd name="connsiteY446" fmla="*/ 5174 h 10000"/>
                <a:gd name="connsiteX447" fmla="*/ 1167 w 10000"/>
                <a:gd name="connsiteY447" fmla="*/ 5217 h 10000"/>
                <a:gd name="connsiteX448" fmla="*/ 1142 w 10000"/>
                <a:gd name="connsiteY448" fmla="*/ 5258 h 10000"/>
                <a:gd name="connsiteX449" fmla="*/ 1104 w 10000"/>
                <a:gd name="connsiteY449" fmla="*/ 5300 h 10000"/>
                <a:gd name="connsiteX450" fmla="*/ 1073 w 10000"/>
                <a:gd name="connsiteY450" fmla="*/ 5330 h 10000"/>
                <a:gd name="connsiteX451" fmla="*/ 1029 w 10000"/>
                <a:gd name="connsiteY451" fmla="*/ 5361 h 10000"/>
                <a:gd name="connsiteX452" fmla="*/ 985 w 10000"/>
                <a:gd name="connsiteY452" fmla="*/ 5379 h 10000"/>
                <a:gd name="connsiteX453" fmla="*/ 928 w 10000"/>
                <a:gd name="connsiteY453" fmla="*/ 5391 h 10000"/>
                <a:gd name="connsiteX454" fmla="*/ 872 w 10000"/>
                <a:gd name="connsiteY454" fmla="*/ 5397 h 10000"/>
                <a:gd name="connsiteX455" fmla="*/ 841 w 10000"/>
                <a:gd name="connsiteY455" fmla="*/ 5391 h 10000"/>
                <a:gd name="connsiteX456" fmla="*/ 797 w 10000"/>
                <a:gd name="connsiteY456" fmla="*/ 5379 h 10000"/>
                <a:gd name="connsiteX457" fmla="*/ 753 w 10000"/>
                <a:gd name="connsiteY457" fmla="*/ 5361 h 10000"/>
                <a:gd name="connsiteX458" fmla="*/ 709 w 10000"/>
                <a:gd name="connsiteY458" fmla="*/ 5330 h 10000"/>
                <a:gd name="connsiteX459" fmla="*/ 659 w 10000"/>
                <a:gd name="connsiteY459" fmla="*/ 5294 h 10000"/>
                <a:gd name="connsiteX460" fmla="*/ 609 w 10000"/>
                <a:gd name="connsiteY460" fmla="*/ 5258 h 10000"/>
                <a:gd name="connsiteX461" fmla="*/ 565 w 10000"/>
                <a:gd name="connsiteY461" fmla="*/ 5217 h 10000"/>
                <a:gd name="connsiteX462" fmla="*/ 514 w 10000"/>
                <a:gd name="connsiteY462" fmla="*/ 5168 h 10000"/>
                <a:gd name="connsiteX463" fmla="*/ 471 w 10000"/>
                <a:gd name="connsiteY463" fmla="*/ 5120 h 10000"/>
                <a:gd name="connsiteX464" fmla="*/ 433 w 10000"/>
                <a:gd name="connsiteY464" fmla="*/ 5066 h 10000"/>
                <a:gd name="connsiteX465" fmla="*/ 389 w 10000"/>
                <a:gd name="connsiteY465" fmla="*/ 5012 h 10000"/>
                <a:gd name="connsiteX466" fmla="*/ 358 w 10000"/>
                <a:gd name="connsiteY466" fmla="*/ 4957 h 10000"/>
                <a:gd name="connsiteX467" fmla="*/ 326 w 10000"/>
                <a:gd name="connsiteY467" fmla="*/ 4909 h 10000"/>
                <a:gd name="connsiteX468" fmla="*/ 307 w 10000"/>
                <a:gd name="connsiteY468" fmla="*/ 4861 h 10000"/>
                <a:gd name="connsiteX469" fmla="*/ 295 w 10000"/>
                <a:gd name="connsiteY469" fmla="*/ 4813 h 10000"/>
                <a:gd name="connsiteX470" fmla="*/ 289 w 10000"/>
                <a:gd name="connsiteY470" fmla="*/ 4764 h 10000"/>
                <a:gd name="connsiteX471" fmla="*/ 320 w 10000"/>
                <a:gd name="connsiteY471" fmla="*/ 4746 h 10000"/>
                <a:gd name="connsiteX472" fmla="*/ 395 w 10000"/>
                <a:gd name="connsiteY472" fmla="*/ 4711 h 10000"/>
                <a:gd name="connsiteX473" fmla="*/ 483 w 10000"/>
                <a:gd name="connsiteY473" fmla="*/ 4675 h 10000"/>
                <a:gd name="connsiteX474" fmla="*/ 533 w 10000"/>
                <a:gd name="connsiteY474" fmla="*/ 4657 h 10000"/>
                <a:gd name="connsiteX475" fmla="*/ 483 w 10000"/>
                <a:gd name="connsiteY475" fmla="*/ 4657 h 10000"/>
                <a:gd name="connsiteX476" fmla="*/ 420 w 10000"/>
                <a:gd name="connsiteY476" fmla="*/ 4651 h 10000"/>
                <a:gd name="connsiteX477" fmla="*/ 370 w 10000"/>
                <a:gd name="connsiteY477" fmla="*/ 4639 h 10000"/>
                <a:gd name="connsiteX478" fmla="*/ 320 w 10000"/>
                <a:gd name="connsiteY478" fmla="*/ 4633 h 10000"/>
                <a:gd name="connsiteX479" fmla="*/ 276 w 10000"/>
                <a:gd name="connsiteY479" fmla="*/ 4614 h 10000"/>
                <a:gd name="connsiteX480" fmla="*/ 232 w 10000"/>
                <a:gd name="connsiteY480" fmla="*/ 4602 h 10000"/>
                <a:gd name="connsiteX481" fmla="*/ 188 w 10000"/>
                <a:gd name="connsiteY481" fmla="*/ 4584 h 10000"/>
                <a:gd name="connsiteX482" fmla="*/ 157 w 10000"/>
                <a:gd name="connsiteY482" fmla="*/ 4559 h 10000"/>
                <a:gd name="connsiteX483" fmla="*/ 132 w 10000"/>
                <a:gd name="connsiteY483" fmla="*/ 4535 h 10000"/>
                <a:gd name="connsiteX484" fmla="*/ 100 w 10000"/>
                <a:gd name="connsiteY484" fmla="*/ 4511 h 10000"/>
                <a:gd name="connsiteX485" fmla="*/ 75 w 10000"/>
                <a:gd name="connsiteY485" fmla="*/ 4481 h 10000"/>
                <a:gd name="connsiteX486" fmla="*/ 50 w 10000"/>
                <a:gd name="connsiteY486" fmla="*/ 4457 h 10000"/>
                <a:gd name="connsiteX487" fmla="*/ 19 w 10000"/>
                <a:gd name="connsiteY487" fmla="*/ 4385 h 10000"/>
                <a:gd name="connsiteX488" fmla="*/ 0 w 10000"/>
                <a:gd name="connsiteY488" fmla="*/ 4318 h 10000"/>
                <a:gd name="connsiteX489" fmla="*/ 63 w 10000"/>
                <a:gd name="connsiteY489" fmla="*/ 4270 h 10000"/>
                <a:gd name="connsiteX490" fmla="*/ 132 w 10000"/>
                <a:gd name="connsiteY490" fmla="*/ 4234 h 10000"/>
                <a:gd name="connsiteX491" fmla="*/ 201 w 10000"/>
                <a:gd name="connsiteY491" fmla="*/ 4205 h 10000"/>
                <a:gd name="connsiteX492" fmla="*/ 276 w 10000"/>
                <a:gd name="connsiteY492" fmla="*/ 4181 h 10000"/>
                <a:gd name="connsiteX493" fmla="*/ 420 w 10000"/>
                <a:gd name="connsiteY493" fmla="*/ 4151 h 10000"/>
                <a:gd name="connsiteX494" fmla="*/ 565 w 10000"/>
                <a:gd name="connsiteY494" fmla="*/ 4126 h 10000"/>
                <a:gd name="connsiteX495" fmla="*/ 640 w 10000"/>
                <a:gd name="connsiteY495" fmla="*/ 4114 h 10000"/>
                <a:gd name="connsiteX496" fmla="*/ 709 w 10000"/>
                <a:gd name="connsiteY496" fmla="*/ 4090 h 10000"/>
                <a:gd name="connsiteX497" fmla="*/ 772 w 10000"/>
                <a:gd name="connsiteY497" fmla="*/ 4072 h 10000"/>
                <a:gd name="connsiteX498" fmla="*/ 834 w 10000"/>
                <a:gd name="connsiteY498" fmla="*/ 4042 h 10000"/>
                <a:gd name="connsiteX499" fmla="*/ 891 w 10000"/>
                <a:gd name="connsiteY499" fmla="*/ 4012 h 10000"/>
                <a:gd name="connsiteX500" fmla="*/ 947 w 10000"/>
                <a:gd name="connsiteY500" fmla="*/ 3964 h 10000"/>
                <a:gd name="connsiteX501" fmla="*/ 997 w 10000"/>
                <a:gd name="connsiteY501" fmla="*/ 3909 h 10000"/>
                <a:gd name="connsiteX502" fmla="*/ 1035 w 10000"/>
                <a:gd name="connsiteY502" fmla="*/ 3842 h 10000"/>
                <a:gd name="connsiteX503" fmla="*/ 1010 w 10000"/>
                <a:gd name="connsiteY503" fmla="*/ 3830 h 10000"/>
                <a:gd name="connsiteX504" fmla="*/ 985 w 10000"/>
                <a:gd name="connsiteY504" fmla="*/ 3812 h 10000"/>
                <a:gd name="connsiteX505" fmla="*/ 947 w 10000"/>
                <a:gd name="connsiteY505" fmla="*/ 3788 h 10000"/>
                <a:gd name="connsiteX506" fmla="*/ 910 w 10000"/>
                <a:gd name="connsiteY506" fmla="*/ 3752 h 10000"/>
                <a:gd name="connsiteX507" fmla="*/ 822 w 10000"/>
                <a:gd name="connsiteY507" fmla="*/ 3680 h 10000"/>
                <a:gd name="connsiteX508" fmla="*/ 740 w 10000"/>
                <a:gd name="connsiteY508" fmla="*/ 3596 h 10000"/>
                <a:gd name="connsiteX509" fmla="*/ 665 w 10000"/>
                <a:gd name="connsiteY509" fmla="*/ 3505 h 10000"/>
                <a:gd name="connsiteX510" fmla="*/ 596 w 10000"/>
                <a:gd name="connsiteY510" fmla="*/ 3409 h 10000"/>
                <a:gd name="connsiteX511" fmla="*/ 577 w 10000"/>
                <a:gd name="connsiteY511" fmla="*/ 3367 h 10000"/>
                <a:gd name="connsiteX512" fmla="*/ 558 w 10000"/>
                <a:gd name="connsiteY512" fmla="*/ 3325 h 10000"/>
                <a:gd name="connsiteX513" fmla="*/ 540 w 10000"/>
                <a:gd name="connsiteY513" fmla="*/ 3282 h 10000"/>
                <a:gd name="connsiteX514" fmla="*/ 533 w 10000"/>
                <a:gd name="connsiteY514" fmla="*/ 3246 h 10000"/>
                <a:gd name="connsiteX515" fmla="*/ 508 w 10000"/>
                <a:gd name="connsiteY515" fmla="*/ 3240 h 10000"/>
                <a:gd name="connsiteX516" fmla="*/ 483 w 10000"/>
                <a:gd name="connsiteY516" fmla="*/ 3234 h 10000"/>
                <a:gd name="connsiteX517" fmla="*/ 458 w 10000"/>
                <a:gd name="connsiteY517" fmla="*/ 3222 h 10000"/>
                <a:gd name="connsiteX518" fmla="*/ 439 w 10000"/>
                <a:gd name="connsiteY518" fmla="*/ 3199 h 10000"/>
                <a:gd name="connsiteX519" fmla="*/ 402 w 10000"/>
                <a:gd name="connsiteY519" fmla="*/ 3156 h 10000"/>
                <a:gd name="connsiteX520" fmla="*/ 370 w 10000"/>
                <a:gd name="connsiteY520" fmla="*/ 3096 h 10000"/>
                <a:gd name="connsiteX521" fmla="*/ 370 w 10000"/>
                <a:gd name="connsiteY521" fmla="*/ 2951 h 10000"/>
                <a:gd name="connsiteX522" fmla="*/ 458 w 10000"/>
                <a:gd name="connsiteY522" fmla="*/ 2945 h 10000"/>
                <a:gd name="connsiteX523" fmla="*/ 540 w 10000"/>
                <a:gd name="connsiteY523" fmla="*/ 2939 h 10000"/>
                <a:gd name="connsiteX524" fmla="*/ 615 w 10000"/>
                <a:gd name="connsiteY524" fmla="*/ 2927 h 10000"/>
                <a:gd name="connsiteX525" fmla="*/ 684 w 10000"/>
                <a:gd name="connsiteY525" fmla="*/ 2903 h 10000"/>
                <a:gd name="connsiteX526" fmla="*/ 747 w 10000"/>
                <a:gd name="connsiteY526" fmla="*/ 2885 h 10000"/>
                <a:gd name="connsiteX527" fmla="*/ 809 w 10000"/>
                <a:gd name="connsiteY527" fmla="*/ 2854 h 10000"/>
                <a:gd name="connsiteX528" fmla="*/ 866 w 10000"/>
                <a:gd name="connsiteY528" fmla="*/ 2824 h 10000"/>
                <a:gd name="connsiteX529" fmla="*/ 922 w 10000"/>
                <a:gd name="connsiteY529" fmla="*/ 2788 h 10000"/>
                <a:gd name="connsiteX530" fmla="*/ 966 w 10000"/>
                <a:gd name="connsiteY530" fmla="*/ 2746 h 10000"/>
                <a:gd name="connsiteX531" fmla="*/ 1016 w 10000"/>
                <a:gd name="connsiteY531" fmla="*/ 2705 h 10000"/>
                <a:gd name="connsiteX532" fmla="*/ 1060 w 10000"/>
                <a:gd name="connsiteY532" fmla="*/ 2663 h 10000"/>
                <a:gd name="connsiteX533" fmla="*/ 1098 w 10000"/>
                <a:gd name="connsiteY533" fmla="*/ 2614 h 10000"/>
                <a:gd name="connsiteX534" fmla="*/ 1167 w 10000"/>
                <a:gd name="connsiteY534" fmla="*/ 2518 h 10000"/>
                <a:gd name="connsiteX535" fmla="*/ 1236 w 10000"/>
                <a:gd name="connsiteY535" fmla="*/ 2408 h 10000"/>
                <a:gd name="connsiteX536" fmla="*/ 1355 w 10000"/>
                <a:gd name="connsiteY536" fmla="*/ 2192 h 10000"/>
                <a:gd name="connsiteX537" fmla="*/ 1474 w 10000"/>
                <a:gd name="connsiteY537" fmla="*/ 1975 h 10000"/>
                <a:gd name="connsiteX538" fmla="*/ 1543 w 10000"/>
                <a:gd name="connsiteY538" fmla="*/ 1879 h 10000"/>
                <a:gd name="connsiteX539" fmla="*/ 1612 w 10000"/>
                <a:gd name="connsiteY539" fmla="*/ 1794 h 10000"/>
                <a:gd name="connsiteX540" fmla="*/ 1650 w 10000"/>
                <a:gd name="connsiteY540" fmla="*/ 1745 h 10000"/>
                <a:gd name="connsiteX541" fmla="*/ 1694 w 10000"/>
                <a:gd name="connsiteY541" fmla="*/ 1709 h 10000"/>
                <a:gd name="connsiteX542" fmla="*/ 1738 w 10000"/>
                <a:gd name="connsiteY542" fmla="*/ 1680 h 10000"/>
                <a:gd name="connsiteX543" fmla="*/ 1788 w 10000"/>
                <a:gd name="connsiteY543" fmla="*/ 1650 h 10000"/>
                <a:gd name="connsiteX544" fmla="*/ 1750 w 10000"/>
                <a:gd name="connsiteY544" fmla="*/ 1577 h 10000"/>
                <a:gd name="connsiteX545" fmla="*/ 1719 w 10000"/>
                <a:gd name="connsiteY545" fmla="*/ 1511 h 10000"/>
                <a:gd name="connsiteX546" fmla="*/ 1713 w 10000"/>
                <a:gd name="connsiteY546" fmla="*/ 1481 h 10000"/>
                <a:gd name="connsiteX547" fmla="*/ 1706 w 10000"/>
                <a:gd name="connsiteY547" fmla="*/ 1451 h 10000"/>
                <a:gd name="connsiteX548" fmla="*/ 1706 w 10000"/>
                <a:gd name="connsiteY548" fmla="*/ 1415 h 10000"/>
                <a:gd name="connsiteX549" fmla="*/ 1706 w 10000"/>
                <a:gd name="connsiteY549" fmla="*/ 1385 h 10000"/>
                <a:gd name="connsiteX550" fmla="*/ 1713 w 10000"/>
                <a:gd name="connsiteY550" fmla="*/ 1354 h 10000"/>
                <a:gd name="connsiteX551" fmla="*/ 1719 w 10000"/>
                <a:gd name="connsiteY551" fmla="*/ 1324 h 10000"/>
                <a:gd name="connsiteX552" fmla="*/ 1731 w 10000"/>
                <a:gd name="connsiteY552" fmla="*/ 1300 h 10000"/>
                <a:gd name="connsiteX553" fmla="*/ 1757 w 10000"/>
                <a:gd name="connsiteY553" fmla="*/ 1276 h 10000"/>
                <a:gd name="connsiteX554" fmla="*/ 1775 w 10000"/>
                <a:gd name="connsiteY554" fmla="*/ 1258 h 10000"/>
                <a:gd name="connsiteX555" fmla="*/ 1801 w 10000"/>
                <a:gd name="connsiteY555" fmla="*/ 1240 h 10000"/>
                <a:gd name="connsiteX556" fmla="*/ 1838 w 10000"/>
                <a:gd name="connsiteY556" fmla="*/ 1222 h 10000"/>
                <a:gd name="connsiteX557" fmla="*/ 1870 w 10000"/>
                <a:gd name="connsiteY557" fmla="*/ 1204 h 10000"/>
                <a:gd name="connsiteX558" fmla="*/ 1688 w 10000"/>
                <a:gd name="connsiteY558" fmla="*/ 1042 h 10000"/>
                <a:gd name="connsiteX559" fmla="*/ 1550 w 10000"/>
                <a:gd name="connsiteY559" fmla="*/ 920 h 10000"/>
                <a:gd name="connsiteX560" fmla="*/ 1487 w 10000"/>
                <a:gd name="connsiteY560" fmla="*/ 860 h 10000"/>
                <a:gd name="connsiteX561" fmla="*/ 1424 w 10000"/>
                <a:gd name="connsiteY561" fmla="*/ 794 h 10000"/>
                <a:gd name="connsiteX562" fmla="*/ 1361 w 10000"/>
                <a:gd name="connsiteY562" fmla="*/ 709 h 10000"/>
                <a:gd name="connsiteX563" fmla="*/ 1286 w 10000"/>
                <a:gd name="connsiteY563" fmla="*/ 608 h 10000"/>
                <a:gd name="connsiteX564" fmla="*/ 1286 w 10000"/>
                <a:gd name="connsiteY564" fmla="*/ 349 h 10000"/>
                <a:gd name="connsiteX565" fmla="*/ 1437 w 10000"/>
                <a:gd name="connsiteY565" fmla="*/ 349 h 10000"/>
                <a:gd name="connsiteX566" fmla="*/ 1606 w 10000"/>
                <a:gd name="connsiteY566" fmla="*/ 337 h 10000"/>
                <a:gd name="connsiteX567" fmla="*/ 1694 w 10000"/>
                <a:gd name="connsiteY567" fmla="*/ 331 h 10000"/>
                <a:gd name="connsiteX568" fmla="*/ 1775 w 10000"/>
                <a:gd name="connsiteY568" fmla="*/ 318 h 10000"/>
                <a:gd name="connsiteX569" fmla="*/ 1863 w 10000"/>
                <a:gd name="connsiteY569" fmla="*/ 299 h 10000"/>
                <a:gd name="connsiteX570" fmla="*/ 1945 w 10000"/>
                <a:gd name="connsiteY570" fmla="*/ 281 h 10000"/>
                <a:gd name="connsiteX571" fmla="*/ 2020 w 10000"/>
                <a:gd name="connsiteY571" fmla="*/ 263 h 10000"/>
                <a:gd name="connsiteX572" fmla="*/ 2102 w 10000"/>
                <a:gd name="connsiteY572" fmla="*/ 233 h 10000"/>
                <a:gd name="connsiteX573" fmla="*/ 2177 w 10000"/>
                <a:gd name="connsiteY573" fmla="*/ 203 h 10000"/>
                <a:gd name="connsiteX574" fmla="*/ 2240 w 10000"/>
                <a:gd name="connsiteY574" fmla="*/ 162 h 10000"/>
                <a:gd name="connsiteX575" fmla="*/ 2296 w 10000"/>
                <a:gd name="connsiteY575" fmla="*/ 120 h 10000"/>
                <a:gd name="connsiteX576" fmla="*/ 2587 w 10000"/>
                <a:gd name="connsiteY576" fmla="*/ 38 h 10000"/>
                <a:gd name="connsiteX577" fmla="*/ 2631 w 10000"/>
                <a:gd name="connsiteY577" fmla="*/ 32 h 10000"/>
                <a:gd name="connsiteX578" fmla="*/ 2415 w 10000"/>
                <a:gd name="connsiteY578"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2949 w 10000"/>
                <a:gd name="connsiteY6" fmla="*/ 94 h 10000"/>
                <a:gd name="connsiteX7" fmla="*/ 2990 w 10000"/>
                <a:gd name="connsiteY7" fmla="*/ 193 h 10000"/>
                <a:gd name="connsiteX8" fmla="*/ 3120 w 10000"/>
                <a:gd name="connsiteY8" fmla="*/ 345 h 10000"/>
                <a:gd name="connsiteX9" fmla="*/ 3152 w 10000"/>
                <a:gd name="connsiteY9" fmla="*/ 381 h 10000"/>
                <a:gd name="connsiteX10" fmla="*/ 3093 w 10000"/>
                <a:gd name="connsiteY10" fmla="*/ 493 h 10000"/>
                <a:gd name="connsiteX11" fmla="*/ 2992 w 10000"/>
                <a:gd name="connsiteY11" fmla="*/ 584 h 10000"/>
                <a:gd name="connsiteX12" fmla="*/ 3043 w 10000"/>
                <a:gd name="connsiteY12" fmla="*/ 608 h 10000"/>
                <a:gd name="connsiteX13" fmla="*/ 3087 w 10000"/>
                <a:gd name="connsiteY13" fmla="*/ 650 h 10000"/>
                <a:gd name="connsiteX14" fmla="*/ 3130 w 10000"/>
                <a:gd name="connsiteY14" fmla="*/ 697 h 10000"/>
                <a:gd name="connsiteX15" fmla="*/ 3174 w 10000"/>
                <a:gd name="connsiteY15" fmla="*/ 746 h 10000"/>
                <a:gd name="connsiteX16" fmla="*/ 3212 w 10000"/>
                <a:gd name="connsiteY16" fmla="*/ 806 h 10000"/>
                <a:gd name="connsiteX17" fmla="*/ 3256 w 10000"/>
                <a:gd name="connsiteY17" fmla="*/ 860 h 10000"/>
                <a:gd name="connsiteX18" fmla="*/ 3281 w 10000"/>
                <a:gd name="connsiteY18" fmla="*/ 920 h 10000"/>
                <a:gd name="connsiteX19" fmla="*/ 3312 w 10000"/>
                <a:gd name="connsiteY19" fmla="*/ 987 h 10000"/>
                <a:gd name="connsiteX20" fmla="*/ 3331 w 10000"/>
                <a:gd name="connsiteY20" fmla="*/ 1054 h 10000"/>
                <a:gd name="connsiteX21" fmla="*/ 3043 w 10000"/>
                <a:gd name="connsiteY21" fmla="*/ 1054 h 10000"/>
                <a:gd name="connsiteX22" fmla="*/ 3043 w 10000"/>
                <a:gd name="connsiteY22" fmla="*/ 1240 h 10000"/>
                <a:gd name="connsiteX23" fmla="*/ 3074 w 10000"/>
                <a:gd name="connsiteY23" fmla="*/ 1318 h 10000"/>
                <a:gd name="connsiteX24" fmla="*/ 3118 w 10000"/>
                <a:gd name="connsiteY24" fmla="*/ 1385 h 10000"/>
                <a:gd name="connsiteX25" fmla="*/ 3168 w 10000"/>
                <a:gd name="connsiteY25" fmla="*/ 1445 h 10000"/>
                <a:gd name="connsiteX26" fmla="*/ 3225 w 10000"/>
                <a:gd name="connsiteY26" fmla="*/ 1487 h 10000"/>
                <a:gd name="connsiteX27" fmla="*/ 3281 w 10000"/>
                <a:gd name="connsiteY27" fmla="*/ 1529 h 10000"/>
                <a:gd name="connsiteX28" fmla="*/ 3350 w 10000"/>
                <a:gd name="connsiteY28" fmla="*/ 1559 h 10000"/>
                <a:gd name="connsiteX29" fmla="*/ 3413 w 10000"/>
                <a:gd name="connsiteY29" fmla="*/ 1589 h 10000"/>
                <a:gd name="connsiteX30" fmla="*/ 3488 w 10000"/>
                <a:gd name="connsiteY30" fmla="*/ 1614 h 10000"/>
                <a:gd name="connsiteX31" fmla="*/ 3626 w 10000"/>
                <a:gd name="connsiteY31" fmla="*/ 1668 h 10000"/>
                <a:gd name="connsiteX32" fmla="*/ 3764 w 10000"/>
                <a:gd name="connsiteY32" fmla="*/ 1721 h 10000"/>
                <a:gd name="connsiteX33" fmla="*/ 3827 w 10000"/>
                <a:gd name="connsiteY33" fmla="*/ 1758 h 10000"/>
                <a:gd name="connsiteX34" fmla="*/ 3890 w 10000"/>
                <a:gd name="connsiteY34" fmla="*/ 1806 h 10000"/>
                <a:gd name="connsiteX35" fmla="*/ 3946 w 10000"/>
                <a:gd name="connsiteY35" fmla="*/ 1855 h 10000"/>
                <a:gd name="connsiteX36" fmla="*/ 4003 w 10000"/>
                <a:gd name="connsiteY36" fmla="*/ 1909 h 10000"/>
                <a:gd name="connsiteX37" fmla="*/ 3959 w 10000"/>
                <a:gd name="connsiteY37" fmla="*/ 2470 h 10000"/>
                <a:gd name="connsiteX38" fmla="*/ 4034 w 10000"/>
                <a:gd name="connsiteY38" fmla="*/ 2524 h 10000"/>
                <a:gd name="connsiteX39" fmla="*/ 4141 w 10000"/>
                <a:gd name="connsiteY39" fmla="*/ 2590 h 10000"/>
                <a:gd name="connsiteX40" fmla="*/ 4260 w 10000"/>
                <a:gd name="connsiteY40" fmla="*/ 2650 h 10000"/>
                <a:gd name="connsiteX41" fmla="*/ 4398 w 10000"/>
                <a:gd name="connsiteY41" fmla="*/ 2705 h 10000"/>
                <a:gd name="connsiteX42" fmla="*/ 4536 w 10000"/>
                <a:gd name="connsiteY42" fmla="*/ 2758 h 10000"/>
                <a:gd name="connsiteX43" fmla="*/ 4668 w 10000"/>
                <a:gd name="connsiteY43" fmla="*/ 2800 h 10000"/>
                <a:gd name="connsiteX44" fmla="*/ 4724 w 10000"/>
                <a:gd name="connsiteY44" fmla="*/ 2818 h 10000"/>
                <a:gd name="connsiteX45" fmla="*/ 4780 w 10000"/>
                <a:gd name="connsiteY45" fmla="*/ 2830 h 10000"/>
                <a:gd name="connsiteX46" fmla="*/ 4831 w 10000"/>
                <a:gd name="connsiteY46" fmla="*/ 2836 h 10000"/>
                <a:gd name="connsiteX47" fmla="*/ 4875 w 10000"/>
                <a:gd name="connsiteY47" fmla="*/ 2836 h 10000"/>
                <a:gd name="connsiteX48" fmla="*/ 4887 w 10000"/>
                <a:gd name="connsiteY48" fmla="*/ 2879 h 10000"/>
                <a:gd name="connsiteX49" fmla="*/ 4918 w 10000"/>
                <a:gd name="connsiteY49" fmla="*/ 2915 h 10000"/>
                <a:gd name="connsiteX50" fmla="*/ 4950 w 10000"/>
                <a:gd name="connsiteY50" fmla="*/ 2933 h 10000"/>
                <a:gd name="connsiteX51" fmla="*/ 4987 w 10000"/>
                <a:gd name="connsiteY51" fmla="*/ 2945 h 10000"/>
                <a:gd name="connsiteX52" fmla="*/ 5019 w 10000"/>
                <a:gd name="connsiteY52" fmla="*/ 2957 h 10000"/>
                <a:gd name="connsiteX53" fmla="*/ 5063 w 10000"/>
                <a:gd name="connsiteY53" fmla="*/ 2957 h 10000"/>
                <a:gd name="connsiteX54" fmla="*/ 5107 w 10000"/>
                <a:gd name="connsiteY54" fmla="*/ 2951 h 10000"/>
                <a:gd name="connsiteX55" fmla="*/ 5157 w 10000"/>
                <a:gd name="connsiteY55" fmla="*/ 2945 h 10000"/>
                <a:gd name="connsiteX56" fmla="*/ 5245 w 10000"/>
                <a:gd name="connsiteY56" fmla="*/ 2927 h 10000"/>
                <a:gd name="connsiteX57" fmla="*/ 5345 w 10000"/>
                <a:gd name="connsiteY57" fmla="*/ 2903 h 10000"/>
                <a:gd name="connsiteX58" fmla="*/ 5383 w 10000"/>
                <a:gd name="connsiteY58" fmla="*/ 2903 h 10000"/>
                <a:gd name="connsiteX59" fmla="*/ 5427 w 10000"/>
                <a:gd name="connsiteY59" fmla="*/ 2897 h 10000"/>
                <a:gd name="connsiteX60" fmla="*/ 5464 w 10000"/>
                <a:gd name="connsiteY60" fmla="*/ 2903 h 10000"/>
                <a:gd name="connsiteX61" fmla="*/ 5502 w 10000"/>
                <a:gd name="connsiteY61" fmla="*/ 2909 h 10000"/>
                <a:gd name="connsiteX62" fmla="*/ 5558 w 10000"/>
                <a:gd name="connsiteY62" fmla="*/ 2945 h 10000"/>
                <a:gd name="connsiteX63" fmla="*/ 5596 w 10000"/>
                <a:gd name="connsiteY63" fmla="*/ 2975 h 10000"/>
                <a:gd name="connsiteX64" fmla="*/ 5634 w 10000"/>
                <a:gd name="connsiteY64" fmla="*/ 3017 h 10000"/>
                <a:gd name="connsiteX65" fmla="*/ 5665 w 10000"/>
                <a:gd name="connsiteY65" fmla="*/ 3053 h 10000"/>
                <a:gd name="connsiteX66" fmla="*/ 5696 w 10000"/>
                <a:gd name="connsiteY66" fmla="*/ 3090 h 10000"/>
                <a:gd name="connsiteX67" fmla="*/ 5734 w 10000"/>
                <a:gd name="connsiteY67" fmla="*/ 3126 h 10000"/>
                <a:gd name="connsiteX68" fmla="*/ 5759 w 10000"/>
                <a:gd name="connsiteY68" fmla="*/ 3144 h 10000"/>
                <a:gd name="connsiteX69" fmla="*/ 5778 w 10000"/>
                <a:gd name="connsiteY69" fmla="*/ 3156 h 10000"/>
                <a:gd name="connsiteX70" fmla="*/ 5803 w 10000"/>
                <a:gd name="connsiteY70" fmla="*/ 3168 h 10000"/>
                <a:gd name="connsiteX71" fmla="*/ 5834 w 10000"/>
                <a:gd name="connsiteY71" fmla="*/ 3174 h 10000"/>
                <a:gd name="connsiteX72" fmla="*/ 5935 w 10000"/>
                <a:gd name="connsiteY72" fmla="*/ 3193 h 10000"/>
                <a:gd name="connsiteX73" fmla="*/ 6073 w 10000"/>
                <a:gd name="connsiteY73" fmla="*/ 3228 h 10000"/>
                <a:gd name="connsiteX74" fmla="*/ 6230 w 10000"/>
                <a:gd name="connsiteY74" fmla="*/ 3264 h 10000"/>
                <a:gd name="connsiteX75" fmla="*/ 6405 w 10000"/>
                <a:gd name="connsiteY75" fmla="*/ 3307 h 10000"/>
                <a:gd name="connsiteX76" fmla="*/ 6568 w 10000"/>
                <a:gd name="connsiteY76" fmla="*/ 3337 h 10000"/>
                <a:gd name="connsiteX77" fmla="*/ 6719 w 10000"/>
                <a:gd name="connsiteY77" fmla="*/ 3361 h 10000"/>
                <a:gd name="connsiteX78" fmla="*/ 6788 w 10000"/>
                <a:gd name="connsiteY78" fmla="*/ 3367 h 10000"/>
                <a:gd name="connsiteX79" fmla="*/ 6838 w 10000"/>
                <a:gd name="connsiteY79" fmla="*/ 3373 h 10000"/>
                <a:gd name="connsiteX80" fmla="*/ 6888 w 10000"/>
                <a:gd name="connsiteY80" fmla="*/ 3367 h 10000"/>
                <a:gd name="connsiteX81" fmla="*/ 6913 w 10000"/>
                <a:gd name="connsiteY81" fmla="*/ 3355 h 10000"/>
                <a:gd name="connsiteX82" fmla="*/ 6888 w 10000"/>
                <a:gd name="connsiteY82" fmla="*/ 3313 h 10000"/>
                <a:gd name="connsiteX83" fmla="*/ 6857 w 10000"/>
                <a:gd name="connsiteY83" fmla="*/ 3264 h 10000"/>
                <a:gd name="connsiteX84" fmla="*/ 6838 w 10000"/>
                <a:gd name="connsiteY84" fmla="*/ 3216 h 10000"/>
                <a:gd name="connsiteX85" fmla="*/ 6826 w 10000"/>
                <a:gd name="connsiteY85" fmla="*/ 3162 h 10000"/>
                <a:gd name="connsiteX86" fmla="*/ 6794 w 10000"/>
                <a:gd name="connsiteY86" fmla="*/ 3071 h 10000"/>
                <a:gd name="connsiteX87" fmla="*/ 6788 w 10000"/>
                <a:gd name="connsiteY87" fmla="*/ 3023 h 10000"/>
                <a:gd name="connsiteX88" fmla="*/ 6788 w 10000"/>
                <a:gd name="connsiteY88" fmla="*/ 2836 h 10000"/>
                <a:gd name="connsiteX89" fmla="*/ 6788 w 10000"/>
                <a:gd name="connsiteY89" fmla="*/ 2650 h 10000"/>
                <a:gd name="connsiteX90" fmla="*/ 6995 w 10000"/>
                <a:gd name="connsiteY90" fmla="*/ 2650 h 10000"/>
                <a:gd name="connsiteX91" fmla="*/ 7033 w 10000"/>
                <a:gd name="connsiteY91" fmla="*/ 2716 h 10000"/>
                <a:gd name="connsiteX92" fmla="*/ 7058 w 10000"/>
                <a:gd name="connsiteY92" fmla="*/ 2758 h 10000"/>
                <a:gd name="connsiteX93" fmla="*/ 7095 w 10000"/>
                <a:gd name="connsiteY93" fmla="*/ 2794 h 10000"/>
                <a:gd name="connsiteX94" fmla="*/ 7127 w 10000"/>
                <a:gd name="connsiteY94" fmla="*/ 2836 h 10000"/>
                <a:gd name="connsiteX95" fmla="*/ 7120 w 10000"/>
                <a:gd name="connsiteY95" fmla="*/ 2933 h 10000"/>
                <a:gd name="connsiteX96" fmla="*/ 7102 w 10000"/>
                <a:gd name="connsiteY96" fmla="*/ 2993 h 10000"/>
                <a:gd name="connsiteX97" fmla="*/ 7089 w 10000"/>
                <a:gd name="connsiteY97" fmla="*/ 3041 h 10000"/>
                <a:gd name="connsiteX98" fmla="*/ 7077 w 10000"/>
                <a:gd name="connsiteY98" fmla="*/ 3096 h 10000"/>
                <a:gd name="connsiteX99" fmla="*/ 7208 w 10000"/>
                <a:gd name="connsiteY99" fmla="*/ 3132 h 10000"/>
                <a:gd name="connsiteX100" fmla="*/ 7334 w 10000"/>
                <a:gd name="connsiteY100" fmla="*/ 3168 h 10000"/>
                <a:gd name="connsiteX101" fmla="*/ 7396 w 10000"/>
                <a:gd name="connsiteY101" fmla="*/ 3187 h 10000"/>
                <a:gd name="connsiteX102" fmla="*/ 7459 w 10000"/>
                <a:gd name="connsiteY102" fmla="*/ 3199 h 10000"/>
                <a:gd name="connsiteX103" fmla="*/ 7522 w 10000"/>
                <a:gd name="connsiteY103" fmla="*/ 3205 h 10000"/>
                <a:gd name="connsiteX104" fmla="*/ 7585 w 10000"/>
                <a:gd name="connsiteY104" fmla="*/ 3210 h 10000"/>
                <a:gd name="connsiteX105" fmla="*/ 7591 w 10000"/>
                <a:gd name="connsiteY105" fmla="*/ 3234 h 10000"/>
                <a:gd name="connsiteX106" fmla="*/ 7604 w 10000"/>
                <a:gd name="connsiteY106" fmla="*/ 3258 h 10000"/>
                <a:gd name="connsiteX107" fmla="*/ 7622 w 10000"/>
                <a:gd name="connsiteY107" fmla="*/ 3276 h 10000"/>
                <a:gd name="connsiteX108" fmla="*/ 7654 w 10000"/>
                <a:gd name="connsiteY108" fmla="*/ 3294 h 10000"/>
                <a:gd name="connsiteX109" fmla="*/ 7704 w 10000"/>
                <a:gd name="connsiteY109" fmla="*/ 3313 h 10000"/>
                <a:gd name="connsiteX110" fmla="*/ 7748 w 10000"/>
                <a:gd name="connsiteY110" fmla="*/ 3319 h 10000"/>
                <a:gd name="connsiteX111" fmla="*/ 7798 w 10000"/>
                <a:gd name="connsiteY111" fmla="*/ 3319 h 10000"/>
                <a:gd name="connsiteX112" fmla="*/ 7836 w 10000"/>
                <a:gd name="connsiteY112" fmla="*/ 3307 h 10000"/>
                <a:gd name="connsiteX113" fmla="*/ 7880 w 10000"/>
                <a:gd name="connsiteY113" fmla="*/ 3288 h 10000"/>
                <a:gd name="connsiteX114" fmla="*/ 7911 w 10000"/>
                <a:gd name="connsiteY114" fmla="*/ 3270 h 10000"/>
                <a:gd name="connsiteX115" fmla="*/ 7949 w 10000"/>
                <a:gd name="connsiteY115" fmla="*/ 3246 h 10000"/>
                <a:gd name="connsiteX116" fmla="*/ 7980 w 10000"/>
                <a:gd name="connsiteY116" fmla="*/ 3216 h 10000"/>
                <a:gd name="connsiteX117" fmla="*/ 8011 w 10000"/>
                <a:gd name="connsiteY117" fmla="*/ 3187 h 10000"/>
                <a:gd name="connsiteX118" fmla="*/ 8036 w 10000"/>
                <a:gd name="connsiteY118" fmla="*/ 3156 h 10000"/>
                <a:gd name="connsiteX119" fmla="*/ 8087 w 10000"/>
                <a:gd name="connsiteY119" fmla="*/ 3077 h 10000"/>
                <a:gd name="connsiteX120" fmla="*/ 8118 w 10000"/>
                <a:gd name="connsiteY120" fmla="*/ 3005 h 10000"/>
                <a:gd name="connsiteX121" fmla="*/ 8149 w 10000"/>
                <a:gd name="connsiteY121" fmla="*/ 2939 h 10000"/>
                <a:gd name="connsiteX122" fmla="*/ 8168 w 10000"/>
                <a:gd name="connsiteY122" fmla="*/ 2873 h 10000"/>
                <a:gd name="connsiteX123" fmla="*/ 8231 w 10000"/>
                <a:gd name="connsiteY123" fmla="*/ 2806 h 10000"/>
                <a:gd name="connsiteX124" fmla="*/ 8294 w 10000"/>
                <a:gd name="connsiteY124" fmla="*/ 2740 h 10000"/>
                <a:gd name="connsiteX125" fmla="*/ 8363 w 10000"/>
                <a:gd name="connsiteY125" fmla="*/ 2687 h 10000"/>
                <a:gd name="connsiteX126" fmla="*/ 8432 w 10000"/>
                <a:gd name="connsiteY126" fmla="*/ 2626 h 10000"/>
                <a:gd name="connsiteX127" fmla="*/ 8507 w 10000"/>
                <a:gd name="connsiteY127" fmla="*/ 2578 h 10000"/>
                <a:gd name="connsiteX128" fmla="*/ 8576 w 10000"/>
                <a:gd name="connsiteY128" fmla="*/ 2530 h 10000"/>
                <a:gd name="connsiteX129" fmla="*/ 8651 w 10000"/>
                <a:gd name="connsiteY129" fmla="*/ 2488 h 10000"/>
                <a:gd name="connsiteX130" fmla="*/ 8726 w 10000"/>
                <a:gd name="connsiteY130" fmla="*/ 2444 h 10000"/>
                <a:gd name="connsiteX131" fmla="*/ 8808 w 10000"/>
                <a:gd name="connsiteY131" fmla="*/ 2402 h 10000"/>
                <a:gd name="connsiteX132" fmla="*/ 8890 w 10000"/>
                <a:gd name="connsiteY132" fmla="*/ 2366 h 10000"/>
                <a:gd name="connsiteX133" fmla="*/ 8971 w 10000"/>
                <a:gd name="connsiteY133" fmla="*/ 2336 h 10000"/>
                <a:gd name="connsiteX134" fmla="*/ 9059 w 10000"/>
                <a:gd name="connsiteY134" fmla="*/ 2306 h 10000"/>
                <a:gd name="connsiteX135" fmla="*/ 9235 w 10000"/>
                <a:gd name="connsiteY135" fmla="*/ 2252 h 10000"/>
                <a:gd name="connsiteX136" fmla="*/ 9417 w 10000"/>
                <a:gd name="connsiteY136" fmla="*/ 2209 h 10000"/>
                <a:gd name="connsiteX137" fmla="*/ 9454 w 10000"/>
                <a:gd name="connsiteY137" fmla="*/ 2258 h 10000"/>
                <a:gd name="connsiteX138" fmla="*/ 9504 w 10000"/>
                <a:gd name="connsiteY138" fmla="*/ 2318 h 10000"/>
                <a:gd name="connsiteX139" fmla="*/ 9573 w 10000"/>
                <a:gd name="connsiteY139" fmla="*/ 2384 h 10000"/>
                <a:gd name="connsiteX140" fmla="*/ 9642 w 10000"/>
                <a:gd name="connsiteY140" fmla="*/ 2457 h 10000"/>
                <a:gd name="connsiteX141" fmla="*/ 9718 w 10000"/>
                <a:gd name="connsiteY141" fmla="*/ 2518 h 10000"/>
                <a:gd name="connsiteX142" fmla="*/ 9799 w 10000"/>
                <a:gd name="connsiteY142" fmla="*/ 2566 h 10000"/>
                <a:gd name="connsiteX143" fmla="*/ 9837 w 10000"/>
                <a:gd name="connsiteY143" fmla="*/ 2590 h 10000"/>
                <a:gd name="connsiteX144" fmla="*/ 9875 w 10000"/>
                <a:gd name="connsiteY144" fmla="*/ 2602 h 10000"/>
                <a:gd name="connsiteX145" fmla="*/ 9918 w 10000"/>
                <a:gd name="connsiteY145" fmla="*/ 2614 h 10000"/>
                <a:gd name="connsiteX146" fmla="*/ 9956 w 10000"/>
                <a:gd name="connsiteY146" fmla="*/ 2614 h 10000"/>
                <a:gd name="connsiteX147" fmla="*/ 10000 w 10000"/>
                <a:gd name="connsiteY147" fmla="*/ 2542 h 10000"/>
                <a:gd name="connsiteX148" fmla="*/ 9975 w 10000"/>
                <a:gd name="connsiteY148" fmla="*/ 2669 h 10000"/>
                <a:gd name="connsiteX149" fmla="*/ 9944 w 10000"/>
                <a:gd name="connsiteY149" fmla="*/ 2812 h 10000"/>
                <a:gd name="connsiteX150" fmla="*/ 9931 w 10000"/>
                <a:gd name="connsiteY150" fmla="*/ 2879 h 10000"/>
                <a:gd name="connsiteX151" fmla="*/ 9906 w 10000"/>
                <a:gd name="connsiteY151" fmla="*/ 2939 h 10000"/>
                <a:gd name="connsiteX152" fmla="*/ 9887 w 10000"/>
                <a:gd name="connsiteY152" fmla="*/ 2963 h 10000"/>
                <a:gd name="connsiteX153" fmla="*/ 9875 w 10000"/>
                <a:gd name="connsiteY153" fmla="*/ 2987 h 10000"/>
                <a:gd name="connsiteX154" fmla="*/ 9856 w 10000"/>
                <a:gd name="connsiteY154" fmla="*/ 3005 h 10000"/>
                <a:gd name="connsiteX155" fmla="*/ 9837 w 10000"/>
                <a:gd name="connsiteY155" fmla="*/ 3023 h 10000"/>
                <a:gd name="connsiteX156" fmla="*/ 9749 w 10000"/>
                <a:gd name="connsiteY156" fmla="*/ 3041 h 10000"/>
                <a:gd name="connsiteX157" fmla="*/ 9605 w 10000"/>
                <a:gd name="connsiteY157" fmla="*/ 3090 h 10000"/>
                <a:gd name="connsiteX158" fmla="*/ 9536 w 10000"/>
                <a:gd name="connsiteY158" fmla="*/ 3132 h 10000"/>
                <a:gd name="connsiteX159" fmla="*/ 9479 w 10000"/>
                <a:gd name="connsiteY159" fmla="*/ 3168 h 10000"/>
                <a:gd name="connsiteX160" fmla="*/ 9448 w 10000"/>
                <a:gd name="connsiteY160" fmla="*/ 3187 h 10000"/>
                <a:gd name="connsiteX161" fmla="*/ 9435 w 10000"/>
                <a:gd name="connsiteY161" fmla="*/ 3205 h 10000"/>
                <a:gd name="connsiteX162" fmla="*/ 9423 w 10000"/>
                <a:gd name="connsiteY162" fmla="*/ 3228 h 10000"/>
                <a:gd name="connsiteX163" fmla="*/ 9417 w 10000"/>
                <a:gd name="connsiteY163" fmla="*/ 3246 h 10000"/>
                <a:gd name="connsiteX164" fmla="*/ 9423 w 10000"/>
                <a:gd name="connsiteY164" fmla="*/ 3457 h 10000"/>
                <a:gd name="connsiteX165" fmla="*/ 9417 w 10000"/>
                <a:gd name="connsiteY165" fmla="*/ 3698 h 10000"/>
                <a:gd name="connsiteX166" fmla="*/ 9398 w 10000"/>
                <a:gd name="connsiteY166" fmla="*/ 3758 h 10000"/>
                <a:gd name="connsiteX167" fmla="*/ 9391 w 10000"/>
                <a:gd name="connsiteY167" fmla="*/ 3824 h 10000"/>
                <a:gd name="connsiteX168" fmla="*/ 9379 w 10000"/>
                <a:gd name="connsiteY168" fmla="*/ 3878 h 10000"/>
                <a:gd name="connsiteX169" fmla="*/ 9366 w 10000"/>
                <a:gd name="connsiteY169" fmla="*/ 3933 h 10000"/>
                <a:gd name="connsiteX170" fmla="*/ 9348 w 10000"/>
                <a:gd name="connsiteY170" fmla="*/ 3982 h 10000"/>
                <a:gd name="connsiteX171" fmla="*/ 9316 w 10000"/>
                <a:gd name="connsiteY171" fmla="*/ 4030 h 10000"/>
                <a:gd name="connsiteX172" fmla="*/ 9285 w 10000"/>
                <a:gd name="connsiteY172" fmla="*/ 4066 h 10000"/>
                <a:gd name="connsiteX173" fmla="*/ 9247 w 10000"/>
                <a:gd name="connsiteY173" fmla="*/ 4096 h 10000"/>
                <a:gd name="connsiteX174" fmla="*/ 9228 w 10000"/>
                <a:gd name="connsiteY174" fmla="*/ 4114 h 10000"/>
                <a:gd name="connsiteX175" fmla="*/ 9184 w 10000"/>
                <a:gd name="connsiteY175" fmla="*/ 4120 h 10000"/>
                <a:gd name="connsiteX176" fmla="*/ 9141 w 10000"/>
                <a:gd name="connsiteY176" fmla="*/ 4126 h 10000"/>
                <a:gd name="connsiteX177" fmla="*/ 9090 w 10000"/>
                <a:gd name="connsiteY177" fmla="*/ 4132 h 10000"/>
                <a:gd name="connsiteX178" fmla="*/ 9040 w 10000"/>
                <a:gd name="connsiteY178" fmla="*/ 4138 h 10000"/>
                <a:gd name="connsiteX179" fmla="*/ 8996 w 10000"/>
                <a:gd name="connsiteY179" fmla="*/ 4157 h 10000"/>
                <a:gd name="connsiteX180" fmla="*/ 8977 w 10000"/>
                <a:gd name="connsiteY180" fmla="*/ 4163 h 10000"/>
                <a:gd name="connsiteX181" fmla="*/ 8965 w 10000"/>
                <a:gd name="connsiteY181" fmla="*/ 4181 h 10000"/>
                <a:gd name="connsiteX182" fmla="*/ 8959 w 10000"/>
                <a:gd name="connsiteY182" fmla="*/ 4193 h 10000"/>
                <a:gd name="connsiteX183" fmla="*/ 8959 w 10000"/>
                <a:gd name="connsiteY183" fmla="*/ 4211 h 10000"/>
                <a:gd name="connsiteX184" fmla="*/ 8952 w 10000"/>
                <a:gd name="connsiteY184" fmla="*/ 4282 h 10000"/>
                <a:gd name="connsiteX185" fmla="*/ 8952 w 10000"/>
                <a:gd name="connsiteY185" fmla="*/ 4367 h 10000"/>
                <a:gd name="connsiteX186" fmla="*/ 8940 w 10000"/>
                <a:gd name="connsiteY186" fmla="*/ 4457 h 10000"/>
                <a:gd name="connsiteX187" fmla="*/ 8927 w 10000"/>
                <a:gd name="connsiteY187" fmla="*/ 4541 h 10000"/>
                <a:gd name="connsiteX188" fmla="*/ 8908 w 10000"/>
                <a:gd name="connsiteY188" fmla="*/ 4627 h 10000"/>
                <a:gd name="connsiteX189" fmla="*/ 8890 w 10000"/>
                <a:gd name="connsiteY189" fmla="*/ 4705 h 10000"/>
                <a:gd name="connsiteX190" fmla="*/ 8864 w 10000"/>
                <a:gd name="connsiteY190" fmla="*/ 4776 h 10000"/>
                <a:gd name="connsiteX191" fmla="*/ 8833 w 10000"/>
                <a:gd name="connsiteY191" fmla="*/ 4843 h 10000"/>
                <a:gd name="connsiteX192" fmla="*/ 8538 w 10000"/>
                <a:gd name="connsiteY192" fmla="*/ 4354 h 10000"/>
                <a:gd name="connsiteX193" fmla="*/ 8526 w 10000"/>
                <a:gd name="connsiteY193" fmla="*/ 4379 h 10000"/>
                <a:gd name="connsiteX194" fmla="*/ 8494 w 10000"/>
                <a:gd name="connsiteY194" fmla="*/ 4433 h 10000"/>
                <a:gd name="connsiteX195" fmla="*/ 8463 w 10000"/>
                <a:gd name="connsiteY195" fmla="*/ 4463 h 10000"/>
                <a:gd name="connsiteX196" fmla="*/ 8438 w 10000"/>
                <a:gd name="connsiteY196" fmla="*/ 4487 h 10000"/>
                <a:gd name="connsiteX197" fmla="*/ 8407 w 10000"/>
                <a:gd name="connsiteY197" fmla="*/ 4505 h 10000"/>
                <a:gd name="connsiteX198" fmla="*/ 8375 w 10000"/>
                <a:gd name="connsiteY198" fmla="*/ 4511 h 10000"/>
                <a:gd name="connsiteX199" fmla="*/ 8338 w 10000"/>
                <a:gd name="connsiteY199" fmla="*/ 4505 h 10000"/>
                <a:gd name="connsiteX200" fmla="*/ 8312 w 10000"/>
                <a:gd name="connsiteY200" fmla="*/ 4499 h 10000"/>
                <a:gd name="connsiteX201" fmla="*/ 8287 w 10000"/>
                <a:gd name="connsiteY201" fmla="*/ 4481 h 10000"/>
                <a:gd name="connsiteX202" fmla="*/ 8256 w 10000"/>
                <a:gd name="connsiteY202" fmla="*/ 4463 h 10000"/>
                <a:gd name="connsiteX203" fmla="*/ 8237 w 10000"/>
                <a:gd name="connsiteY203" fmla="*/ 4433 h 10000"/>
                <a:gd name="connsiteX204" fmla="*/ 8225 w 10000"/>
                <a:gd name="connsiteY204" fmla="*/ 4409 h 10000"/>
                <a:gd name="connsiteX205" fmla="*/ 8206 w 10000"/>
                <a:gd name="connsiteY205" fmla="*/ 4385 h 10000"/>
                <a:gd name="connsiteX206" fmla="*/ 8206 w 10000"/>
                <a:gd name="connsiteY206" fmla="*/ 4354 h 10000"/>
                <a:gd name="connsiteX207" fmla="*/ 8206 w 10000"/>
                <a:gd name="connsiteY207" fmla="*/ 4318 h 10000"/>
                <a:gd name="connsiteX208" fmla="*/ 8225 w 10000"/>
                <a:gd name="connsiteY208" fmla="*/ 4282 h 10000"/>
                <a:gd name="connsiteX209" fmla="*/ 8237 w 10000"/>
                <a:gd name="connsiteY209" fmla="*/ 4246 h 10000"/>
                <a:gd name="connsiteX210" fmla="*/ 8250 w 10000"/>
                <a:gd name="connsiteY210" fmla="*/ 4211 h 10000"/>
                <a:gd name="connsiteX211" fmla="*/ 8300 w 10000"/>
                <a:gd name="connsiteY211" fmla="*/ 4144 h 10000"/>
                <a:gd name="connsiteX212" fmla="*/ 8356 w 10000"/>
                <a:gd name="connsiteY212" fmla="*/ 4078 h 10000"/>
                <a:gd name="connsiteX213" fmla="*/ 8407 w 10000"/>
                <a:gd name="connsiteY213" fmla="*/ 4018 h 10000"/>
                <a:gd name="connsiteX214" fmla="*/ 8457 w 10000"/>
                <a:gd name="connsiteY214" fmla="*/ 3952 h 10000"/>
                <a:gd name="connsiteX215" fmla="*/ 8469 w 10000"/>
                <a:gd name="connsiteY215" fmla="*/ 3915 h 10000"/>
                <a:gd name="connsiteX216" fmla="*/ 8482 w 10000"/>
                <a:gd name="connsiteY216" fmla="*/ 3884 h 10000"/>
                <a:gd name="connsiteX217" fmla="*/ 8501 w 10000"/>
                <a:gd name="connsiteY217" fmla="*/ 3842 h 10000"/>
                <a:gd name="connsiteX218" fmla="*/ 8501 w 10000"/>
                <a:gd name="connsiteY218" fmla="*/ 3806 h 10000"/>
                <a:gd name="connsiteX219" fmla="*/ 7748 w 10000"/>
                <a:gd name="connsiteY219" fmla="*/ 3806 h 10000"/>
                <a:gd name="connsiteX220" fmla="*/ 7723 w 10000"/>
                <a:gd name="connsiteY220" fmla="*/ 3800 h 10000"/>
                <a:gd name="connsiteX221" fmla="*/ 7685 w 10000"/>
                <a:gd name="connsiteY221" fmla="*/ 3782 h 10000"/>
                <a:gd name="connsiteX222" fmla="*/ 7660 w 10000"/>
                <a:gd name="connsiteY222" fmla="*/ 3746 h 10000"/>
                <a:gd name="connsiteX223" fmla="*/ 7635 w 10000"/>
                <a:gd name="connsiteY223" fmla="*/ 3710 h 10000"/>
                <a:gd name="connsiteX224" fmla="*/ 7616 w 10000"/>
                <a:gd name="connsiteY224" fmla="*/ 3662 h 10000"/>
                <a:gd name="connsiteX225" fmla="*/ 7597 w 10000"/>
                <a:gd name="connsiteY225" fmla="*/ 3614 h 10000"/>
                <a:gd name="connsiteX226" fmla="*/ 7591 w 10000"/>
                <a:gd name="connsiteY226" fmla="*/ 3560 h 10000"/>
                <a:gd name="connsiteX227" fmla="*/ 7585 w 10000"/>
                <a:gd name="connsiteY227" fmla="*/ 3505 h 10000"/>
                <a:gd name="connsiteX228" fmla="*/ 7547 w 10000"/>
                <a:gd name="connsiteY228" fmla="*/ 3505 h 10000"/>
                <a:gd name="connsiteX229" fmla="*/ 7516 w 10000"/>
                <a:gd name="connsiteY229" fmla="*/ 3499 h 10000"/>
                <a:gd name="connsiteX230" fmla="*/ 7478 w 10000"/>
                <a:gd name="connsiteY230" fmla="*/ 3493 h 10000"/>
                <a:gd name="connsiteX231" fmla="*/ 7447 w 10000"/>
                <a:gd name="connsiteY231" fmla="*/ 3481 h 10000"/>
                <a:gd name="connsiteX232" fmla="*/ 7415 w 10000"/>
                <a:gd name="connsiteY232" fmla="*/ 3463 h 10000"/>
                <a:gd name="connsiteX233" fmla="*/ 7396 w 10000"/>
                <a:gd name="connsiteY233" fmla="*/ 3445 h 10000"/>
                <a:gd name="connsiteX234" fmla="*/ 7384 w 10000"/>
                <a:gd name="connsiteY234" fmla="*/ 3415 h 10000"/>
                <a:gd name="connsiteX235" fmla="*/ 7378 w 10000"/>
                <a:gd name="connsiteY235" fmla="*/ 3391 h 10000"/>
                <a:gd name="connsiteX236" fmla="*/ 7321 w 10000"/>
                <a:gd name="connsiteY236" fmla="*/ 3391 h 10000"/>
                <a:gd name="connsiteX237" fmla="*/ 7271 w 10000"/>
                <a:gd name="connsiteY237" fmla="*/ 3391 h 10000"/>
                <a:gd name="connsiteX238" fmla="*/ 7221 w 10000"/>
                <a:gd name="connsiteY238" fmla="*/ 3391 h 10000"/>
                <a:gd name="connsiteX239" fmla="*/ 7171 w 10000"/>
                <a:gd name="connsiteY239" fmla="*/ 3391 h 10000"/>
                <a:gd name="connsiteX240" fmla="*/ 7127 w 10000"/>
                <a:gd name="connsiteY240" fmla="*/ 3397 h 10000"/>
                <a:gd name="connsiteX241" fmla="*/ 7095 w 10000"/>
                <a:gd name="connsiteY241" fmla="*/ 3403 h 10000"/>
                <a:gd name="connsiteX242" fmla="*/ 7051 w 10000"/>
                <a:gd name="connsiteY242" fmla="*/ 3421 h 10000"/>
                <a:gd name="connsiteX243" fmla="*/ 7008 w 10000"/>
                <a:gd name="connsiteY243" fmla="*/ 3445 h 10000"/>
                <a:gd name="connsiteX244" fmla="*/ 6976 w 10000"/>
                <a:gd name="connsiteY244" fmla="*/ 3475 h 10000"/>
                <a:gd name="connsiteX245" fmla="*/ 6939 w 10000"/>
                <a:gd name="connsiteY245" fmla="*/ 3505 h 10000"/>
                <a:gd name="connsiteX246" fmla="*/ 6920 w 10000"/>
                <a:gd name="connsiteY246" fmla="*/ 3542 h 10000"/>
                <a:gd name="connsiteX247" fmla="*/ 6913 w 10000"/>
                <a:gd name="connsiteY247" fmla="*/ 3578 h 10000"/>
                <a:gd name="connsiteX248" fmla="*/ 6926 w 10000"/>
                <a:gd name="connsiteY248" fmla="*/ 3602 h 10000"/>
                <a:gd name="connsiteX249" fmla="*/ 6964 w 10000"/>
                <a:gd name="connsiteY249" fmla="*/ 3632 h 10000"/>
                <a:gd name="connsiteX250" fmla="*/ 7008 w 10000"/>
                <a:gd name="connsiteY250" fmla="*/ 3668 h 10000"/>
                <a:gd name="connsiteX251" fmla="*/ 7070 w 10000"/>
                <a:gd name="connsiteY251" fmla="*/ 3704 h 10000"/>
                <a:gd name="connsiteX252" fmla="*/ 7133 w 10000"/>
                <a:gd name="connsiteY252" fmla="*/ 3740 h 10000"/>
                <a:gd name="connsiteX253" fmla="*/ 7196 w 10000"/>
                <a:gd name="connsiteY253" fmla="*/ 3770 h 10000"/>
                <a:gd name="connsiteX254" fmla="*/ 7252 w 10000"/>
                <a:gd name="connsiteY254" fmla="*/ 3794 h 10000"/>
                <a:gd name="connsiteX255" fmla="*/ 7290 w 10000"/>
                <a:gd name="connsiteY255" fmla="*/ 3806 h 10000"/>
                <a:gd name="connsiteX256" fmla="*/ 7208 w 10000"/>
                <a:gd name="connsiteY256" fmla="*/ 3866 h 10000"/>
                <a:gd name="connsiteX257" fmla="*/ 7114 w 10000"/>
                <a:gd name="connsiteY257" fmla="*/ 3940 h 10000"/>
                <a:gd name="connsiteX258" fmla="*/ 7070 w 10000"/>
                <a:gd name="connsiteY258" fmla="*/ 3976 h 10000"/>
                <a:gd name="connsiteX259" fmla="*/ 7033 w 10000"/>
                <a:gd name="connsiteY259" fmla="*/ 4018 h 10000"/>
                <a:gd name="connsiteX260" fmla="*/ 7020 w 10000"/>
                <a:gd name="connsiteY260" fmla="*/ 4036 h 10000"/>
                <a:gd name="connsiteX261" fmla="*/ 7008 w 10000"/>
                <a:gd name="connsiteY261" fmla="*/ 4054 h 10000"/>
                <a:gd name="connsiteX262" fmla="*/ 7001 w 10000"/>
                <a:gd name="connsiteY262" fmla="*/ 4078 h 10000"/>
                <a:gd name="connsiteX263" fmla="*/ 6995 w 10000"/>
                <a:gd name="connsiteY263" fmla="*/ 4096 h 10000"/>
                <a:gd name="connsiteX264" fmla="*/ 7001 w 10000"/>
                <a:gd name="connsiteY264" fmla="*/ 4126 h 10000"/>
                <a:gd name="connsiteX265" fmla="*/ 7008 w 10000"/>
                <a:gd name="connsiteY265" fmla="*/ 4144 h 10000"/>
                <a:gd name="connsiteX266" fmla="*/ 7026 w 10000"/>
                <a:gd name="connsiteY266" fmla="*/ 4169 h 10000"/>
                <a:gd name="connsiteX267" fmla="*/ 7039 w 10000"/>
                <a:gd name="connsiteY267" fmla="*/ 4193 h 10000"/>
                <a:gd name="connsiteX268" fmla="*/ 7089 w 10000"/>
                <a:gd name="connsiteY268" fmla="*/ 4240 h 10000"/>
                <a:gd name="connsiteX269" fmla="*/ 7146 w 10000"/>
                <a:gd name="connsiteY269" fmla="*/ 4288 h 10000"/>
                <a:gd name="connsiteX270" fmla="*/ 7208 w 10000"/>
                <a:gd name="connsiteY270" fmla="*/ 4330 h 10000"/>
                <a:gd name="connsiteX271" fmla="*/ 7277 w 10000"/>
                <a:gd name="connsiteY271" fmla="*/ 4367 h 10000"/>
                <a:gd name="connsiteX272" fmla="*/ 7315 w 10000"/>
                <a:gd name="connsiteY272" fmla="*/ 4379 h 10000"/>
                <a:gd name="connsiteX273" fmla="*/ 7346 w 10000"/>
                <a:gd name="connsiteY273" fmla="*/ 4385 h 10000"/>
                <a:gd name="connsiteX274" fmla="*/ 7384 w 10000"/>
                <a:gd name="connsiteY274" fmla="*/ 4391 h 10000"/>
                <a:gd name="connsiteX275" fmla="*/ 7415 w 10000"/>
                <a:gd name="connsiteY275" fmla="*/ 4397 h 10000"/>
                <a:gd name="connsiteX276" fmla="*/ 7585 w 10000"/>
                <a:gd name="connsiteY276" fmla="*/ 5024 h 10000"/>
                <a:gd name="connsiteX277" fmla="*/ 7491 w 10000"/>
                <a:gd name="connsiteY277" fmla="*/ 5024 h 10000"/>
                <a:gd name="connsiteX278" fmla="*/ 7403 w 10000"/>
                <a:gd name="connsiteY278" fmla="*/ 5024 h 10000"/>
                <a:gd name="connsiteX279" fmla="*/ 7321 w 10000"/>
                <a:gd name="connsiteY279" fmla="*/ 5024 h 10000"/>
                <a:gd name="connsiteX280" fmla="*/ 7252 w 10000"/>
                <a:gd name="connsiteY280" fmla="*/ 5024 h 10000"/>
                <a:gd name="connsiteX281" fmla="*/ 7208 w 10000"/>
                <a:gd name="connsiteY281" fmla="*/ 5018 h 10000"/>
                <a:gd name="connsiteX282" fmla="*/ 7164 w 10000"/>
                <a:gd name="connsiteY282" fmla="*/ 4987 h 10000"/>
                <a:gd name="connsiteX283" fmla="*/ 7133 w 10000"/>
                <a:gd name="connsiteY283" fmla="*/ 4975 h 10000"/>
                <a:gd name="connsiteX284" fmla="*/ 7102 w 10000"/>
                <a:gd name="connsiteY284" fmla="*/ 4963 h 10000"/>
                <a:gd name="connsiteX285" fmla="*/ 7070 w 10000"/>
                <a:gd name="connsiteY285" fmla="*/ 4957 h 10000"/>
                <a:gd name="connsiteX286" fmla="*/ 7039 w 10000"/>
                <a:gd name="connsiteY286" fmla="*/ 4951 h 10000"/>
                <a:gd name="connsiteX287" fmla="*/ 7008 w 10000"/>
                <a:gd name="connsiteY287" fmla="*/ 4963 h 10000"/>
                <a:gd name="connsiteX288" fmla="*/ 6957 w 10000"/>
                <a:gd name="connsiteY288" fmla="*/ 4993 h 10000"/>
                <a:gd name="connsiteX289" fmla="*/ 6895 w 10000"/>
                <a:gd name="connsiteY289" fmla="*/ 5036 h 10000"/>
                <a:gd name="connsiteX290" fmla="*/ 6819 w 10000"/>
                <a:gd name="connsiteY290" fmla="*/ 5084 h 10000"/>
                <a:gd name="connsiteX291" fmla="*/ 6744 w 10000"/>
                <a:gd name="connsiteY291" fmla="*/ 5144 h 10000"/>
                <a:gd name="connsiteX292" fmla="*/ 6681 w 10000"/>
                <a:gd name="connsiteY292" fmla="*/ 5192 h 10000"/>
                <a:gd name="connsiteX293" fmla="*/ 6637 w 10000"/>
                <a:gd name="connsiteY293" fmla="*/ 5228 h 10000"/>
                <a:gd name="connsiteX294" fmla="*/ 6625 w 10000"/>
                <a:gd name="connsiteY294" fmla="*/ 5252 h 10000"/>
                <a:gd name="connsiteX295" fmla="*/ 6750 w 10000"/>
                <a:gd name="connsiteY295" fmla="*/ 5324 h 10000"/>
                <a:gd name="connsiteX296" fmla="*/ 6744 w 10000"/>
                <a:gd name="connsiteY296" fmla="*/ 5361 h 10000"/>
                <a:gd name="connsiteX297" fmla="*/ 6725 w 10000"/>
                <a:gd name="connsiteY297" fmla="*/ 5403 h 10000"/>
                <a:gd name="connsiteX298" fmla="*/ 6706 w 10000"/>
                <a:gd name="connsiteY298" fmla="*/ 5434 h 10000"/>
                <a:gd name="connsiteX299" fmla="*/ 6688 w 10000"/>
                <a:gd name="connsiteY299" fmla="*/ 5476 h 10000"/>
                <a:gd name="connsiteX300" fmla="*/ 6637 w 10000"/>
                <a:gd name="connsiteY300" fmla="*/ 5530 h 10000"/>
                <a:gd name="connsiteX301" fmla="*/ 6581 w 10000"/>
                <a:gd name="connsiteY301" fmla="*/ 5584 h 10000"/>
                <a:gd name="connsiteX302" fmla="*/ 6518 w 10000"/>
                <a:gd name="connsiteY302" fmla="*/ 5632 h 10000"/>
                <a:gd name="connsiteX303" fmla="*/ 6443 w 10000"/>
                <a:gd name="connsiteY303" fmla="*/ 5675 h 10000"/>
                <a:gd name="connsiteX304" fmla="*/ 6374 w 10000"/>
                <a:gd name="connsiteY304" fmla="*/ 5711 h 10000"/>
                <a:gd name="connsiteX305" fmla="*/ 6299 w 10000"/>
                <a:gd name="connsiteY305" fmla="*/ 5746 h 10000"/>
                <a:gd name="connsiteX306" fmla="*/ 6223 w 10000"/>
                <a:gd name="connsiteY306" fmla="*/ 5794 h 10000"/>
                <a:gd name="connsiteX307" fmla="*/ 6154 w 10000"/>
                <a:gd name="connsiteY307" fmla="*/ 5830 h 10000"/>
                <a:gd name="connsiteX308" fmla="*/ 6092 w 10000"/>
                <a:gd name="connsiteY308" fmla="*/ 5873 h 10000"/>
                <a:gd name="connsiteX309" fmla="*/ 6035 w 10000"/>
                <a:gd name="connsiteY309" fmla="*/ 5921 h 10000"/>
                <a:gd name="connsiteX310" fmla="*/ 6004 w 10000"/>
                <a:gd name="connsiteY310" fmla="*/ 5945 h 10000"/>
                <a:gd name="connsiteX311" fmla="*/ 5985 w 10000"/>
                <a:gd name="connsiteY311" fmla="*/ 5969 h 10000"/>
                <a:gd name="connsiteX312" fmla="*/ 5966 w 10000"/>
                <a:gd name="connsiteY312" fmla="*/ 5999 h 10000"/>
                <a:gd name="connsiteX313" fmla="*/ 5947 w 10000"/>
                <a:gd name="connsiteY313" fmla="*/ 6029 h 10000"/>
                <a:gd name="connsiteX314" fmla="*/ 5935 w 10000"/>
                <a:gd name="connsiteY314" fmla="*/ 6067 h 10000"/>
                <a:gd name="connsiteX315" fmla="*/ 5922 w 10000"/>
                <a:gd name="connsiteY315" fmla="*/ 6097 h 10000"/>
                <a:gd name="connsiteX316" fmla="*/ 5916 w 10000"/>
                <a:gd name="connsiteY316" fmla="*/ 6139 h 10000"/>
                <a:gd name="connsiteX317" fmla="*/ 5916 w 10000"/>
                <a:gd name="connsiteY317" fmla="*/ 6181 h 10000"/>
                <a:gd name="connsiteX318" fmla="*/ 5859 w 10000"/>
                <a:gd name="connsiteY318" fmla="*/ 6199 h 10000"/>
                <a:gd name="connsiteX319" fmla="*/ 5809 w 10000"/>
                <a:gd name="connsiteY319" fmla="*/ 6217 h 10000"/>
                <a:gd name="connsiteX320" fmla="*/ 5765 w 10000"/>
                <a:gd name="connsiteY320" fmla="*/ 6240 h 10000"/>
                <a:gd name="connsiteX321" fmla="*/ 5721 w 10000"/>
                <a:gd name="connsiteY321" fmla="*/ 6264 h 10000"/>
                <a:gd name="connsiteX322" fmla="*/ 5634 w 10000"/>
                <a:gd name="connsiteY322" fmla="*/ 6325 h 10000"/>
                <a:gd name="connsiteX323" fmla="*/ 5558 w 10000"/>
                <a:gd name="connsiteY323" fmla="*/ 6397 h 10000"/>
                <a:gd name="connsiteX324" fmla="*/ 5420 w 10000"/>
                <a:gd name="connsiteY324" fmla="*/ 6560 h 10000"/>
                <a:gd name="connsiteX325" fmla="*/ 5289 w 10000"/>
                <a:gd name="connsiteY325" fmla="*/ 6734 h 10000"/>
                <a:gd name="connsiteX326" fmla="*/ 5220 w 10000"/>
                <a:gd name="connsiteY326" fmla="*/ 6825 h 10000"/>
                <a:gd name="connsiteX327" fmla="*/ 5151 w 10000"/>
                <a:gd name="connsiteY327" fmla="*/ 6903 h 10000"/>
                <a:gd name="connsiteX328" fmla="*/ 5075 w 10000"/>
                <a:gd name="connsiteY328" fmla="*/ 6976 h 10000"/>
                <a:gd name="connsiteX329" fmla="*/ 4994 w 10000"/>
                <a:gd name="connsiteY329" fmla="*/ 7042 h 10000"/>
                <a:gd name="connsiteX330" fmla="*/ 4944 w 10000"/>
                <a:gd name="connsiteY330" fmla="*/ 7072 h 10000"/>
                <a:gd name="connsiteX331" fmla="*/ 4893 w 10000"/>
                <a:gd name="connsiteY331" fmla="*/ 7096 h 10000"/>
                <a:gd name="connsiteX332" fmla="*/ 4849 w 10000"/>
                <a:gd name="connsiteY332" fmla="*/ 7120 h 10000"/>
                <a:gd name="connsiteX333" fmla="*/ 4793 w 10000"/>
                <a:gd name="connsiteY333" fmla="*/ 7145 h 10000"/>
                <a:gd name="connsiteX334" fmla="*/ 4730 w 10000"/>
                <a:gd name="connsiteY334" fmla="*/ 7163 h 10000"/>
                <a:gd name="connsiteX335" fmla="*/ 4674 w 10000"/>
                <a:gd name="connsiteY335" fmla="*/ 7175 h 10000"/>
                <a:gd name="connsiteX336" fmla="*/ 4605 w 10000"/>
                <a:gd name="connsiteY336" fmla="*/ 7181 h 10000"/>
                <a:gd name="connsiteX337" fmla="*/ 4536 w 10000"/>
                <a:gd name="connsiteY337" fmla="*/ 7181 h 10000"/>
                <a:gd name="connsiteX338" fmla="*/ 4536 w 10000"/>
                <a:gd name="connsiteY338" fmla="*/ 7234 h 10000"/>
                <a:gd name="connsiteX339" fmla="*/ 4536 w 10000"/>
                <a:gd name="connsiteY339" fmla="*/ 7288 h 10000"/>
                <a:gd name="connsiteX340" fmla="*/ 4536 w 10000"/>
                <a:gd name="connsiteY340" fmla="*/ 7330 h 10000"/>
                <a:gd name="connsiteX341" fmla="*/ 4536 w 10000"/>
                <a:gd name="connsiteY341" fmla="*/ 7367 h 10000"/>
                <a:gd name="connsiteX342" fmla="*/ 4536 w 10000"/>
                <a:gd name="connsiteY342" fmla="*/ 7433 h 10000"/>
                <a:gd name="connsiteX343" fmla="*/ 4536 w 10000"/>
                <a:gd name="connsiteY343" fmla="*/ 7536 h 10000"/>
                <a:gd name="connsiteX344" fmla="*/ 4536 w 10000"/>
                <a:gd name="connsiteY344" fmla="*/ 7645 h 10000"/>
                <a:gd name="connsiteX345" fmla="*/ 4548 w 10000"/>
                <a:gd name="connsiteY345" fmla="*/ 7758 h 10000"/>
                <a:gd name="connsiteX346" fmla="*/ 4561 w 10000"/>
                <a:gd name="connsiteY346" fmla="*/ 7819 h 10000"/>
                <a:gd name="connsiteX347" fmla="*/ 4573 w 10000"/>
                <a:gd name="connsiteY347" fmla="*/ 7873 h 10000"/>
                <a:gd name="connsiteX348" fmla="*/ 4586 w 10000"/>
                <a:gd name="connsiteY348" fmla="*/ 7921 h 10000"/>
                <a:gd name="connsiteX349" fmla="*/ 4611 w 10000"/>
                <a:gd name="connsiteY349" fmla="*/ 7963 h 10000"/>
                <a:gd name="connsiteX350" fmla="*/ 4636 w 10000"/>
                <a:gd name="connsiteY350" fmla="*/ 8006 h 10000"/>
                <a:gd name="connsiteX351" fmla="*/ 4668 w 10000"/>
                <a:gd name="connsiteY351" fmla="*/ 8036 h 10000"/>
                <a:gd name="connsiteX352" fmla="*/ 4705 w 10000"/>
                <a:gd name="connsiteY352" fmla="*/ 8060 h 10000"/>
                <a:gd name="connsiteX353" fmla="*/ 4749 w 10000"/>
                <a:gd name="connsiteY353" fmla="*/ 8072 h 10000"/>
                <a:gd name="connsiteX354" fmla="*/ 4711 w 10000"/>
                <a:gd name="connsiteY354" fmla="*/ 8168 h 10000"/>
                <a:gd name="connsiteX355" fmla="*/ 4668 w 10000"/>
                <a:gd name="connsiteY355" fmla="*/ 8253 h 10000"/>
                <a:gd name="connsiteX356" fmla="*/ 4617 w 10000"/>
                <a:gd name="connsiteY356" fmla="*/ 8331 h 10000"/>
                <a:gd name="connsiteX357" fmla="*/ 4573 w 10000"/>
                <a:gd name="connsiteY357" fmla="*/ 8403 h 10000"/>
                <a:gd name="connsiteX358" fmla="*/ 4523 w 10000"/>
                <a:gd name="connsiteY358" fmla="*/ 8488 h 10000"/>
                <a:gd name="connsiteX359" fmla="*/ 4492 w 10000"/>
                <a:gd name="connsiteY359" fmla="*/ 8566 h 10000"/>
                <a:gd name="connsiteX360" fmla="*/ 4473 w 10000"/>
                <a:gd name="connsiteY360" fmla="*/ 8602 h 10000"/>
                <a:gd name="connsiteX361" fmla="*/ 4467 w 10000"/>
                <a:gd name="connsiteY361" fmla="*/ 8645 h 10000"/>
                <a:gd name="connsiteX362" fmla="*/ 4460 w 10000"/>
                <a:gd name="connsiteY362" fmla="*/ 8693 h 10000"/>
                <a:gd name="connsiteX363" fmla="*/ 4454 w 10000"/>
                <a:gd name="connsiteY363" fmla="*/ 8735 h 10000"/>
                <a:gd name="connsiteX364" fmla="*/ 4460 w 10000"/>
                <a:gd name="connsiteY364" fmla="*/ 8752 h 10000"/>
                <a:gd name="connsiteX365" fmla="*/ 4467 w 10000"/>
                <a:gd name="connsiteY365" fmla="*/ 8764 h 10000"/>
                <a:gd name="connsiteX366" fmla="*/ 4479 w 10000"/>
                <a:gd name="connsiteY366" fmla="*/ 8776 h 10000"/>
                <a:gd name="connsiteX367" fmla="*/ 4504 w 10000"/>
                <a:gd name="connsiteY367" fmla="*/ 8788 h 10000"/>
                <a:gd name="connsiteX368" fmla="*/ 4542 w 10000"/>
                <a:gd name="connsiteY368" fmla="*/ 8812 h 10000"/>
                <a:gd name="connsiteX369" fmla="*/ 4580 w 10000"/>
                <a:gd name="connsiteY369" fmla="*/ 8818 h 10000"/>
                <a:gd name="connsiteX370" fmla="*/ 4580 w 10000"/>
                <a:gd name="connsiteY370" fmla="*/ 9036 h 10000"/>
                <a:gd name="connsiteX371" fmla="*/ 4529 w 10000"/>
                <a:gd name="connsiteY371" fmla="*/ 9121 h 10000"/>
                <a:gd name="connsiteX372" fmla="*/ 4492 w 10000"/>
                <a:gd name="connsiteY372" fmla="*/ 9211 h 10000"/>
                <a:gd name="connsiteX373" fmla="*/ 4460 w 10000"/>
                <a:gd name="connsiteY373" fmla="*/ 9246 h 10000"/>
                <a:gd name="connsiteX374" fmla="*/ 4429 w 10000"/>
                <a:gd name="connsiteY374" fmla="*/ 9271 h 10000"/>
                <a:gd name="connsiteX375" fmla="*/ 4404 w 10000"/>
                <a:gd name="connsiteY375" fmla="*/ 9283 h 10000"/>
                <a:gd name="connsiteX376" fmla="*/ 4385 w 10000"/>
                <a:gd name="connsiteY376" fmla="*/ 9289 h 10000"/>
                <a:gd name="connsiteX377" fmla="*/ 4360 w 10000"/>
                <a:gd name="connsiteY377" fmla="*/ 9295 h 10000"/>
                <a:gd name="connsiteX378" fmla="*/ 4329 w 10000"/>
                <a:gd name="connsiteY378" fmla="*/ 9295 h 10000"/>
                <a:gd name="connsiteX379" fmla="*/ 4329 w 10000"/>
                <a:gd name="connsiteY379" fmla="*/ 9343 h 10000"/>
                <a:gd name="connsiteX380" fmla="*/ 4335 w 10000"/>
                <a:gd name="connsiteY380" fmla="*/ 9403 h 10000"/>
                <a:gd name="connsiteX381" fmla="*/ 4348 w 10000"/>
                <a:gd name="connsiteY381" fmla="*/ 9433 h 10000"/>
                <a:gd name="connsiteX382" fmla="*/ 4354 w 10000"/>
                <a:gd name="connsiteY382" fmla="*/ 9457 h 10000"/>
                <a:gd name="connsiteX383" fmla="*/ 4360 w 10000"/>
                <a:gd name="connsiteY383" fmla="*/ 9476 h 10000"/>
                <a:gd name="connsiteX384" fmla="*/ 4373 w 10000"/>
                <a:gd name="connsiteY384" fmla="*/ 9482 h 10000"/>
                <a:gd name="connsiteX385" fmla="*/ 4210 w 10000"/>
                <a:gd name="connsiteY385" fmla="*/ 9608 h 10000"/>
                <a:gd name="connsiteX386" fmla="*/ 4072 w 10000"/>
                <a:gd name="connsiteY386" fmla="*/ 9712 h 10000"/>
                <a:gd name="connsiteX387" fmla="*/ 4009 w 10000"/>
                <a:gd name="connsiteY387" fmla="*/ 9771 h 10000"/>
                <a:gd name="connsiteX388" fmla="*/ 3952 w 10000"/>
                <a:gd name="connsiteY388" fmla="*/ 9837 h 10000"/>
                <a:gd name="connsiteX389" fmla="*/ 3890 w 10000"/>
                <a:gd name="connsiteY389" fmla="*/ 9916 h 10000"/>
                <a:gd name="connsiteX390" fmla="*/ 3833 w 10000"/>
                <a:gd name="connsiteY390" fmla="*/ 10000 h 10000"/>
                <a:gd name="connsiteX391" fmla="*/ 3733 w 10000"/>
                <a:gd name="connsiteY391" fmla="*/ 9958 h 10000"/>
                <a:gd name="connsiteX392" fmla="*/ 3664 w 10000"/>
                <a:gd name="connsiteY392" fmla="*/ 9916 h 10000"/>
                <a:gd name="connsiteX393" fmla="*/ 3607 w 10000"/>
                <a:gd name="connsiteY393" fmla="*/ 9873 h 10000"/>
                <a:gd name="connsiteX394" fmla="*/ 3563 w 10000"/>
                <a:gd name="connsiteY394" fmla="*/ 9825 h 10000"/>
                <a:gd name="connsiteX395" fmla="*/ 3532 w 10000"/>
                <a:gd name="connsiteY395" fmla="*/ 9765 h 10000"/>
                <a:gd name="connsiteX396" fmla="*/ 3513 w 10000"/>
                <a:gd name="connsiteY396" fmla="*/ 9706 h 10000"/>
                <a:gd name="connsiteX397" fmla="*/ 3482 w 10000"/>
                <a:gd name="connsiteY397" fmla="*/ 9632 h 10000"/>
                <a:gd name="connsiteX398" fmla="*/ 3457 w 10000"/>
                <a:gd name="connsiteY398" fmla="*/ 9560 h 10000"/>
                <a:gd name="connsiteX399" fmla="*/ 3400 w 10000"/>
                <a:gd name="connsiteY399" fmla="*/ 9421 h 10000"/>
                <a:gd name="connsiteX400" fmla="*/ 3325 w 10000"/>
                <a:gd name="connsiteY400" fmla="*/ 9289 h 10000"/>
                <a:gd name="connsiteX401" fmla="*/ 3237 w 10000"/>
                <a:gd name="connsiteY401" fmla="*/ 9151 h 10000"/>
                <a:gd name="connsiteX402" fmla="*/ 3143 w 10000"/>
                <a:gd name="connsiteY402" fmla="*/ 9006 h 10000"/>
                <a:gd name="connsiteX403" fmla="*/ 3049 w 10000"/>
                <a:gd name="connsiteY403" fmla="*/ 8873 h 10000"/>
                <a:gd name="connsiteX404" fmla="*/ 2967 w 10000"/>
                <a:gd name="connsiteY404" fmla="*/ 8741 h 10000"/>
                <a:gd name="connsiteX405" fmla="*/ 2892 w 10000"/>
                <a:gd name="connsiteY405" fmla="*/ 8621 h 10000"/>
                <a:gd name="connsiteX406" fmla="*/ 2829 w 10000"/>
                <a:gd name="connsiteY406" fmla="*/ 8518 h 10000"/>
                <a:gd name="connsiteX407" fmla="*/ 2773 w 10000"/>
                <a:gd name="connsiteY407" fmla="*/ 8403 h 10000"/>
                <a:gd name="connsiteX408" fmla="*/ 2735 w 10000"/>
                <a:gd name="connsiteY408" fmla="*/ 8301 h 10000"/>
                <a:gd name="connsiteX409" fmla="*/ 2698 w 10000"/>
                <a:gd name="connsiteY409" fmla="*/ 8193 h 10000"/>
                <a:gd name="connsiteX410" fmla="*/ 2666 w 10000"/>
                <a:gd name="connsiteY410" fmla="*/ 8084 h 10000"/>
                <a:gd name="connsiteX411" fmla="*/ 2629 w 10000"/>
                <a:gd name="connsiteY411" fmla="*/ 7975 h 10000"/>
                <a:gd name="connsiteX412" fmla="*/ 2597 w 10000"/>
                <a:gd name="connsiteY412" fmla="*/ 7867 h 10000"/>
                <a:gd name="connsiteX413" fmla="*/ 2553 w 10000"/>
                <a:gd name="connsiteY413" fmla="*/ 7746 h 10000"/>
                <a:gd name="connsiteX414" fmla="*/ 2497 w 10000"/>
                <a:gd name="connsiteY414" fmla="*/ 7627 h 10000"/>
                <a:gd name="connsiteX415" fmla="*/ 2359 w 10000"/>
                <a:gd name="connsiteY415" fmla="*/ 7433 h 10000"/>
                <a:gd name="connsiteX416" fmla="*/ 2208 w 10000"/>
                <a:gd name="connsiteY416" fmla="*/ 7252 h 10000"/>
                <a:gd name="connsiteX417" fmla="*/ 2139 w 10000"/>
                <a:gd name="connsiteY417" fmla="*/ 7169 h 10000"/>
                <a:gd name="connsiteX418" fmla="*/ 2070 w 10000"/>
                <a:gd name="connsiteY418" fmla="*/ 7072 h 10000"/>
                <a:gd name="connsiteX419" fmla="*/ 2008 w 10000"/>
                <a:gd name="connsiteY419" fmla="*/ 6982 h 10000"/>
                <a:gd name="connsiteX420" fmla="*/ 1957 w 10000"/>
                <a:gd name="connsiteY420" fmla="*/ 6885 h 10000"/>
                <a:gd name="connsiteX421" fmla="*/ 1888 w 10000"/>
                <a:gd name="connsiteY421" fmla="*/ 6650 h 10000"/>
                <a:gd name="connsiteX422" fmla="*/ 1832 w 10000"/>
                <a:gd name="connsiteY422" fmla="*/ 6433 h 10000"/>
                <a:gd name="connsiteX423" fmla="*/ 1782 w 10000"/>
                <a:gd name="connsiteY423" fmla="*/ 6223 h 10000"/>
                <a:gd name="connsiteX424" fmla="*/ 1757 w 10000"/>
                <a:gd name="connsiteY424" fmla="*/ 6011 h 10000"/>
                <a:gd name="connsiteX425" fmla="*/ 1725 w 10000"/>
                <a:gd name="connsiteY425" fmla="*/ 5806 h 10000"/>
                <a:gd name="connsiteX426" fmla="*/ 1713 w 10000"/>
                <a:gd name="connsiteY426" fmla="*/ 5590 h 10000"/>
                <a:gd name="connsiteX427" fmla="*/ 1706 w 10000"/>
                <a:gd name="connsiteY427" fmla="*/ 5367 h 10000"/>
                <a:gd name="connsiteX428" fmla="*/ 1706 w 10000"/>
                <a:gd name="connsiteY428" fmla="*/ 5144 h 10000"/>
                <a:gd name="connsiteX429" fmla="*/ 1681 w 10000"/>
                <a:gd name="connsiteY429" fmla="*/ 5138 h 10000"/>
                <a:gd name="connsiteX430" fmla="*/ 1650 w 10000"/>
                <a:gd name="connsiteY430" fmla="*/ 5132 h 10000"/>
                <a:gd name="connsiteX431" fmla="*/ 1625 w 10000"/>
                <a:gd name="connsiteY431" fmla="*/ 5126 h 10000"/>
                <a:gd name="connsiteX432" fmla="*/ 1606 w 10000"/>
                <a:gd name="connsiteY432" fmla="*/ 5102 h 10000"/>
                <a:gd name="connsiteX433" fmla="*/ 1581 w 10000"/>
                <a:gd name="connsiteY433" fmla="*/ 5090 h 10000"/>
                <a:gd name="connsiteX434" fmla="*/ 1568 w 10000"/>
                <a:gd name="connsiteY434" fmla="*/ 5072 h 10000"/>
                <a:gd name="connsiteX435" fmla="*/ 1550 w 10000"/>
                <a:gd name="connsiteY435" fmla="*/ 5048 h 10000"/>
                <a:gd name="connsiteX436" fmla="*/ 1543 w 10000"/>
                <a:gd name="connsiteY436" fmla="*/ 5024 h 10000"/>
                <a:gd name="connsiteX437" fmla="*/ 1518 w 10000"/>
                <a:gd name="connsiteY437" fmla="*/ 4975 h 10000"/>
                <a:gd name="connsiteX438" fmla="*/ 1506 w 10000"/>
                <a:gd name="connsiteY438" fmla="*/ 4921 h 10000"/>
                <a:gd name="connsiteX439" fmla="*/ 1499 w 10000"/>
                <a:gd name="connsiteY439" fmla="*/ 4861 h 10000"/>
                <a:gd name="connsiteX440" fmla="*/ 1499 w 10000"/>
                <a:gd name="connsiteY440" fmla="*/ 4807 h 10000"/>
                <a:gd name="connsiteX441" fmla="*/ 1443 w 10000"/>
                <a:gd name="connsiteY441" fmla="*/ 4843 h 10000"/>
                <a:gd name="connsiteX442" fmla="*/ 1405 w 10000"/>
                <a:gd name="connsiteY442" fmla="*/ 4885 h 10000"/>
                <a:gd name="connsiteX443" fmla="*/ 1361 w 10000"/>
                <a:gd name="connsiteY443" fmla="*/ 4927 h 10000"/>
                <a:gd name="connsiteX444" fmla="*/ 1317 w 10000"/>
                <a:gd name="connsiteY444" fmla="*/ 4975 h 10000"/>
                <a:gd name="connsiteX445" fmla="*/ 1261 w 10000"/>
                <a:gd name="connsiteY445" fmla="*/ 5072 h 10000"/>
                <a:gd name="connsiteX446" fmla="*/ 1205 w 10000"/>
                <a:gd name="connsiteY446" fmla="*/ 5174 h 10000"/>
                <a:gd name="connsiteX447" fmla="*/ 1167 w 10000"/>
                <a:gd name="connsiteY447" fmla="*/ 5217 h 10000"/>
                <a:gd name="connsiteX448" fmla="*/ 1142 w 10000"/>
                <a:gd name="connsiteY448" fmla="*/ 5258 h 10000"/>
                <a:gd name="connsiteX449" fmla="*/ 1104 w 10000"/>
                <a:gd name="connsiteY449" fmla="*/ 5300 h 10000"/>
                <a:gd name="connsiteX450" fmla="*/ 1073 w 10000"/>
                <a:gd name="connsiteY450" fmla="*/ 5330 h 10000"/>
                <a:gd name="connsiteX451" fmla="*/ 1029 w 10000"/>
                <a:gd name="connsiteY451" fmla="*/ 5361 h 10000"/>
                <a:gd name="connsiteX452" fmla="*/ 985 w 10000"/>
                <a:gd name="connsiteY452" fmla="*/ 5379 h 10000"/>
                <a:gd name="connsiteX453" fmla="*/ 928 w 10000"/>
                <a:gd name="connsiteY453" fmla="*/ 5391 h 10000"/>
                <a:gd name="connsiteX454" fmla="*/ 872 w 10000"/>
                <a:gd name="connsiteY454" fmla="*/ 5397 h 10000"/>
                <a:gd name="connsiteX455" fmla="*/ 841 w 10000"/>
                <a:gd name="connsiteY455" fmla="*/ 5391 h 10000"/>
                <a:gd name="connsiteX456" fmla="*/ 797 w 10000"/>
                <a:gd name="connsiteY456" fmla="*/ 5379 h 10000"/>
                <a:gd name="connsiteX457" fmla="*/ 753 w 10000"/>
                <a:gd name="connsiteY457" fmla="*/ 5361 h 10000"/>
                <a:gd name="connsiteX458" fmla="*/ 709 w 10000"/>
                <a:gd name="connsiteY458" fmla="*/ 5330 h 10000"/>
                <a:gd name="connsiteX459" fmla="*/ 659 w 10000"/>
                <a:gd name="connsiteY459" fmla="*/ 5294 h 10000"/>
                <a:gd name="connsiteX460" fmla="*/ 609 w 10000"/>
                <a:gd name="connsiteY460" fmla="*/ 5258 h 10000"/>
                <a:gd name="connsiteX461" fmla="*/ 565 w 10000"/>
                <a:gd name="connsiteY461" fmla="*/ 5217 h 10000"/>
                <a:gd name="connsiteX462" fmla="*/ 514 w 10000"/>
                <a:gd name="connsiteY462" fmla="*/ 5168 h 10000"/>
                <a:gd name="connsiteX463" fmla="*/ 471 w 10000"/>
                <a:gd name="connsiteY463" fmla="*/ 5120 h 10000"/>
                <a:gd name="connsiteX464" fmla="*/ 433 w 10000"/>
                <a:gd name="connsiteY464" fmla="*/ 5066 h 10000"/>
                <a:gd name="connsiteX465" fmla="*/ 389 w 10000"/>
                <a:gd name="connsiteY465" fmla="*/ 5012 h 10000"/>
                <a:gd name="connsiteX466" fmla="*/ 358 w 10000"/>
                <a:gd name="connsiteY466" fmla="*/ 4957 h 10000"/>
                <a:gd name="connsiteX467" fmla="*/ 326 w 10000"/>
                <a:gd name="connsiteY467" fmla="*/ 4909 h 10000"/>
                <a:gd name="connsiteX468" fmla="*/ 307 w 10000"/>
                <a:gd name="connsiteY468" fmla="*/ 4861 h 10000"/>
                <a:gd name="connsiteX469" fmla="*/ 295 w 10000"/>
                <a:gd name="connsiteY469" fmla="*/ 4813 h 10000"/>
                <a:gd name="connsiteX470" fmla="*/ 289 w 10000"/>
                <a:gd name="connsiteY470" fmla="*/ 4764 h 10000"/>
                <a:gd name="connsiteX471" fmla="*/ 320 w 10000"/>
                <a:gd name="connsiteY471" fmla="*/ 4746 h 10000"/>
                <a:gd name="connsiteX472" fmla="*/ 395 w 10000"/>
                <a:gd name="connsiteY472" fmla="*/ 4711 h 10000"/>
                <a:gd name="connsiteX473" fmla="*/ 483 w 10000"/>
                <a:gd name="connsiteY473" fmla="*/ 4675 h 10000"/>
                <a:gd name="connsiteX474" fmla="*/ 533 w 10000"/>
                <a:gd name="connsiteY474" fmla="*/ 4657 h 10000"/>
                <a:gd name="connsiteX475" fmla="*/ 483 w 10000"/>
                <a:gd name="connsiteY475" fmla="*/ 4657 h 10000"/>
                <a:gd name="connsiteX476" fmla="*/ 420 w 10000"/>
                <a:gd name="connsiteY476" fmla="*/ 4651 h 10000"/>
                <a:gd name="connsiteX477" fmla="*/ 370 w 10000"/>
                <a:gd name="connsiteY477" fmla="*/ 4639 h 10000"/>
                <a:gd name="connsiteX478" fmla="*/ 320 w 10000"/>
                <a:gd name="connsiteY478" fmla="*/ 4633 h 10000"/>
                <a:gd name="connsiteX479" fmla="*/ 276 w 10000"/>
                <a:gd name="connsiteY479" fmla="*/ 4614 h 10000"/>
                <a:gd name="connsiteX480" fmla="*/ 232 w 10000"/>
                <a:gd name="connsiteY480" fmla="*/ 4602 h 10000"/>
                <a:gd name="connsiteX481" fmla="*/ 188 w 10000"/>
                <a:gd name="connsiteY481" fmla="*/ 4584 h 10000"/>
                <a:gd name="connsiteX482" fmla="*/ 157 w 10000"/>
                <a:gd name="connsiteY482" fmla="*/ 4559 h 10000"/>
                <a:gd name="connsiteX483" fmla="*/ 132 w 10000"/>
                <a:gd name="connsiteY483" fmla="*/ 4535 h 10000"/>
                <a:gd name="connsiteX484" fmla="*/ 100 w 10000"/>
                <a:gd name="connsiteY484" fmla="*/ 4511 h 10000"/>
                <a:gd name="connsiteX485" fmla="*/ 75 w 10000"/>
                <a:gd name="connsiteY485" fmla="*/ 4481 h 10000"/>
                <a:gd name="connsiteX486" fmla="*/ 50 w 10000"/>
                <a:gd name="connsiteY486" fmla="*/ 4457 h 10000"/>
                <a:gd name="connsiteX487" fmla="*/ 19 w 10000"/>
                <a:gd name="connsiteY487" fmla="*/ 4385 h 10000"/>
                <a:gd name="connsiteX488" fmla="*/ 0 w 10000"/>
                <a:gd name="connsiteY488" fmla="*/ 4318 h 10000"/>
                <a:gd name="connsiteX489" fmla="*/ 63 w 10000"/>
                <a:gd name="connsiteY489" fmla="*/ 4270 h 10000"/>
                <a:gd name="connsiteX490" fmla="*/ 132 w 10000"/>
                <a:gd name="connsiteY490" fmla="*/ 4234 h 10000"/>
                <a:gd name="connsiteX491" fmla="*/ 201 w 10000"/>
                <a:gd name="connsiteY491" fmla="*/ 4205 h 10000"/>
                <a:gd name="connsiteX492" fmla="*/ 276 w 10000"/>
                <a:gd name="connsiteY492" fmla="*/ 4181 h 10000"/>
                <a:gd name="connsiteX493" fmla="*/ 420 w 10000"/>
                <a:gd name="connsiteY493" fmla="*/ 4151 h 10000"/>
                <a:gd name="connsiteX494" fmla="*/ 565 w 10000"/>
                <a:gd name="connsiteY494" fmla="*/ 4126 h 10000"/>
                <a:gd name="connsiteX495" fmla="*/ 640 w 10000"/>
                <a:gd name="connsiteY495" fmla="*/ 4114 h 10000"/>
                <a:gd name="connsiteX496" fmla="*/ 709 w 10000"/>
                <a:gd name="connsiteY496" fmla="*/ 4090 h 10000"/>
                <a:gd name="connsiteX497" fmla="*/ 772 w 10000"/>
                <a:gd name="connsiteY497" fmla="*/ 4072 h 10000"/>
                <a:gd name="connsiteX498" fmla="*/ 834 w 10000"/>
                <a:gd name="connsiteY498" fmla="*/ 4042 h 10000"/>
                <a:gd name="connsiteX499" fmla="*/ 891 w 10000"/>
                <a:gd name="connsiteY499" fmla="*/ 4012 h 10000"/>
                <a:gd name="connsiteX500" fmla="*/ 947 w 10000"/>
                <a:gd name="connsiteY500" fmla="*/ 3964 h 10000"/>
                <a:gd name="connsiteX501" fmla="*/ 997 w 10000"/>
                <a:gd name="connsiteY501" fmla="*/ 3909 h 10000"/>
                <a:gd name="connsiteX502" fmla="*/ 1035 w 10000"/>
                <a:gd name="connsiteY502" fmla="*/ 3842 h 10000"/>
                <a:gd name="connsiteX503" fmla="*/ 1010 w 10000"/>
                <a:gd name="connsiteY503" fmla="*/ 3830 h 10000"/>
                <a:gd name="connsiteX504" fmla="*/ 985 w 10000"/>
                <a:gd name="connsiteY504" fmla="*/ 3812 h 10000"/>
                <a:gd name="connsiteX505" fmla="*/ 947 w 10000"/>
                <a:gd name="connsiteY505" fmla="*/ 3788 h 10000"/>
                <a:gd name="connsiteX506" fmla="*/ 910 w 10000"/>
                <a:gd name="connsiteY506" fmla="*/ 3752 h 10000"/>
                <a:gd name="connsiteX507" fmla="*/ 822 w 10000"/>
                <a:gd name="connsiteY507" fmla="*/ 3680 h 10000"/>
                <a:gd name="connsiteX508" fmla="*/ 740 w 10000"/>
                <a:gd name="connsiteY508" fmla="*/ 3596 h 10000"/>
                <a:gd name="connsiteX509" fmla="*/ 665 w 10000"/>
                <a:gd name="connsiteY509" fmla="*/ 3505 h 10000"/>
                <a:gd name="connsiteX510" fmla="*/ 596 w 10000"/>
                <a:gd name="connsiteY510" fmla="*/ 3409 h 10000"/>
                <a:gd name="connsiteX511" fmla="*/ 577 w 10000"/>
                <a:gd name="connsiteY511" fmla="*/ 3367 h 10000"/>
                <a:gd name="connsiteX512" fmla="*/ 558 w 10000"/>
                <a:gd name="connsiteY512" fmla="*/ 3325 h 10000"/>
                <a:gd name="connsiteX513" fmla="*/ 540 w 10000"/>
                <a:gd name="connsiteY513" fmla="*/ 3282 h 10000"/>
                <a:gd name="connsiteX514" fmla="*/ 533 w 10000"/>
                <a:gd name="connsiteY514" fmla="*/ 3246 h 10000"/>
                <a:gd name="connsiteX515" fmla="*/ 508 w 10000"/>
                <a:gd name="connsiteY515" fmla="*/ 3240 h 10000"/>
                <a:gd name="connsiteX516" fmla="*/ 483 w 10000"/>
                <a:gd name="connsiteY516" fmla="*/ 3234 h 10000"/>
                <a:gd name="connsiteX517" fmla="*/ 458 w 10000"/>
                <a:gd name="connsiteY517" fmla="*/ 3222 h 10000"/>
                <a:gd name="connsiteX518" fmla="*/ 439 w 10000"/>
                <a:gd name="connsiteY518" fmla="*/ 3199 h 10000"/>
                <a:gd name="connsiteX519" fmla="*/ 402 w 10000"/>
                <a:gd name="connsiteY519" fmla="*/ 3156 h 10000"/>
                <a:gd name="connsiteX520" fmla="*/ 370 w 10000"/>
                <a:gd name="connsiteY520" fmla="*/ 3096 h 10000"/>
                <a:gd name="connsiteX521" fmla="*/ 370 w 10000"/>
                <a:gd name="connsiteY521" fmla="*/ 2951 h 10000"/>
                <a:gd name="connsiteX522" fmla="*/ 458 w 10000"/>
                <a:gd name="connsiteY522" fmla="*/ 2945 h 10000"/>
                <a:gd name="connsiteX523" fmla="*/ 540 w 10000"/>
                <a:gd name="connsiteY523" fmla="*/ 2939 h 10000"/>
                <a:gd name="connsiteX524" fmla="*/ 615 w 10000"/>
                <a:gd name="connsiteY524" fmla="*/ 2927 h 10000"/>
                <a:gd name="connsiteX525" fmla="*/ 684 w 10000"/>
                <a:gd name="connsiteY525" fmla="*/ 2903 h 10000"/>
                <a:gd name="connsiteX526" fmla="*/ 747 w 10000"/>
                <a:gd name="connsiteY526" fmla="*/ 2885 h 10000"/>
                <a:gd name="connsiteX527" fmla="*/ 809 w 10000"/>
                <a:gd name="connsiteY527" fmla="*/ 2854 h 10000"/>
                <a:gd name="connsiteX528" fmla="*/ 866 w 10000"/>
                <a:gd name="connsiteY528" fmla="*/ 2824 h 10000"/>
                <a:gd name="connsiteX529" fmla="*/ 922 w 10000"/>
                <a:gd name="connsiteY529" fmla="*/ 2788 h 10000"/>
                <a:gd name="connsiteX530" fmla="*/ 966 w 10000"/>
                <a:gd name="connsiteY530" fmla="*/ 2746 h 10000"/>
                <a:gd name="connsiteX531" fmla="*/ 1016 w 10000"/>
                <a:gd name="connsiteY531" fmla="*/ 2705 h 10000"/>
                <a:gd name="connsiteX532" fmla="*/ 1060 w 10000"/>
                <a:gd name="connsiteY532" fmla="*/ 2663 h 10000"/>
                <a:gd name="connsiteX533" fmla="*/ 1098 w 10000"/>
                <a:gd name="connsiteY533" fmla="*/ 2614 h 10000"/>
                <a:gd name="connsiteX534" fmla="*/ 1167 w 10000"/>
                <a:gd name="connsiteY534" fmla="*/ 2518 h 10000"/>
                <a:gd name="connsiteX535" fmla="*/ 1236 w 10000"/>
                <a:gd name="connsiteY535" fmla="*/ 2408 h 10000"/>
                <a:gd name="connsiteX536" fmla="*/ 1355 w 10000"/>
                <a:gd name="connsiteY536" fmla="*/ 2192 h 10000"/>
                <a:gd name="connsiteX537" fmla="*/ 1474 w 10000"/>
                <a:gd name="connsiteY537" fmla="*/ 1975 h 10000"/>
                <a:gd name="connsiteX538" fmla="*/ 1543 w 10000"/>
                <a:gd name="connsiteY538" fmla="*/ 1879 h 10000"/>
                <a:gd name="connsiteX539" fmla="*/ 1612 w 10000"/>
                <a:gd name="connsiteY539" fmla="*/ 1794 h 10000"/>
                <a:gd name="connsiteX540" fmla="*/ 1650 w 10000"/>
                <a:gd name="connsiteY540" fmla="*/ 1745 h 10000"/>
                <a:gd name="connsiteX541" fmla="*/ 1694 w 10000"/>
                <a:gd name="connsiteY541" fmla="*/ 1709 h 10000"/>
                <a:gd name="connsiteX542" fmla="*/ 1738 w 10000"/>
                <a:gd name="connsiteY542" fmla="*/ 1680 h 10000"/>
                <a:gd name="connsiteX543" fmla="*/ 1788 w 10000"/>
                <a:gd name="connsiteY543" fmla="*/ 1650 h 10000"/>
                <a:gd name="connsiteX544" fmla="*/ 1750 w 10000"/>
                <a:gd name="connsiteY544" fmla="*/ 1577 h 10000"/>
                <a:gd name="connsiteX545" fmla="*/ 1719 w 10000"/>
                <a:gd name="connsiteY545" fmla="*/ 1511 h 10000"/>
                <a:gd name="connsiteX546" fmla="*/ 1713 w 10000"/>
                <a:gd name="connsiteY546" fmla="*/ 1481 h 10000"/>
                <a:gd name="connsiteX547" fmla="*/ 1706 w 10000"/>
                <a:gd name="connsiteY547" fmla="*/ 1451 h 10000"/>
                <a:gd name="connsiteX548" fmla="*/ 1706 w 10000"/>
                <a:gd name="connsiteY548" fmla="*/ 1415 h 10000"/>
                <a:gd name="connsiteX549" fmla="*/ 1706 w 10000"/>
                <a:gd name="connsiteY549" fmla="*/ 1385 h 10000"/>
                <a:gd name="connsiteX550" fmla="*/ 1713 w 10000"/>
                <a:gd name="connsiteY550" fmla="*/ 1354 h 10000"/>
                <a:gd name="connsiteX551" fmla="*/ 1719 w 10000"/>
                <a:gd name="connsiteY551" fmla="*/ 1324 h 10000"/>
                <a:gd name="connsiteX552" fmla="*/ 1731 w 10000"/>
                <a:gd name="connsiteY552" fmla="*/ 1300 h 10000"/>
                <a:gd name="connsiteX553" fmla="*/ 1757 w 10000"/>
                <a:gd name="connsiteY553" fmla="*/ 1276 h 10000"/>
                <a:gd name="connsiteX554" fmla="*/ 1775 w 10000"/>
                <a:gd name="connsiteY554" fmla="*/ 1258 h 10000"/>
                <a:gd name="connsiteX555" fmla="*/ 1801 w 10000"/>
                <a:gd name="connsiteY555" fmla="*/ 1240 h 10000"/>
                <a:gd name="connsiteX556" fmla="*/ 1838 w 10000"/>
                <a:gd name="connsiteY556" fmla="*/ 1222 h 10000"/>
                <a:gd name="connsiteX557" fmla="*/ 1870 w 10000"/>
                <a:gd name="connsiteY557" fmla="*/ 1204 h 10000"/>
                <a:gd name="connsiteX558" fmla="*/ 1688 w 10000"/>
                <a:gd name="connsiteY558" fmla="*/ 1042 h 10000"/>
                <a:gd name="connsiteX559" fmla="*/ 1550 w 10000"/>
                <a:gd name="connsiteY559" fmla="*/ 920 h 10000"/>
                <a:gd name="connsiteX560" fmla="*/ 1487 w 10000"/>
                <a:gd name="connsiteY560" fmla="*/ 860 h 10000"/>
                <a:gd name="connsiteX561" fmla="*/ 1424 w 10000"/>
                <a:gd name="connsiteY561" fmla="*/ 794 h 10000"/>
                <a:gd name="connsiteX562" fmla="*/ 1361 w 10000"/>
                <a:gd name="connsiteY562" fmla="*/ 709 h 10000"/>
                <a:gd name="connsiteX563" fmla="*/ 1286 w 10000"/>
                <a:gd name="connsiteY563" fmla="*/ 608 h 10000"/>
                <a:gd name="connsiteX564" fmla="*/ 1286 w 10000"/>
                <a:gd name="connsiteY564" fmla="*/ 349 h 10000"/>
                <a:gd name="connsiteX565" fmla="*/ 1437 w 10000"/>
                <a:gd name="connsiteY565" fmla="*/ 349 h 10000"/>
                <a:gd name="connsiteX566" fmla="*/ 1606 w 10000"/>
                <a:gd name="connsiteY566" fmla="*/ 337 h 10000"/>
                <a:gd name="connsiteX567" fmla="*/ 1694 w 10000"/>
                <a:gd name="connsiteY567" fmla="*/ 331 h 10000"/>
                <a:gd name="connsiteX568" fmla="*/ 1775 w 10000"/>
                <a:gd name="connsiteY568" fmla="*/ 318 h 10000"/>
                <a:gd name="connsiteX569" fmla="*/ 1863 w 10000"/>
                <a:gd name="connsiteY569" fmla="*/ 299 h 10000"/>
                <a:gd name="connsiteX570" fmla="*/ 1945 w 10000"/>
                <a:gd name="connsiteY570" fmla="*/ 281 h 10000"/>
                <a:gd name="connsiteX571" fmla="*/ 2020 w 10000"/>
                <a:gd name="connsiteY571" fmla="*/ 263 h 10000"/>
                <a:gd name="connsiteX572" fmla="*/ 2102 w 10000"/>
                <a:gd name="connsiteY572" fmla="*/ 233 h 10000"/>
                <a:gd name="connsiteX573" fmla="*/ 2177 w 10000"/>
                <a:gd name="connsiteY573" fmla="*/ 203 h 10000"/>
                <a:gd name="connsiteX574" fmla="*/ 2240 w 10000"/>
                <a:gd name="connsiteY574" fmla="*/ 162 h 10000"/>
                <a:gd name="connsiteX575" fmla="*/ 2296 w 10000"/>
                <a:gd name="connsiteY575" fmla="*/ 120 h 10000"/>
                <a:gd name="connsiteX576" fmla="*/ 2587 w 10000"/>
                <a:gd name="connsiteY576" fmla="*/ 38 h 10000"/>
                <a:gd name="connsiteX577" fmla="*/ 2631 w 10000"/>
                <a:gd name="connsiteY577" fmla="*/ 32 h 10000"/>
                <a:gd name="connsiteX578" fmla="*/ 2415 w 10000"/>
                <a:gd name="connsiteY578"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2949 w 10000"/>
                <a:gd name="connsiteY6" fmla="*/ 94 h 10000"/>
                <a:gd name="connsiteX7" fmla="*/ 3093 w 10000"/>
                <a:gd name="connsiteY7" fmla="*/ 193 h 10000"/>
                <a:gd name="connsiteX8" fmla="*/ 3120 w 10000"/>
                <a:gd name="connsiteY8" fmla="*/ 345 h 10000"/>
                <a:gd name="connsiteX9" fmla="*/ 3152 w 10000"/>
                <a:gd name="connsiteY9" fmla="*/ 381 h 10000"/>
                <a:gd name="connsiteX10" fmla="*/ 3093 w 10000"/>
                <a:gd name="connsiteY10" fmla="*/ 493 h 10000"/>
                <a:gd name="connsiteX11" fmla="*/ 2992 w 10000"/>
                <a:gd name="connsiteY11" fmla="*/ 584 h 10000"/>
                <a:gd name="connsiteX12" fmla="*/ 3043 w 10000"/>
                <a:gd name="connsiteY12" fmla="*/ 608 h 10000"/>
                <a:gd name="connsiteX13" fmla="*/ 3087 w 10000"/>
                <a:gd name="connsiteY13" fmla="*/ 650 h 10000"/>
                <a:gd name="connsiteX14" fmla="*/ 3130 w 10000"/>
                <a:gd name="connsiteY14" fmla="*/ 697 h 10000"/>
                <a:gd name="connsiteX15" fmla="*/ 3174 w 10000"/>
                <a:gd name="connsiteY15" fmla="*/ 746 h 10000"/>
                <a:gd name="connsiteX16" fmla="*/ 3212 w 10000"/>
                <a:gd name="connsiteY16" fmla="*/ 806 h 10000"/>
                <a:gd name="connsiteX17" fmla="*/ 3256 w 10000"/>
                <a:gd name="connsiteY17" fmla="*/ 860 h 10000"/>
                <a:gd name="connsiteX18" fmla="*/ 3281 w 10000"/>
                <a:gd name="connsiteY18" fmla="*/ 920 h 10000"/>
                <a:gd name="connsiteX19" fmla="*/ 3312 w 10000"/>
                <a:gd name="connsiteY19" fmla="*/ 987 h 10000"/>
                <a:gd name="connsiteX20" fmla="*/ 3331 w 10000"/>
                <a:gd name="connsiteY20" fmla="*/ 1054 h 10000"/>
                <a:gd name="connsiteX21" fmla="*/ 3043 w 10000"/>
                <a:gd name="connsiteY21" fmla="*/ 1054 h 10000"/>
                <a:gd name="connsiteX22" fmla="*/ 3043 w 10000"/>
                <a:gd name="connsiteY22" fmla="*/ 1240 h 10000"/>
                <a:gd name="connsiteX23" fmla="*/ 3074 w 10000"/>
                <a:gd name="connsiteY23" fmla="*/ 1318 h 10000"/>
                <a:gd name="connsiteX24" fmla="*/ 3118 w 10000"/>
                <a:gd name="connsiteY24" fmla="*/ 1385 h 10000"/>
                <a:gd name="connsiteX25" fmla="*/ 3168 w 10000"/>
                <a:gd name="connsiteY25" fmla="*/ 1445 h 10000"/>
                <a:gd name="connsiteX26" fmla="*/ 3225 w 10000"/>
                <a:gd name="connsiteY26" fmla="*/ 1487 h 10000"/>
                <a:gd name="connsiteX27" fmla="*/ 3281 w 10000"/>
                <a:gd name="connsiteY27" fmla="*/ 1529 h 10000"/>
                <a:gd name="connsiteX28" fmla="*/ 3350 w 10000"/>
                <a:gd name="connsiteY28" fmla="*/ 1559 h 10000"/>
                <a:gd name="connsiteX29" fmla="*/ 3413 w 10000"/>
                <a:gd name="connsiteY29" fmla="*/ 1589 h 10000"/>
                <a:gd name="connsiteX30" fmla="*/ 3488 w 10000"/>
                <a:gd name="connsiteY30" fmla="*/ 1614 h 10000"/>
                <a:gd name="connsiteX31" fmla="*/ 3626 w 10000"/>
                <a:gd name="connsiteY31" fmla="*/ 1668 h 10000"/>
                <a:gd name="connsiteX32" fmla="*/ 3764 w 10000"/>
                <a:gd name="connsiteY32" fmla="*/ 1721 h 10000"/>
                <a:gd name="connsiteX33" fmla="*/ 3827 w 10000"/>
                <a:gd name="connsiteY33" fmla="*/ 1758 h 10000"/>
                <a:gd name="connsiteX34" fmla="*/ 3890 w 10000"/>
                <a:gd name="connsiteY34" fmla="*/ 1806 h 10000"/>
                <a:gd name="connsiteX35" fmla="*/ 3946 w 10000"/>
                <a:gd name="connsiteY35" fmla="*/ 1855 h 10000"/>
                <a:gd name="connsiteX36" fmla="*/ 4003 w 10000"/>
                <a:gd name="connsiteY36" fmla="*/ 1909 h 10000"/>
                <a:gd name="connsiteX37" fmla="*/ 3959 w 10000"/>
                <a:gd name="connsiteY37" fmla="*/ 2470 h 10000"/>
                <a:gd name="connsiteX38" fmla="*/ 4034 w 10000"/>
                <a:gd name="connsiteY38" fmla="*/ 2524 h 10000"/>
                <a:gd name="connsiteX39" fmla="*/ 4141 w 10000"/>
                <a:gd name="connsiteY39" fmla="*/ 2590 h 10000"/>
                <a:gd name="connsiteX40" fmla="*/ 4260 w 10000"/>
                <a:gd name="connsiteY40" fmla="*/ 2650 h 10000"/>
                <a:gd name="connsiteX41" fmla="*/ 4398 w 10000"/>
                <a:gd name="connsiteY41" fmla="*/ 2705 h 10000"/>
                <a:gd name="connsiteX42" fmla="*/ 4536 w 10000"/>
                <a:gd name="connsiteY42" fmla="*/ 2758 h 10000"/>
                <a:gd name="connsiteX43" fmla="*/ 4668 w 10000"/>
                <a:gd name="connsiteY43" fmla="*/ 2800 h 10000"/>
                <a:gd name="connsiteX44" fmla="*/ 4724 w 10000"/>
                <a:gd name="connsiteY44" fmla="*/ 2818 h 10000"/>
                <a:gd name="connsiteX45" fmla="*/ 4780 w 10000"/>
                <a:gd name="connsiteY45" fmla="*/ 2830 h 10000"/>
                <a:gd name="connsiteX46" fmla="*/ 4831 w 10000"/>
                <a:gd name="connsiteY46" fmla="*/ 2836 h 10000"/>
                <a:gd name="connsiteX47" fmla="*/ 4875 w 10000"/>
                <a:gd name="connsiteY47" fmla="*/ 2836 h 10000"/>
                <a:gd name="connsiteX48" fmla="*/ 4887 w 10000"/>
                <a:gd name="connsiteY48" fmla="*/ 2879 h 10000"/>
                <a:gd name="connsiteX49" fmla="*/ 4918 w 10000"/>
                <a:gd name="connsiteY49" fmla="*/ 2915 h 10000"/>
                <a:gd name="connsiteX50" fmla="*/ 4950 w 10000"/>
                <a:gd name="connsiteY50" fmla="*/ 2933 h 10000"/>
                <a:gd name="connsiteX51" fmla="*/ 4987 w 10000"/>
                <a:gd name="connsiteY51" fmla="*/ 2945 h 10000"/>
                <a:gd name="connsiteX52" fmla="*/ 5019 w 10000"/>
                <a:gd name="connsiteY52" fmla="*/ 2957 h 10000"/>
                <a:gd name="connsiteX53" fmla="*/ 5063 w 10000"/>
                <a:gd name="connsiteY53" fmla="*/ 2957 h 10000"/>
                <a:gd name="connsiteX54" fmla="*/ 5107 w 10000"/>
                <a:gd name="connsiteY54" fmla="*/ 2951 h 10000"/>
                <a:gd name="connsiteX55" fmla="*/ 5157 w 10000"/>
                <a:gd name="connsiteY55" fmla="*/ 2945 h 10000"/>
                <a:gd name="connsiteX56" fmla="*/ 5245 w 10000"/>
                <a:gd name="connsiteY56" fmla="*/ 2927 h 10000"/>
                <a:gd name="connsiteX57" fmla="*/ 5345 w 10000"/>
                <a:gd name="connsiteY57" fmla="*/ 2903 h 10000"/>
                <a:gd name="connsiteX58" fmla="*/ 5383 w 10000"/>
                <a:gd name="connsiteY58" fmla="*/ 2903 h 10000"/>
                <a:gd name="connsiteX59" fmla="*/ 5427 w 10000"/>
                <a:gd name="connsiteY59" fmla="*/ 2897 h 10000"/>
                <a:gd name="connsiteX60" fmla="*/ 5464 w 10000"/>
                <a:gd name="connsiteY60" fmla="*/ 2903 h 10000"/>
                <a:gd name="connsiteX61" fmla="*/ 5502 w 10000"/>
                <a:gd name="connsiteY61" fmla="*/ 2909 h 10000"/>
                <a:gd name="connsiteX62" fmla="*/ 5558 w 10000"/>
                <a:gd name="connsiteY62" fmla="*/ 2945 h 10000"/>
                <a:gd name="connsiteX63" fmla="*/ 5596 w 10000"/>
                <a:gd name="connsiteY63" fmla="*/ 2975 h 10000"/>
                <a:gd name="connsiteX64" fmla="*/ 5634 w 10000"/>
                <a:gd name="connsiteY64" fmla="*/ 3017 h 10000"/>
                <a:gd name="connsiteX65" fmla="*/ 5665 w 10000"/>
                <a:gd name="connsiteY65" fmla="*/ 3053 h 10000"/>
                <a:gd name="connsiteX66" fmla="*/ 5696 w 10000"/>
                <a:gd name="connsiteY66" fmla="*/ 3090 h 10000"/>
                <a:gd name="connsiteX67" fmla="*/ 5734 w 10000"/>
                <a:gd name="connsiteY67" fmla="*/ 3126 h 10000"/>
                <a:gd name="connsiteX68" fmla="*/ 5759 w 10000"/>
                <a:gd name="connsiteY68" fmla="*/ 3144 h 10000"/>
                <a:gd name="connsiteX69" fmla="*/ 5778 w 10000"/>
                <a:gd name="connsiteY69" fmla="*/ 3156 h 10000"/>
                <a:gd name="connsiteX70" fmla="*/ 5803 w 10000"/>
                <a:gd name="connsiteY70" fmla="*/ 3168 h 10000"/>
                <a:gd name="connsiteX71" fmla="*/ 5834 w 10000"/>
                <a:gd name="connsiteY71" fmla="*/ 3174 h 10000"/>
                <a:gd name="connsiteX72" fmla="*/ 5935 w 10000"/>
                <a:gd name="connsiteY72" fmla="*/ 3193 h 10000"/>
                <a:gd name="connsiteX73" fmla="*/ 6073 w 10000"/>
                <a:gd name="connsiteY73" fmla="*/ 3228 h 10000"/>
                <a:gd name="connsiteX74" fmla="*/ 6230 w 10000"/>
                <a:gd name="connsiteY74" fmla="*/ 3264 h 10000"/>
                <a:gd name="connsiteX75" fmla="*/ 6405 w 10000"/>
                <a:gd name="connsiteY75" fmla="*/ 3307 h 10000"/>
                <a:gd name="connsiteX76" fmla="*/ 6568 w 10000"/>
                <a:gd name="connsiteY76" fmla="*/ 3337 h 10000"/>
                <a:gd name="connsiteX77" fmla="*/ 6719 w 10000"/>
                <a:gd name="connsiteY77" fmla="*/ 3361 h 10000"/>
                <a:gd name="connsiteX78" fmla="*/ 6788 w 10000"/>
                <a:gd name="connsiteY78" fmla="*/ 3367 h 10000"/>
                <a:gd name="connsiteX79" fmla="*/ 6838 w 10000"/>
                <a:gd name="connsiteY79" fmla="*/ 3373 h 10000"/>
                <a:gd name="connsiteX80" fmla="*/ 6888 w 10000"/>
                <a:gd name="connsiteY80" fmla="*/ 3367 h 10000"/>
                <a:gd name="connsiteX81" fmla="*/ 6913 w 10000"/>
                <a:gd name="connsiteY81" fmla="*/ 3355 h 10000"/>
                <a:gd name="connsiteX82" fmla="*/ 6888 w 10000"/>
                <a:gd name="connsiteY82" fmla="*/ 3313 h 10000"/>
                <a:gd name="connsiteX83" fmla="*/ 6857 w 10000"/>
                <a:gd name="connsiteY83" fmla="*/ 3264 h 10000"/>
                <a:gd name="connsiteX84" fmla="*/ 6838 w 10000"/>
                <a:gd name="connsiteY84" fmla="*/ 3216 h 10000"/>
                <a:gd name="connsiteX85" fmla="*/ 6826 w 10000"/>
                <a:gd name="connsiteY85" fmla="*/ 3162 h 10000"/>
                <a:gd name="connsiteX86" fmla="*/ 6794 w 10000"/>
                <a:gd name="connsiteY86" fmla="*/ 3071 h 10000"/>
                <a:gd name="connsiteX87" fmla="*/ 6788 w 10000"/>
                <a:gd name="connsiteY87" fmla="*/ 3023 h 10000"/>
                <a:gd name="connsiteX88" fmla="*/ 6788 w 10000"/>
                <a:gd name="connsiteY88" fmla="*/ 2836 h 10000"/>
                <a:gd name="connsiteX89" fmla="*/ 6788 w 10000"/>
                <a:gd name="connsiteY89" fmla="*/ 2650 h 10000"/>
                <a:gd name="connsiteX90" fmla="*/ 6995 w 10000"/>
                <a:gd name="connsiteY90" fmla="*/ 2650 h 10000"/>
                <a:gd name="connsiteX91" fmla="*/ 7033 w 10000"/>
                <a:gd name="connsiteY91" fmla="*/ 2716 h 10000"/>
                <a:gd name="connsiteX92" fmla="*/ 7058 w 10000"/>
                <a:gd name="connsiteY92" fmla="*/ 2758 h 10000"/>
                <a:gd name="connsiteX93" fmla="*/ 7095 w 10000"/>
                <a:gd name="connsiteY93" fmla="*/ 2794 h 10000"/>
                <a:gd name="connsiteX94" fmla="*/ 7127 w 10000"/>
                <a:gd name="connsiteY94" fmla="*/ 2836 h 10000"/>
                <a:gd name="connsiteX95" fmla="*/ 7120 w 10000"/>
                <a:gd name="connsiteY95" fmla="*/ 2933 h 10000"/>
                <a:gd name="connsiteX96" fmla="*/ 7102 w 10000"/>
                <a:gd name="connsiteY96" fmla="*/ 2993 h 10000"/>
                <a:gd name="connsiteX97" fmla="*/ 7089 w 10000"/>
                <a:gd name="connsiteY97" fmla="*/ 3041 h 10000"/>
                <a:gd name="connsiteX98" fmla="*/ 7077 w 10000"/>
                <a:gd name="connsiteY98" fmla="*/ 3096 h 10000"/>
                <a:gd name="connsiteX99" fmla="*/ 7208 w 10000"/>
                <a:gd name="connsiteY99" fmla="*/ 3132 h 10000"/>
                <a:gd name="connsiteX100" fmla="*/ 7334 w 10000"/>
                <a:gd name="connsiteY100" fmla="*/ 3168 h 10000"/>
                <a:gd name="connsiteX101" fmla="*/ 7396 w 10000"/>
                <a:gd name="connsiteY101" fmla="*/ 3187 h 10000"/>
                <a:gd name="connsiteX102" fmla="*/ 7459 w 10000"/>
                <a:gd name="connsiteY102" fmla="*/ 3199 h 10000"/>
                <a:gd name="connsiteX103" fmla="*/ 7522 w 10000"/>
                <a:gd name="connsiteY103" fmla="*/ 3205 h 10000"/>
                <a:gd name="connsiteX104" fmla="*/ 7585 w 10000"/>
                <a:gd name="connsiteY104" fmla="*/ 3210 h 10000"/>
                <a:gd name="connsiteX105" fmla="*/ 7591 w 10000"/>
                <a:gd name="connsiteY105" fmla="*/ 3234 h 10000"/>
                <a:gd name="connsiteX106" fmla="*/ 7604 w 10000"/>
                <a:gd name="connsiteY106" fmla="*/ 3258 h 10000"/>
                <a:gd name="connsiteX107" fmla="*/ 7622 w 10000"/>
                <a:gd name="connsiteY107" fmla="*/ 3276 h 10000"/>
                <a:gd name="connsiteX108" fmla="*/ 7654 w 10000"/>
                <a:gd name="connsiteY108" fmla="*/ 3294 h 10000"/>
                <a:gd name="connsiteX109" fmla="*/ 7704 w 10000"/>
                <a:gd name="connsiteY109" fmla="*/ 3313 h 10000"/>
                <a:gd name="connsiteX110" fmla="*/ 7748 w 10000"/>
                <a:gd name="connsiteY110" fmla="*/ 3319 h 10000"/>
                <a:gd name="connsiteX111" fmla="*/ 7798 w 10000"/>
                <a:gd name="connsiteY111" fmla="*/ 3319 h 10000"/>
                <a:gd name="connsiteX112" fmla="*/ 7836 w 10000"/>
                <a:gd name="connsiteY112" fmla="*/ 3307 h 10000"/>
                <a:gd name="connsiteX113" fmla="*/ 7880 w 10000"/>
                <a:gd name="connsiteY113" fmla="*/ 3288 h 10000"/>
                <a:gd name="connsiteX114" fmla="*/ 7911 w 10000"/>
                <a:gd name="connsiteY114" fmla="*/ 3270 h 10000"/>
                <a:gd name="connsiteX115" fmla="*/ 7949 w 10000"/>
                <a:gd name="connsiteY115" fmla="*/ 3246 h 10000"/>
                <a:gd name="connsiteX116" fmla="*/ 7980 w 10000"/>
                <a:gd name="connsiteY116" fmla="*/ 3216 h 10000"/>
                <a:gd name="connsiteX117" fmla="*/ 8011 w 10000"/>
                <a:gd name="connsiteY117" fmla="*/ 3187 h 10000"/>
                <a:gd name="connsiteX118" fmla="*/ 8036 w 10000"/>
                <a:gd name="connsiteY118" fmla="*/ 3156 h 10000"/>
                <a:gd name="connsiteX119" fmla="*/ 8087 w 10000"/>
                <a:gd name="connsiteY119" fmla="*/ 3077 h 10000"/>
                <a:gd name="connsiteX120" fmla="*/ 8118 w 10000"/>
                <a:gd name="connsiteY120" fmla="*/ 3005 h 10000"/>
                <a:gd name="connsiteX121" fmla="*/ 8149 w 10000"/>
                <a:gd name="connsiteY121" fmla="*/ 2939 h 10000"/>
                <a:gd name="connsiteX122" fmla="*/ 8168 w 10000"/>
                <a:gd name="connsiteY122" fmla="*/ 2873 h 10000"/>
                <a:gd name="connsiteX123" fmla="*/ 8231 w 10000"/>
                <a:gd name="connsiteY123" fmla="*/ 2806 h 10000"/>
                <a:gd name="connsiteX124" fmla="*/ 8294 w 10000"/>
                <a:gd name="connsiteY124" fmla="*/ 2740 h 10000"/>
                <a:gd name="connsiteX125" fmla="*/ 8363 w 10000"/>
                <a:gd name="connsiteY125" fmla="*/ 2687 h 10000"/>
                <a:gd name="connsiteX126" fmla="*/ 8432 w 10000"/>
                <a:gd name="connsiteY126" fmla="*/ 2626 h 10000"/>
                <a:gd name="connsiteX127" fmla="*/ 8507 w 10000"/>
                <a:gd name="connsiteY127" fmla="*/ 2578 h 10000"/>
                <a:gd name="connsiteX128" fmla="*/ 8576 w 10000"/>
                <a:gd name="connsiteY128" fmla="*/ 2530 h 10000"/>
                <a:gd name="connsiteX129" fmla="*/ 8651 w 10000"/>
                <a:gd name="connsiteY129" fmla="*/ 2488 h 10000"/>
                <a:gd name="connsiteX130" fmla="*/ 8726 w 10000"/>
                <a:gd name="connsiteY130" fmla="*/ 2444 h 10000"/>
                <a:gd name="connsiteX131" fmla="*/ 8808 w 10000"/>
                <a:gd name="connsiteY131" fmla="*/ 2402 h 10000"/>
                <a:gd name="connsiteX132" fmla="*/ 8890 w 10000"/>
                <a:gd name="connsiteY132" fmla="*/ 2366 h 10000"/>
                <a:gd name="connsiteX133" fmla="*/ 8971 w 10000"/>
                <a:gd name="connsiteY133" fmla="*/ 2336 h 10000"/>
                <a:gd name="connsiteX134" fmla="*/ 9059 w 10000"/>
                <a:gd name="connsiteY134" fmla="*/ 2306 h 10000"/>
                <a:gd name="connsiteX135" fmla="*/ 9235 w 10000"/>
                <a:gd name="connsiteY135" fmla="*/ 2252 h 10000"/>
                <a:gd name="connsiteX136" fmla="*/ 9417 w 10000"/>
                <a:gd name="connsiteY136" fmla="*/ 2209 h 10000"/>
                <a:gd name="connsiteX137" fmla="*/ 9454 w 10000"/>
                <a:gd name="connsiteY137" fmla="*/ 2258 h 10000"/>
                <a:gd name="connsiteX138" fmla="*/ 9504 w 10000"/>
                <a:gd name="connsiteY138" fmla="*/ 2318 h 10000"/>
                <a:gd name="connsiteX139" fmla="*/ 9573 w 10000"/>
                <a:gd name="connsiteY139" fmla="*/ 2384 h 10000"/>
                <a:gd name="connsiteX140" fmla="*/ 9642 w 10000"/>
                <a:gd name="connsiteY140" fmla="*/ 2457 h 10000"/>
                <a:gd name="connsiteX141" fmla="*/ 9718 w 10000"/>
                <a:gd name="connsiteY141" fmla="*/ 2518 h 10000"/>
                <a:gd name="connsiteX142" fmla="*/ 9799 w 10000"/>
                <a:gd name="connsiteY142" fmla="*/ 2566 h 10000"/>
                <a:gd name="connsiteX143" fmla="*/ 9837 w 10000"/>
                <a:gd name="connsiteY143" fmla="*/ 2590 h 10000"/>
                <a:gd name="connsiteX144" fmla="*/ 9875 w 10000"/>
                <a:gd name="connsiteY144" fmla="*/ 2602 h 10000"/>
                <a:gd name="connsiteX145" fmla="*/ 9918 w 10000"/>
                <a:gd name="connsiteY145" fmla="*/ 2614 h 10000"/>
                <a:gd name="connsiteX146" fmla="*/ 9956 w 10000"/>
                <a:gd name="connsiteY146" fmla="*/ 2614 h 10000"/>
                <a:gd name="connsiteX147" fmla="*/ 10000 w 10000"/>
                <a:gd name="connsiteY147" fmla="*/ 2542 h 10000"/>
                <a:gd name="connsiteX148" fmla="*/ 9975 w 10000"/>
                <a:gd name="connsiteY148" fmla="*/ 2669 h 10000"/>
                <a:gd name="connsiteX149" fmla="*/ 9944 w 10000"/>
                <a:gd name="connsiteY149" fmla="*/ 2812 h 10000"/>
                <a:gd name="connsiteX150" fmla="*/ 9931 w 10000"/>
                <a:gd name="connsiteY150" fmla="*/ 2879 h 10000"/>
                <a:gd name="connsiteX151" fmla="*/ 9906 w 10000"/>
                <a:gd name="connsiteY151" fmla="*/ 2939 h 10000"/>
                <a:gd name="connsiteX152" fmla="*/ 9887 w 10000"/>
                <a:gd name="connsiteY152" fmla="*/ 2963 h 10000"/>
                <a:gd name="connsiteX153" fmla="*/ 9875 w 10000"/>
                <a:gd name="connsiteY153" fmla="*/ 2987 h 10000"/>
                <a:gd name="connsiteX154" fmla="*/ 9856 w 10000"/>
                <a:gd name="connsiteY154" fmla="*/ 3005 h 10000"/>
                <a:gd name="connsiteX155" fmla="*/ 9837 w 10000"/>
                <a:gd name="connsiteY155" fmla="*/ 3023 h 10000"/>
                <a:gd name="connsiteX156" fmla="*/ 9749 w 10000"/>
                <a:gd name="connsiteY156" fmla="*/ 3041 h 10000"/>
                <a:gd name="connsiteX157" fmla="*/ 9605 w 10000"/>
                <a:gd name="connsiteY157" fmla="*/ 3090 h 10000"/>
                <a:gd name="connsiteX158" fmla="*/ 9536 w 10000"/>
                <a:gd name="connsiteY158" fmla="*/ 3132 h 10000"/>
                <a:gd name="connsiteX159" fmla="*/ 9479 w 10000"/>
                <a:gd name="connsiteY159" fmla="*/ 3168 h 10000"/>
                <a:gd name="connsiteX160" fmla="*/ 9448 w 10000"/>
                <a:gd name="connsiteY160" fmla="*/ 3187 h 10000"/>
                <a:gd name="connsiteX161" fmla="*/ 9435 w 10000"/>
                <a:gd name="connsiteY161" fmla="*/ 3205 h 10000"/>
                <a:gd name="connsiteX162" fmla="*/ 9423 w 10000"/>
                <a:gd name="connsiteY162" fmla="*/ 3228 h 10000"/>
                <a:gd name="connsiteX163" fmla="*/ 9417 w 10000"/>
                <a:gd name="connsiteY163" fmla="*/ 3246 h 10000"/>
                <a:gd name="connsiteX164" fmla="*/ 9423 w 10000"/>
                <a:gd name="connsiteY164" fmla="*/ 3457 h 10000"/>
                <a:gd name="connsiteX165" fmla="*/ 9417 w 10000"/>
                <a:gd name="connsiteY165" fmla="*/ 3698 h 10000"/>
                <a:gd name="connsiteX166" fmla="*/ 9398 w 10000"/>
                <a:gd name="connsiteY166" fmla="*/ 3758 h 10000"/>
                <a:gd name="connsiteX167" fmla="*/ 9391 w 10000"/>
                <a:gd name="connsiteY167" fmla="*/ 3824 h 10000"/>
                <a:gd name="connsiteX168" fmla="*/ 9379 w 10000"/>
                <a:gd name="connsiteY168" fmla="*/ 3878 h 10000"/>
                <a:gd name="connsiteX169" fmla="*/ 9366 w 10000"/>
                <a:gd name="connsiteY169" fmla="*/ 3933 h 10000"/>
                <a:gd name="connsiteX170" fmla="*/ 9348 w 10000"/>
                <a:gd name="connsiteY170" fmla="*/ 3982 h 10000"/>
                <a:gd name="connsiteX171" fmla="*/ 9316 w 10000"/>
                <a:gd name="connsiteY171" fmla="*/ 4030 h 10000"/>
                <a:gd name="connsiteX172" fmla="*/ 9285 w 10000"/>
                <a:gd name="connsiteY172" fmla="*/ 4066 h 10000"/>
                <a:gd name="connsiteX173" fmla="*/ 9247 w 10000"/>
                <a:gd name="connsiteY173" fmla="*/ 4096 h 10000"/>
                <a:gd name="connsiteX174" fmla="*/ 9228 w 10000"/>
                <a:gd name="connsiteY174" fmla="*/ 4114 h 10000"/>
                <a:gd name="connsiteX175" fmla="*/ 9184 w 10000"/>
                <a:gd name="connsiteY175" fmla="*/ 4120 h 10000"/>
                <a:gd name="connsiteX176" fmla="*/ 9141 w 10000"/>
                <a:gd name="connsiteY176" fmla="*/ 4126 h 10000"/>
                <a:gd name="connsiteX177" fmla="*/ 9090 w 10000"/>
                <a:gd name="connsiteY177" fmla="*/ 4132 h 10000"/>
                <a:gd name="connsiteX178" fmla="*/ 9040 w 10000"/>
                <a:gd name="connsiteY178" fmla="*/ 4138 h 10000"/>
                <a:gd name="connsiteX179" fmla="*/ 8996 w 10000"/>
                <a:gd name="connsiteY179" fmla="*/ 4157 h 10000"/>
                <a:gd name="connsiteX180" fmla="*/ 8977 w 10000"/>
                <a:gd name="connsiteY180" fmla="*/ 4163 h 10000"/>
                <a:gd name="connsiteX181" fmla="*/ 8965 w 10000"/>
                <a:gd name="connsiteY181" fmla="*/ 4181 h 10000"/>
                <a:gd name="connsiteX182" fmla="*/ 8959 w 10000"/>
                <a:gd name="connsiteY182" fmla="*/ 4193 h 10000"/>
                <a:gd name="connsiteX183" fmla="*/ 8959 w 10000"/>
                <a:gd name="connsiteY183" fmla="*/ 4211 h 10000"/>
                <a:gd name="connsiteX184" fmla="*/ 8952 w 10000"/>
                <a:gd name="connsiteY184" fmla="*/ 4282 h 10000"/>
                <a:gd name="connsiteX185" fmla="*/ 8952 w 10000"/>
                <a:gd name="connsiteY185" fmla="*/ 4367 h 10000"/>
                <a:gd name="connsiteX186" fmla="*/ 8940 w 10000"/>
                <a:gd name="connsiteY186" fmla="*/ 4457 h 10000"/>
                <a:gd name="connsiteX187" fmla="*/ 8927 w 10000"/>
                <a:gd name="connsiteY187" fmla="*/ 4541 h 10000"/>
                <a:gd name="connsiteX188" fmla="*/ 8908 w 10000"/>
                <a:gd name="connsiteY188" fmla="*/ 4627 h 10000"/>
                <a:gd name="connsiteX189" fmla="*/ 8890 w 10000"/>
                <a:gd name="connsiteY189" fmla="*/ 4705 h 10000"/>
                <a:gd name="connsiteX190" fmla="*/ 8864 w 10000"/>
                <a:gd name="connsiteY190" fmla="*/ 4776 h 10000"/>
                <a:gd name="connsiteX191" fmla="*/ 8833 w 10000"/>
                <a:gd name="connsiteY191" fmla="*/ 4843 h 10000"/>
                <a:gd name="connsiteX192" fmla="*/ 8538 w 10000"/>
                <a:gd name="connsiteY192" fmla="*/ 4354 h 10000"/>
                <a:gd name="connsiteX193" fmla="*/ 8526 w 10000"/>
                <a:gd name="connsiteY193" fmla="*/ 4379 h 10000"/>
                <a:gd name="connsiteX194" fmla="*/ 8494 w 10000"/>
                <a:gd name="connsiteY194" fmla="*/ 4433 h 10000"/>
                <a:gd name="connsiteX195" fmla="*/ 8463 w 10000"/>
                <a:gd name="connsiteY195" fmla="*/ 4463 h 10000"/>
                <a:gd name="connsiteX196" fmla="*/ 8438 w 10000"/>
                <a:gd name="connsiteY196" fmla="*/ 4487 h 10000"/>
                <a:gd name="connsiteX197" fmla="*/ 8407 w 10000"/>
                <a:gd name="connsiteY197" fmla="*/ 4505 h 10000"/>
                <a:gd name="connsiteX198" fmla="*/ 8375 w 10000"/>
                <a:gd name="connsiteY198" fmla="*/ 4511 h 10000"/>
                <a:gd name="connsiteX199" fmla="*/ 8338 w 10000"/>
                <a:gd name="connsiteY199" fmla="*/ 4505 h 10000"/>
                <a:gd name="connsiteX200" fmla="*/ 8312 w 10000"/>
                <a:gd name="connsiteY200" fmla="*/ 4499 h 10000"/>
                <a:gd name="connsiteX201" fmla="*/ 8287 w 10000"/>
                <a:gd name="connsiteY201" fmla="*/ 4481 h 10000"/>
                <a:gd name="connsiteX202" fmla="*/ 8256 w 10000"/>
                <a:gd name="connsiteY202" fmla="*/ 4463 h 10000"/>
                <a:gd name="connsiteX203" fmla="*/ 8237 w 10000"/>
                <a:gd name="connsiteY203" fmla="*/ 4433 h 10000"/>
                <a:gd name="connsiteX204" fmla="*/ 8225 w 10000"/>
                <a:gd name="connsiteY204" fmla="*/ 4409 h 10000"/>
                <a:gd name="connsiteX205" fmla="*/ 8206 w 10000"/>
                <a:gd name="connsiteY205" fmla="*/ 4385 h 10000"/>
                <a:gd name="connsiteX206" fmla="*/ 8206 w 10000"/>
                <a:gd name="connsiteY206" fmla="*/ 4354 h 10000"/>
                <a:gd name="connsiteX207" fmla="*/ 8206 w 10000"/>
                <a:gd name="connsiteY207" fmla="*/ 4318 h 10000"/>
                <a:gd name="connsiteX208" fmla="*/ 8225 w 10000"/>
                <a:gd name="connsiteY208" fmla="*/ 4282 h 10000"/>
                <a:gd name="connsiteX209" fmla="*/ 8237 w 10000"/>
                <a:gd name="connsiteY209" fmla="*/ 4246 h 10000"/>
                <a:gd name="connsiteX210" fmla="*/ 8250 w 10000"/>
                <a:gd name="connsiteY210" fmla="*/ 4211 h 10000"/>
                <a:gd name="connsiteX211" fmla="*/ 8300 w 10000"/>
                <a:gd name="connsiteY211" fmla="*/ 4144 h 10000"/>
                <a:gd name="connsiteX212" fmla="*/ 8356 w 10000"/>
                <a:gd name="connsiteY212" fmla="*/ 4078 h 10000"/>
                <a:gd name="connsiteX213" fmla="*/ 8407 w 10000"/>
                <a:gd name="connsiteY213" fmla="*/ 4018 h 10000"/>
                <a:gd name="connsiteX214" fmla="*/ 8457 w 10000"/>
                <a:gd name="connsiteY214" fmla="*/ 3952 h 10000"/>
                <a:gd name="connsiteX215" fmla="*/ 8469 w 10000"/>
                <a:gd name="connsiteY215" fmla="*/ 3915 h 10000"/>
                <a:gd name="connsiteX216" fmla="*/ 8482 w 10000"/>
                <a:gd name="connsiteY216" fmla="*/ 3884 h 10000"/>
                <a:gd name="connsiteX217" fmla="*/ 8501 w 10000"/>
                <a:gd name="connsiteY217" fmla="*/ 3842 h 10000"/>
                <a:gd name="connsiteX218" fmla="*/ 8501 w 10000"/>
                <a:gd name="connsiteY218" fmla="*/ 3806 h 10000"/>
                <a:gd name="connsiteX219" fmla="*/ 7748 w 10000"/>
                <a:gd name="connsiteY219" fmla="*/ 3806 h 10000"/>
                <a:gd name="connsiteX220" fmla="*/ 7723 w 10000"/>
                <a:gd name="connsiteY220" fmla="*/ 3800 h 10000"/>
                <a:gd name="connsiteX221" fmla="*/ 7685 w 10000"/>
                <a:gd name="connsiteY221" fmla="*/ 3782 h 10000"/>
                <a:gd name="connsiteX222" fmla="*/ 7660 w 10000"/>
                <a:gd name="connsiteY222" fmla="*/ 3746 h 10000"/>
                <a:gd name="connsiteX223" fmla="*/ 7635 w 10000"/>
                <a:gd name="connsiteY223" fmla="*/ 3710 h 10000"/>
                <a:gd name="connsiteX224" fmla="*/ 7616 w 10000"/>
                <a:gd name="connsiteY224" fmla="*/ 3662 h 10000"/>
                <a:gd name="connsiteX225" fmla="*/ 7597 w 10000"/>
                <a:gd name="connsiteY225" fmla="*/ 3614 h 10000"/>
                <a:gd name="connsiteX226" fmla="*/ 7591 w 10000"/>
                <a:gd name="connsiteY226" fmla="*/ 3560 h 10000"/>
                <a:gd name="connsiteX227" fmla="*/ 7585 w 10000"/>
                <a:gd name="connsiteY227" fmla="*/ 3505 h 10000"/>
                <a:gd name="connsiteX228" fmla="*/ 7547 w 10000"/>
                <a:gd name="connsiteY228" fmla="*/ 3505 h 10000"/>
                <a:gd name="connsiteX229" fmla="*/ 7516 w 10000"/>
                <a:gd name="connsiteY229" fmla="*/ 3499 h 10000"/>
                <a:gd name="connsiteX230" fmla="*/ 7478 w 10000"/>
                <a:gd name="connsiteY230" fmla="*/ 3493 h 10000"/>
                <a:gd name="connsiteX231" fmla="*/ 7447 w 10000"/>
                <a:gd name="connsiteY231" fmla="*/ 3481 h 10000"/>
                <a:gd name="connsiteX232" fmla="*/ 7415 w 10000"/>
                <a:gd name="connsiteY232" fmla="*/ 3463 h 10000"/>
                <a:gd name="connsiteX233" fmla="*/ 7396 w 10000"/>
                <a:gd name="connsiteY233" fmla="*/ 3445 h 10000"/>
                <a:gd name="connsiteX234" fmla="*/ 7384 w 10000"/>
                <a:gd name="connsiteY234" fmla="*/ 3415 h 10000"/>
                <a:gd name="connsiteX235" fmla="*/ 7378 w 10000"/>
                <a:gd name="connsiteY235" fmla="*/ 3391 h 10000"/>
                <a:gd name="connsiteX236" fmla="*/ 7321 w 10000"/>
                <a:gd name="connsiteY236" fmla="*/ 3391 h 10000"/>
                <a:gd name="connsiteX237" fmla="*/ 7271 w 10000"/>
                <a:gd name="connsiteY237" fmla="*/ 3391 h 10000"/>
                <a:gd name="connsiteX238" fmla="*/ 7221 w 10000"/>
                <a:gd name="connsiteY238" fmla="*/ 3391 h 10000"/>
                <a:gd name="connsiteX239" fmla="*/ 7171 w 10000"/>
                <a:gd name="connsiteY239" fmla="*/ 3391 h 10000"/>
                <a:gd name="connsiteX240" fmla="*/ 7127 w 10000"/>
                <a:gd name="connsiteY240" fmla="*/ 3397 h 10000"/>
                <a:gd name="connsiteX241" fmla="*/ 7095 w 10000"/>
                <a:gd name="connsiteY241" fmla="*/ 3403 h 10000"/>
                <a:gd name="connsiteX242" fmla="*/ 7051 w 10000"/>
                <a:gd name="connsiteY242" fmla="*/ 3421 h 10000"/>
                <a:gd name="connsiteX243" fmla="*/ 7008 w 10000"/>
                <a:gd name="connsiteY243" fmla="*/ 3445 h 10000"/>
                <a:gd name="connsiteX244" fmla="*/ 6976 w 10000"/>
                <a:gd name="connsiteY244" fmla="*/ 3475 h 10000"/>
                <a:gd name="connsiteX245" fmla="*/ 6939 w 10000"/>
                <a:gd name="connsiteY245" fmla="*/ 3505 h 10000"/>
                <a:gd name="connsiteX246" fmla="*/ 6920 w 10000"/>
                <a:gd name="connsiteY246" fmla="*/ 3542 h 10000"/>
                <a:gd name="connsiteX247" fmla="*/ 6913 w 10000"/>
                <a:gd name="connsiteY247" fmla="*/ 3578 h 10000"/>
                <a:gd name="connsiteX248" fmla="*/ 6926 w 10000"/>
                <a:gd name="connsiteY248" fmla="*/ 3602 h 10000"/>
                <a:gd name="connsiteX249" fmla="*/ 6964 w 10000"/>
                <a:gd name="connsiteY249" fmla="*/ 3632 h 10000"/>
                <a:gd name="connsiteX250" fmla="*/ 7008 w 10000"/>
                <a:gd name="connsiteY250" fmla="*/ 3668 h 10000"/>
                <a:gd name="connsiteX251" fmla="*/ 7070 w 10000"/>
                <a:gd name="connsiteY251" fmla="*/ 3704 h 10000"/>
                <a:gd name="connsiteX252" fmla="*/ 7133 w 10000"/>
                <a:gd name="connsiteY252" fmla="*/ 3740 h 10000"/>
                <a:gd name="connsiteX253" fmla="*/ 7196 w 10000"/>
                <a:gd name="connsiteY253" fmla="*/ 3770 h 10000"/>
                <a:gd name="connsiteX254" fmla="*/ 7252 w 10000"/>
                <a:gd name="connsiteY254" fmla="*/ 3794 h 10000"/>
                <a:gd name="connsiteX255" fmla="*/ 7290 w 10000"/>
                <a:gd name="connsiteY255" fmla="*/ 3806 h 10000"/>
                <a:gd name="connsiteX256" fmla="*/ 7208 w 10000"/>
                <a:gd name="connsiteY256" fmla="*/ 3866 h 10000"/>
                <a:gd name="connsiteX257" fmla="*/ 7114 w 10000"/>
                <a:gd name="connsiteY257" fmla="*/ 3940 h 10000"/>
                <a:gd name="connsiteX258" fmla="*/ 7070 w 10000"/>
                <a:gd name="connsiteY258" fmla="*/ 3976 h 10000"/>
                <a:gd name="connsiteX259" fmla="*/ 7033 w 10000"/>
                <a:gd name="connsiteY259" fmla="*/ 4018 h 10000"/>
                <a:gd name="connsiteX260" fmla="*/ 7020 w 10000"/>
                <a:gd name="connsiteY260" fmla="*/ 4036 h 10000"/>
                <a:gd name="connsiteX261" fmla="*/ 7008 w 10000"/>
                <a:gd name="connsiteY261" fmla="*/ 4054 h 10000"/>
                <a:gd name="connsiteX262" fmla="*/ 7001 w 10000"/>
                <a:gd name="connsiteY262" fmla="*/ 4078 h 10000"/>
                <a:gd name="connsiteX263" fmla="*/ 6995 w 10000"/>
                <a:gd name="connsiteY263" fmla="*/ 4096 h 10000"/>
                <a:gd name="connsiteX264" fmla="*/ 7001 w 10000"/>
                <a:gd name="connsiteY264" fmla="*/ 4126 h 10000"/>
                <a:gd name="connsiteX265" fmla="*/ 7008 w 10000"/>
                <a:gd name="connsiteY265" fmla="*/ 4144 h 10000"/>
                <a:gd name="connsiteX266" fmla="*/ 7026 w 10000"/>
                <a:gd name="connsiteY266" fmla="*/ 4169 h 10000"/>
                <a:gd name="connsiteX267" fmla="*/ 7039 w 10000"/>
                <a:gd name="connsiteY267" fmla="*/ 4193 h 10000"/>
                <a:gd name="connsiteX268" fmla="*/ 7089 w 10000"/>
                <a:gd name="connsiteY268" fmla="*/ 4240 h 10000"/>
                <a:gd name="connsiteX269" fmla="*/ 7146 w 10000"/>
                <a:gd name="connsiteY269" fmla="*/ 4288 h 10000"/>
                <a:gd name="connsiteX270" fmla="*/ 7208 w 10000"/>
                <a:gd name="connsiteY270" fmla="*/ 4330 h 10000"/>
                <a:gd name="connsiteX271" fmla="*/ 7277 w 10000"/>
                <a:gd name="connsiteY271" fmla="*/ 4367 h 10000"/>
                <a:gd name="connsiteX272" fmla="*/ 7315 w 10000"/>
                <a:gd name="connsiteY272" fmla="*/ 4379 h 10000"/>
                <a:gd name="connsiteX273" fmla="*/ 7346 w 10000"/>
                <a:gd name="connsiteY273" fmla="*/ 4385 h 10000"/>
                <a:gd name="connsiteX274" fmla="*/ 7384 w 10000"/>
                <a:gd name="connsiteY274" fmla="*/ 4391 h 10000"/>
                <a:gd name="connsiteX275" fmla="*/ 7415 w 10000"/>
                <a:gd name="connsiteY275" fmla="*/ 4397 h 10000"/>
                <a:gd name="connsiteX276" fmla="*/ 7585 w 10000"/>
                <a:gd name="connsiteY276" fmla="*/ 5024 h 10000"/>
                <a:gd name="connsiteX277" fmla="*/ 7491 w 10000"/>
                <a:gd name="connsiteY277" fmla="*/ 5024 h 10000"/>
                <a:gd name="connsiteX278" fmla="*/ 7403 w 10000"/>
                <a:gd name="connsiteY278" fmla="*/ 5024 h 10000"/>
                <a:gd name="connsiteX279" fmla="*/ 7321 w 10000"/>
                <a:gd name="connsiteY279" fmla="*/ 5024 h 10000"/>
                <a:gd name="connsiteX280" fmla="*/ 7252 w 10000"/>
                <a:gd name="connsiteY280" fmla="*/ 5024 h 10000"/>
                <a:gd name="connsiteX281" fmla="*/ 7208 w 10000"/>
                <a:gd name="connsiteY281" fmla="*/ 5018 h 10000"/>
                <a:gd name="connsiteX282" fmla="*/ 7164 w 10000"/>
                <a:gd name="connsiteY282" fmla="*/ 4987 h 10000"/>
                <a:gd name="connsiteX283" fmla="*/ 7133 w 10000"/>
                <a:gd name="connsiteY283" fmla="*/ 4975 h 10000"/>
                <a:gd name="connsiteX284" fmla="*/ 7102 w 10000"/>
                <a:gd name="connsiteY284" fmla="*/ 4963 h 10000"/>
                <a:gd name="connsiteX285" fmla="*/ 7070 w 10000"/>
                <a:gd name="connsiteY285" fmla="*/ 4957 h 10000"/>
                <a:gd name="connsiteX286" fmla="*/ 7039 w 10000"/>
                <a:gd name="connsiteY286" fmla="*/ 4951 h 10000"/>
                <a:gd name="connsiteX287" fmla="*/ 7008 w 10000"/>
                <a:gd name="connsiteY287" fmla="*/ 4963 h 10000"/>
                <a:gd name="connsiteX288" fmla="*/ 6957 w 10000"/>
                <a:gd name="connsiteY288" fmla="*/ 4993 h 10000"/>
                <a:gd name="connsiteX289" fmla="*/ 6895 w 10000"/>
                <a:gd name="connsiteY289" fmla="*/ 5036 h 10000"/>
                <a:gd name="connsiteX290" fmla="*/ 6819 w 10000"/>
                <a:gd name="connsiteY290" fmla="*/ 5084 h 10000"/>
                <a:gd name="connsiteX291" fmla="*/ 6744 w 10000"/>
                <a:gd name="connsiteY291" fmla="*/ 5144 h 10000"/>
                <a:gd name="connsiteX292" fmla="*/ 6681 w 10000"/>
                <a:gd name="connsiteY292" fmla="*/ 5192 h 10000"/>
                <a:gd name="connsiteX293" fmla="*/ 6637 w 10000"/>
                <a:gd name="connsiteY293" fmla="*/ 5228 h 10000"/>
                <a:gd name="connsiteX294" fmla="*/ 6625 w 10000"/>
                <a:gd name="connsiteY294" fmla="*/ 5252 h 10000"/>
                <a:gd name="connsiteX295" fmla="*/ 6750 w 10000"/>
                <a:gd name="connsiteY295" fmla="*/ 5324 h 10000"/>
                <a:gd name="connsiteX296" fmla="*/ 6744 w 10000"/>
                <a:gd name="connsiteY296" fmla="*/ 5361 h 10000"/>
                <a:gd name="connsiteX297" fmla="*/ 6725 w 10000"/>
                <a:gd name="connsiteY297" fmla="*/ 5403 h 10000"/>
                <a:gd name="connsiteX298" fmla="*/ 6706 w 10000"/>
                <a:gd name="connsiteY298" fmla="*/ 5434 h 10000"/>
                <a:gd name="connsiteX299" fmla="*/ 6688 w 10000"/>
                <a:gd name="connsiteY299" fmla="*/ 5476 h 10000"/>
                <a:gd name="connsiteX300" fmla="*/ 6637 w 10000"/>
                <a:gd name="connsiteY300" fmla="*/ 5530 h 10000"/>
                <a:gd name="connsiteX301" fmla="*/ 6581 w 10000"/>
                <a:gd name="connsiteY301" fmla="*/ 5584 h 10000"/>
                <a:gd name="connsiteX302" fmla="*/ 6518 w 10000"/>
                <a:gd name="connsiteY302" fmla="*/ 5632 h 10000"/>
                <a:gd name="connsiteX303" fmla="*/ 6443 w 10000"/>
                <a:gd name="connsiteY303" fmla="*/ 5675 h 10000"/>
                <a:gd name="connsiteX304" fmla="*/ 6374 w 10000"/>
                <a:gd name="connsiteY304" fmla="*/ 5711 h 10000"/>
                <a:gd name="connsiteX305" fmla="*/ 6299 w 10000"/>
                <a:gd name="connsiteY305" fmla="*/ 5746 h 10000"/>
                <a:gd name="connsiteX306" fmla="*/ 6223 w 10000"/>
                <a:gd name="connsiteY306" fmla="*/ 5794 h 10000"/>
                <a:gd name="connsiteX307" fmla="*/ 6154 w 10000"/>
                <a:gd name="connsiteY307" fmla="*/ 5830 h 10000"/>
                <a:gd name="connsiteX308" fmla="*/ 6092 w 10000"/>
                <a:gd name="connsiteY308" fmla="*/ 5873 h 10000"/>
                <a:gd name="connsiteX309" fmla="*/ 6035 w 10000"/>
                <a:gd name="connsiteY309" fmla="*/ 5921 h 10000"/>
                <a:gd name="connsiteX310" fmla="*/ 6004 w 10000"/>
                <a:gd name="connsiteY310" fmla="*/ 5945 h 10000"/>
                <a:gd name="connsiteX311" fmla="*/ 5985 w 10000"/>
                <a:gd name="connsiteY311" fmla="*/ 5969 h 10000"/>
                <a:gd name="connsiteX312" fmla="*/ 5966 w 10000"/>
                <a:gd name="connsiteY312" fmla="*/ 5999 h 10000"/>
                <a:gd name="connsiteX313" fmla="*/ 5947 w 10000"/>
                <a:gd name="connsiteY313" fmla="*/ 6029 h 10000"/>
                <a:gd name="connsiteX314" fmla="*/ 5935 w 10000"/>
                <a:gd name="connsiteY314" fmla="*/ 6067 h 10000"/>
                <a:gd name="connsiteX315" fmla="*/ 5922 w 10000"/>
                <a:gd name="connsiteY315" fmla="*/ 6097 h 10000"/>
                <a:gd name="connsiteX316" fmla="*/ 5916 w 10000"/>
                <a:gd name="connsiteY316" fmla="*/ 6139 h 10000"/>
                <a:gd name="connsiteX317" fmla="*/ 5916 w 10000"/>
                <a:gd name="connsiteY317" fmla="*/ 6181 h 10000"/>
                <a:gd name="connsiteX318" fmla="*/ 5859 w 10000"/>
                <a:gd name="connsiteY318" fmla="*/ 6199 h 10000"/>
                <a:gd name="connsiteX319" fmla="*/ 5809 w 10000"/>
                <a:gd name="connsiteY319" fmla="*/ 6217 h 10000"/>
                <a:gd name="connsiteX320" fmla="*/ 5765 w 10000"/>
                <a:gd name="connsiteY320" fmla="*/ 6240 h 10000"/>
                <a:gd name="connsiteX321" fmla="*/ 5721 w 10000"/>
                <a:gd name="connsiteY321" fmla="*/ 6264 h 10000"/>
                <a:gd name="connsiteX322" fmla="*/ 5634 w 10000"/>
                <a:gd name="connsiteY322" fmla="*/ 6325 h 10000"/>
                <a:gd name="connsiteX323" fmla="*/ 5558 w 10000"/>
                <a:gd name="connsiteY323" fmla="*/ 6397 h 10000"/>
                <a:gd name="connsiteX324" fmla="*/ 5420 w 10000"/>
                <a:gd name="connsiteY324" fmla="*/ 6560 h 10000"/>
                <a:gd name="connsiteX325" fmla="*/ 5289 w 10000"/>
                <a:gd name="connsiteY325" fmla="*/ 6734 h 10000"/>
                <a:gd name="connsiteX326" fmla="*/ 5220 w 10000"/>
                <a:gd name="connsiteY326" fmla="*/ 6825 h 10000"/>
                <a:gd name="connsiteX327" fmla="*/ 5151 w 10000"/>
                <a:gd name="connsiteY327" fmla="*/ 6903 h 10000"/>
                <a:gd name="connsiteX328" fmla="*/ 5075 w 10000"/>
                <a:gd name="connsiteY328" fmla="*/ 6976 h 10000"/>
                <a:gd name="connsiteX329" fmla="*/ 4994 w 10000"/>
                <a:gd name="connsiteY329" fmla="*/ 7042 h 10000"/>
                <a:gd name="connsiteX330" fmla="*/ 4944 w 10000"/>
                <a:gd name="connsiteY330" fmla="*/ 7072 h 10000"/>
                <a:gd name="connsiteX331" fmla="*/ 4893 w 10000"/>
                <a:gd name="connsiteY331" fmla="*/ 7096 h 10000"/>
                <a:gd name="connsiteX332" fmla="*/ 4849 w 10000"/>
                <a:gd name="connsiteY332" fmla="*/ 7120 h 10000"/>
                <a:gd name="connsiteX333" fmla="*/ 4793 w 10000"/>
                <a:gd name="connsiteY333" fmla="*/ 7145 h 10000"/>
                <a:gd name="connsiteX334" fmla="*/ 4730 w 10000"/>
                <a:gd name="connsiteY334" fmla="*/ 7163 h 10000"/>
                <a:gd name="connsiteX335" fmla="*/ 4674 w 10000"/>
                <a:gd name="connsiteY335" fmla="*/ 7175 h 10000"/>
                <a:gd name="connsiteX336" fmla="*/ 4605 w 10000"/>
                <a:gd name="connsiteY336" fmla="*/ 7181 h 10000"/>
                <a:gd name="connsiteX337" fmla="*/ 4536 w 10000"/>
                <a:gd name="connsiteY337" fmla="*/ 7181 h 10000"/>
                <a:gd name="connsiteX338" fmla="*/ 4536 w 10000"/>
                <a:gd name="connsiteY338" fmla="*/ 7234 h 10000"/>
                <a:gd name="connsiteX339" fmla="*/ 4536 w 10000"/>
                <a:gd name="connsiteY339" fmla="*/ 7288 h 10000"/>
                <a:gd name="connsiteX340" fmla="*/ 4536 w 10000"/>
                <a:gd name="connsiteY340" fmla="*/ 7330 h 10000"/>
                <a:gd name="connsiteX341" fmla="*/ 4536 w 10000"/>
                <a:gd name="connsiteY341" fmla="*/ 7367 h 10000"/>
                <a:gd name="connsiteX342" fmla="*/ 4536 w 10000"/>
                <a:gd name="connsiteY342" fmla="*/ 7433 h 10000"/>
                <a:gd name="connsiteX343" fmla="*/ 4536 w 10000"/>
                <a:gd name="connsiteY343" fmla="*/ 7536 h 10000"/>
                <a:gd name="connsiteX344" fmla="*/ 4536 w 10000"/>
                <a:gd name="connsiteY344" fmla="*/ 7645 h 10000"/>
                <a:gd name="connsiteX345" fmla="*/ 4548 w 10000"/>
                <a:gd name="connsiteY345" fmla="*/ 7758 h 10000"/>
                <a:gd name="connsiteX346" fmla="*/ 4561 w 10000"/>
                <a:gd name="connsiteY346" fmla="*/ 7819 h 10000"/>
                <a:gd name="connsiteX347" fmla="*/ 4573 w 10000"/>
                <a:gd name="connsiteY347" fmla="*/ 7873 h 10000"/>
                <a:gd name="connsiteX348" fmla="*/ 4586 w 10000"/>
                <a:gd name="connsiteY348" fmla="*/ 7921 h 10000"/>
                <a:gd name="connsiteX349" fmla="*/ 4611 w 10000"/>
                <a:gd name="connsiteY349" fmla="*/ 7963 h 10000"/>
                <a:gd name="connsiteX350" fmla="*/ 4636 w 10000"/>
                <a:gd name="connsiteY350" fmla="*/ 8006 h 10000"/>
                <a:gd name="connsiteX351" fmla="*/ 4668 w 10000"/>
                <a:gd name="connsiteY351" fmla="*/ 8036 h 10000"/>
                <a:gd name="connsiteX352" fmla="*/ 4705 w 10000"/>
                <a:gd name="connsiteY352" fmla="*/ 8060 h 10000"/>
                <a:gd name="connsiteX353" fmla="*/ 4749 w 10000"/>
                <a:gd name="connsiteY353" fmla="*/ 8072 h 10000"/>
                <a:gd name="connsiteX354" fmla="*/ 4711 w 10000"/>
                <a:gd name="connsiteY354" fmla="*/ 8168 h 10000"/>
                <a:gd name="connsiteX355" fmla="*/ 4668 w 10000"/>
                <a:gd name="connsiteY355" fmla="*/ 8253 h 10000"/>
                <a:gd name="connsiteX356" fmla="*/ 4617 w 10000"/>
                <a:gd name="connsiteY356" fmla="*/ 8331 h 10000"/>
                <a:gd name="connsiteX357" fmla="*/ 4573 w 10000"/>
                <a:gd name="connsiteY357" fmla="*/ 8403 h 10000"/>
                <a:gd name="connsiteX358" fmla="*/ 4523 w 10000"/>
                <a:gd name="connsiteY358" fmla="*/ 8488 h 10000"/>
                <a:gd name="connsiteX359" fmla="*/ 4492 w 10000"/>
                <a:gd name="connsiteY359" fmla="*/ 8566 h 10000"/>
                <a:gd name="connsiteX360" fmla="*/ 4473 w 10000"/>
                <a:gd name="connsiteY360" fmla="*/ 8602 h 10000"/>
                <a:gd name="connsiteX361" fmla="*/ 4467 w 10000"/>
                <a:gd name="connsiteY361" fmla="*/ 8645 h 10000"/>
                <a:gd name="connsiteX362" fmla="*/ 4460 w 10000"/>
                <a:gd name="connsiteY362" fmla="*/ 8693 h 10000"/>
                <a:gd name="connsiteX363" fmla="*/ 4454 w 10000"/>
                <a:gd name="connsiteY363" fmla="*/ 8735 h 10000"/>
                <a:gd name="connsiteX364" fmla="*/ 4460 w 10000"/>
                <a:gd name="connsiteY364" fmla="*/ 8752 h 10000"/>
                <a:gd name="connsiteX365" fmla="*/ 4467 w 10000"/>
                <a:gd name="connsiteY365" fmla="*/ 8764 h 10000"/>
                <a:gd name="connsiteX366" fmla="*/ 4479 w 10000"/>
                <a:gd name="connsiteY366" fmla="*/ 8776 h 10000"/>
                <a:gd name="connsiteX367" fmla="*/ 4504 w 10000"/>
                <a:gd name="connsiteY367" fmla="*/ 8788 h 10000"/>
                <a:gd name="connsiteX368" fmla="*/ 4542 w 10000"/>
                <a:gd name="connsiteY368" fmla="*/ 8812 h 10000"/>
                <a:gd name="connsiteX369" fmla="*/ 4580 w 10000"/>
                <a:gd name="connsiteY369" fmla="*/ 8818 h 10000"/>
                <a:gd name="connsiteX370" fmla="*/ 4580 w 10000"/>
                <a:gd name="connsiteY370" fmla="*/ 9036 h 10000"/>
                <a:gd name="connsiteX371" fmla="*/ 4529 w 10000"/>
                <a:gd name="connsiteY371" fmla="*/ 9121 h 10000"/>
                <a:gd name="connsiteX372" fmla="*/ 4492 w 10000"/>
                <a:gd name="connsiteY372" fmla="*/ 9211 h 10000"/>
                <a:gd name="connsiteX373" fmla="*/ 4460 w 10000"/>
                <a:gd name="connsiteY373" fmla="*/ 9246 h 10000"/>
                <a:gd name="connsiteX374" fmla="*/ 4429 w 10000"/>
                <a:gd name="connsiteY374" fmla="*/ 9271 h 10000"/>
                <a:gd name="connsiteX375" fmla="*/ 4404 w 10000"/>
                <a:gd name="connsiteY375" fmla="*/ 9283 h 10000"/>
                <a:gd name="connsiteX376" fmla="*/ 4385 w 10000"/>
                <a:gd name="connsiteY376" fmla="*/ 9289 h 10000"/>
                <a:gd name="connsiteX377" fmla="*/ 4360 w 10000"/>
                <a:gd name="connsiteY377" fmla="*/ 9295 h 10000"/>
                <a:gd name="connsiteX378" fmla="*/ 4329 w 10000"/>
                <a:gd name="connsiteY378" fmla="*/ 9295 h 10000"/>
                <a:gd name="connsiteX379" fmla="*/ 4329 w 10000"/>
                <a:gd name="connsiteY379" fmla="*/ 9343 h 10000"/>
                <a:gd name="connsiteX380" fmla="*/ 4335 w 10000"/>
                <a:gd name="connsiteY380" fmla="*/ 9403 h 10000"/>
                <a:gd name="connsiteX381" fmla="*/ 4348 w 10000"/>
                <a:gd name="connsiteY381" fmla="*/ 9433 h 10000"/>
                <a:gd name="connsiteX382" fmla="*/ 4354 w 10000"/>
                <a:gd name="connsiteY382" fmla="*/ 9457 h 10000"/>
                <a:gd name="connsiteX383" fmla="*/ 4360 w 10000"/>
                <a:gd name="connsiteY383" fmla="*/ 9476 h 10000"/>
                <a:gd name="connsiteX384" fmla="*/ 4373 w 10000"/>
                <a:gd name="connsiteY384" fmla="*/ 9482 h 10000"/>
                <a:gd name="connsiteX385" fmla="*/ 4210 w 10000"/>
                <a:gd name="connsiteY385" fmla="*/ 9608 h 10000"/>
                <a:gd name="connsiteX386" fmla="*/ 4072 w 10000"/>
                <a:gd name="connsiteY386" fmla="*/ 9712 h 10000"/>
                <a:gd name="connsiteX387" fmla="*/ 4009 w 10000"/>
                <a:gd name="connsiteY387" fmla="*/ 9771 h 10000"/>
                <a:gd name="connsiteX388" fmla="*/ 3952 w 10000"/>
                <a:gd name="connsiteY388" fmla="*/ 9837 h 10000"/>
                <a:gd name="connsiteX389" fmla="*/ 3890 w 10000"/>
                <a:gd name="connsiteY389" fmla="*/ 9916 h 10000"/>
                <a:gd name="connsiteX390" fmla="*/ 3833 w 10000"/>
                <a:gd name="connsiteY390" fmla="*/ 10000 h 10000"/>
                <a:gd name="connsiteX391" fmla="*/ 3733 w 10000"/>
                <a:gd name="connsiteY391" fmla="*/ 9958 h 10000"/>
                <a:gd name="connsiteX392" fmla="*/ 3664 w 10000"/>
                <a:gd name="connsiteY392" fmla="*/ 9916 h 10000"/>
                <a:gd name="connsiteX393" fmla="*/ 3607 w 10000"/>
                <a:gd name="connsiteY393" fmla="*/ 9873 h 10000"/>
                <a:gd name="connsiteX394" fmla="*/ 3563 w 10000"/>
                <a:gd name="connsiteY394" fmla="*/ 9825 h 10000"/>
                <a:gd name="connsiteX395" fmla="*/ 3532 w 10000"/>
                <a:gd name="connsiteY395" fmla="*/ 9765 h 10000"/>
                <a:gd name="connsiteX396" fmla="*/ 3513 w 10000"/>
                <a:gd name="connsiteY396" fmla="*/ 9706 h 10000"/>
                <a:gd name="connsiteX397" fmla="*/ 3482 w 10000"/>
                <a:gd name="connsiteY397" fmla="*/ 9632 h 10000"/>
                <a:gd name="connsiteX398" fmla="*/ 3457 w 10000"/>
                <a:gd name="connsiteY398" fmla="*/ 9560 h 10000"/>
                <a:gd name="connsiteX399" fmla="*/ 3400 w 10000"/>
                <a:gd name="connsiteY399" fmla="*/ 9421 h 10000"/>
                <a:gd name="connsiteX400" fmla="*/ 3325 w 10000"/>
                <a:gd name="connsiteY400" fmla="*/ 9289 h 10000"/>
                <a:gd name="connsiteX401" fmla="*/ 3237 w 10000"/>
                <a:gd name="connsiteY401" fmla="*/ 9151 h 10000"/>
                <a:gd name="connsiteX402" fmla="*/ 3143 w 10000"/>
                <a:gd name="connsiteY402" fmla="*/ 9006 h 10000"/>
                <a:gd name="connsiteX403" fmla="*/ 3049 w 10000"/>
                <a:gd name="connsiteY403" fmla="*/ 8873 h 10000"/>
                <a:gd name="connsiteX404" fmla="*/ 2967 w 10000"/>
                <a:gd name="connsiteY404" fmla="*/ 8741 h 10000"/>
                <a:gd name="connsiteX405" fmla="*/ 2892 w 10000"/>
                <a:gd name="connsiteY405" fmla="*/ 8621 h 10000"/>
                <a:gd name="connsiteX406" fmla="*/ 2829 w 10000"/>
                <a:gd name="connsiteY406" fmla="*/ 8518 h 10000"/>
                <a:gd name="connsiteX407" fmla="*/ 2773 w 10000"/>
                <a:gd name="connsiteY407" fmla="*/ 8403 h 10000"/>
                <a:gd name="connsiteX408" fmla="*/ 2735 w 10000"/>
                <a:gd name="connsiteY408" fmla="*/ 8301 h 10000"/>
                <a:gd name="connsiteX409" fmla="*/ 2698 w 10000"/>
                <a:gd name="connsiteY409" fmla="*/ 8193 h 10000"/>
                <a:gd name="connsiteX410" fmla="*/ 2666 w 10000"/>
                <a:gd name="connsiteY410" fmla="*/ 8084 h 10000"/>
                <a:gd name="connsiteX411" fmla="*/ 2629 w 10000"/>
                <a:gd name="connsiteY411" fmla="*/ 7975 h 10000"/>
                <a:gd name="connsiteX412" fmla="*/ 2597 w 10000"/>
                <a:gd name="connsiteY412" fmla="*/ 7867 h 10000"/>
                <a:gd name="connsiteX413" fmla="*/ 2553 w 10000"/>
                <a:gd name="connsiteY413" fmla="*/ 7746 h 10000"/>
                <a:gd name="connsiteX414" fmla="*/ 2497 w 10000"/>
                <a:gd name="connsiteY414" fmla="*/ 7627 h 10000"/>
                <a:gd name="connsiteX415" fmla="*/ 2359 w 10000"/>
                <a:gd name="connsiteY415" fmla="*/ 7433 h 10000"/>
                <a:gd name="connsiteX416" fmla="*/ 2208 w 10000"/>
                <a:gd name="connsiteY416" fmla="*/ 7252 h 10000"/>
                <a:gd name="connsiteX417" fmla="*/ 2139 w 10000"/>
                <a:gd name="connsiteY417" fmla="*/ 7169 h 10000"/>
                <a:gd name="connsiteX418" fmla="*/ 2070 w 10000"/>
                <a:gd name="connsiteY418" fmla="*/ 7072 h 10000"/>
                <a:gd name="connsiteX419" fmla="*/ 2008 w 10000"/>
                <a:gd name="connsiteY419" fmla="*/ 6982 h 10000"/>
                <a:gd name="connsiteX420" fmla="*/ 1957 w 10000"/>
                <a:gd name="connsiteY420" fmla="*/ 6885 h 10000"/>
                <a:gd name="connsiteX421" fmla="*/ 1888 w 10000"/>
                <a:gd name="connsiteY421" fmla="*/ 6650 h 10000"/>
                <a:gd name="connsiteX422" fmla="*/ 1832 w 10000"/>
                <a:gd name="connsiteY422" fmla="*/ 6433 h 10000"/>
                <a:gd name="connsiteX423" fmla="*/ 1782 w 10000"/>
                <a:gd name="connsiteY423" fmla="*/ 6223 h 10000"/>
                <a:gd name="connsiteX424" fmla="*/ 1757 w 10000"/>
                <a:gd name="connsiteY424" fmla="*/ 6011 h 10000"/>
                <a:gd name="connsiteX425" fmla="*/ 1725 w 10000"/>
                <a:gd name="connsiteY425" fmla="*/ 5806 h 10000"/>
                <a:gd name="connsiteX426" fmla="*/ 1713 w 10000"/>
                <a:gd name="connsiteY426" fmla="*/ 5590 h 10000"/>
                <a:gd name="connsiteX427" fmla="*/ 1706 w 10000"/>
                <a:gd name="connsiteY427" fmla="*/ 5367 h 10000"/>
                <a:gd name="connsiteX428" fmla="*/ 1706 w 10000"/>
                <a:gd name="connsiteY428" fmla="*/ 5144 h 10000"/>
                <a:gd name="connsiteX429" fmla="*/ 1681 w 10000"/>
                <a:gd name="connsiteY429" fmla="*/ 5138 h 10000"/>
                <a:gd name="connsiteX430" fmla="*/ 1650 w 10000"/>
                <a:gd name="connsiteY430" fmla="*/ 5132 h 10000"/>
                <a:gd name="connsiteX431" fmla="*/ 1625 w 10000"/>
                <a:gd name="connsiteY431" fmla="*/ 5126 h 10000"/>
                <a:gd name="connsiteX432" fmla="*/ 1606 w 10000"/>
                <a:gd name="connsiteY432" fmla="*/ 5102 h 10000"/>
                <a:gd name="connsiteX433" fmla="*/ 1581 w 10000"/>
                <a:gd name="connsiteY433" fmla="*/ 5090 h 10000"/>
                <a:gd name="connsiteX434" fmla="*/ 1568 w 10000"/>
                <a:gd name="connsiteY434" fmla="*/ 5072 h 10000"/>
                <a:gd name="connsiteX435" fmla="*/ 1550 w 10000"/>
                <a:gd name="connsiteY435" fmla="*/ 5048 h 10000"/>
                <a:gd name="connsiteX436" fmla="*/ 1543 w 10000"/>
                <a:gd name="connsiteY436" fmla="*/ 5024 h 10000"/>
                <a:gd name="connsiteX437" fmla="*/ 1518 w 10000"/>
                <a:gd name="connsiteY437" fmla="*/ 4975 h 10000"/>
                <a:gd name="connsiteX438" fmla="*/ 1506 w 10000"/>
                <a:gd name="connsiteY438" fmla="*/ 4921 h 10000"/>
                <a:gd name="connsiteX439" fmla="*/ 1499 w 10000"/>
                <a:gd name="connsiteY439" fmla="*/ 4861 h 10000"/>
                <a:gd name="connsiteX440" fmla="*/ 1499 w 10000"/>
                <a:gd name="connsiteY440" fmla="*/ 4807 h 10000"/>
                <a:gd name="connsiteX441" fmla="*/ 1443 w 10000"/>
                <a:gd name="connsiteY441" fmla="*/ 4843 h 10000"/>
                <a:gd name="connsiteX442" fmla="*/ 1405 w 10000"/>
                <a:gd name="connsiteY442" fmla="*/ 4885 h 10000"/>
                <a:gd name="connsiteX443" fmla="*/ 1361 w 10000"/>
                <a:gd name="connsiteY443" fmla="*/ 4927 h 10000"/>
                <a:gd name="connsiteX444" fmla="*/ 1317 w 10000"/>
                <a:gd name="connsiteY444" fmla="*/ 4975 h 10000"/>
                <a:gd name="connsiteX445" fmla="*/ 1261 w 10000"/>
                <a:gd name="connsiteY445" fmla="*/ 5072 h 10000"/>
                <a:gd name="connsiteX446" fmla="*/ 1205 w 10000"/>
                <a:gd name="connsiteY446" fmla="*/ 5174 h 10000"/>
                <a:gd name="connsiteX447" fmla="*/ 1167 w 10000"/>
                <a:gd name="connsiteY447" fmla="*/ 5217 h 10000"/>
                <a:gd name="connsiteX448" fmla="*/ 1142 w 10000"/>
                <a:gd name="connsiteY448" fmla="*/ 5258 h 10000"/>
                <a:gd name="connsiteX449" fmla="*/ 1104 w 10000"/>
                <a:gd name="connsiteY449" fmla="*/ 5300 h 10000"/>
                <a:gd name="connsiteX450" fmla="*/ 1073 w 10000"/>
                <a:gd name="connsiteY450" fmla="*/ 5330 h 10000"/>
                <a:gd name="connsiteX451" fmla="*/ 1029 w 10000"/>
                <a:gd name="connsiteY451" fmla="*/ 5361 h 10000"/>
                <a:gd name="connsiteX452" fmla="*/ 985 w 10000"/>
                <a:gd name="connsiteY452" fmla="*/ 5379 h 10000"/>
                <a:gd name="connsiteX453" fmla="*/ 928 w 10000"/>
                <a:gd name="connsiteY453" fmla="*/ 5391 h 10000"/>
                <a:gd name="connsiteX454" fmla="*/ 872 w 10000"/>
                <a:gd name="connsiteY454" fmla="*/ 5397 h 10000"/>
                <a:gd name="connsiteX455" fmla="*/ 841 w 10000"/>
                <a:gd name="connsiteY455" fmla="*/ 5391 h 10000"/>
                <a:gd name="connsiteX456" fmla="*/ 797 w 10000"/>
                <a:gd name="connsiteY456" fmla="*/ 5379 h 10000"/>
                <a:gd name="connsiteX457" fmla="*/ 753 w 10000"/>
                <a:gd name="connsiteY457" fmla="*/ 5361 h 10000"/>
                <a:gd name="connsiteX458" fmla="*/ 709 w 10000"/>
                <a:gd name="connsiteY458" fmla="*/ 5330 h 10000"/>
                <a:gd name="connsiteX459" fmla="*/ 659 w 10000"/>
                <a:gd name="connsiteY459" fmla="*/ 5294 h 10000"/>
                <a:gd name="connsiteX460" fmla="*/ 609 w 10000"/>
                <a:gd name="connsiteY460" fmla="*/ 5258 h 10000"/>
                <a:gd name="connsiteX461" fmla="*/ 565 w 10000"/>
                <a:gd name="connsiteY461" fmla="*/ 5217 h 10000"/>
                <a:gd name="connsiteX462" fmla="*/ 514 w 10000"/>
                <a:gd name="connsiteY462" fmla="*/ 5168 h 10000"/>
                <a:gd name="connsiteX463" fmla="*/ 471 w 10000"/>
                <a:gd name="connsiteY463" fmla="*/ 5120 h 10000"/>
                <a:gd name="connsiteX464" fmla="*/ 433 w 10000"/>
                <a:gd name="connsiteY464" fmla="*/ 5066 h 10000"/>
                <a:gd name="connsiteX465" fmla="*/ 389 w 10000"/>
                <a:gd name="connsiteY465" fmla="*/ 5012 h 10000"/>
                <a:gd name="connsiteX466" fmla="*/ 358 w 10000"/>
                <a:gd name="connsiteY466" fmla="*/ 4957 h 10000"/>
                <a:gd name="connsiteX467" fmla="*/ 326 w 10000"/>
                <a:gd name="connsiteY467" fmla="*/ 4909 h 10000"/>
                <a:gd name="connsiteX468" fmla="*/ 307 w 10000"/>
                <a:gd name="connsiteY468" fmla="*/ 4861 h 10000"/>
                <a:gd name="connsiteX469" fmla="*/ 295 w 10000"/>
                <a:gd name="connsiteY469" fmla="*/ 4813 h 10000"/>
                <a:gd name="connsiteX470" fmla="*/ 289 w 10000"/>
                <a:gd name="connsiteY470" fmla="*/ 4764 h 10000"/>
                <a:gd name="connsiteX471" fmla="*/ 320 w 10000"/>
                <a:gd name="connsiteY471" fmla="*/ 4746 h 10000"/>
                <a:gd name="connsiteX472" fmla="*/ 395 w 10000"/>
                <a:gd name="connsiteY472" fmla="*/ 4711 h 10000"/>
                <a:gd name="connsiteX473" fmla="*/ 483 w 10000"/>
                <a:gd name="connsiteY473" fmla="*/ 4675 h 10000"/>
                <a:gd name="connsiteX474" fmla="*/ 533 w 10000"/>
                <a:gd name="connsiteY474" fmla="*/ 4657 h 10000"/>
                <a:gd name="connsiteX475" fmla="*/ 483 w 10000"/>
                <a:gd name="connsiteY475" fmla="*/ 4657 h 10000"/>
                <a:gd name="connsiteX476" fmla="*/ 420 w 10000"/>
                <a:gd name="connsiteY476" fmla="*/ 4651 h 10000"/>
                <a:gd name="connsiteX477" fmla="*/ 370 w 10000"/>
                <a:gd name="connsiteY477" fmla="*/ 4639 h 10000"/>
                <a:gd name="connsiteX478" fmla="*/ 320 w 10000"/>
                <a:gd name="connsiteY478" fmla="*/ 4633 h 10000"/>
                <a:gd name="connsiteX479" fmla="*/ 276 w 10000"/>
                <a:gd name="connsiteY479" fmla="*/ 4614 h 10000"/>
                <a:gd name="connsiteX480" fmla="*/ 232 w 10000"/>
                <a:gd name="connsiteY480" fmla="*/ 4602 h 10000"/>
                <a:gd name="connsiteX481" fmla="*/ 188 w 10000"/>
                <a:gd name="connsiteY481" fmla="*/ 4584 h 10000"/>
                <a:gd name="connsiteX482" fmla="*/ 157 w 10000"/>
                <a:gd name="connsiteY482" fmla="*/ 4559 h 10000"/>
                <a:gd name="connsiteX483" fmla="*/ 132 w 10000"/>
                <a:gd name="connsiteY483" fmla="*/ 4535 h 10000"/>
                <a:gd name="connsiteX484" fmla="*/ 100 w 10000"/>
                <a:gd name="connsiteY484" fmla="*/ 4511 h 10000"/>
                <a:gd name="connsiteX485" fmla="*/ 75 w 10000"/>
                <a:gd name="connsiteY485" fmla="*/ 4481 h 10000"/>
                <a:gd name="connsiteX486" fmla="*/ 50 w 10000"/>
                <a:gd name="connsiteY486" fmla="*/ 4457 h 10000"/>
                <a:gd name="connsiteX487" fmla="*/ 19 w 10000"/>
                <a:gd name="connsiteY487" fmla="*/ 4385 h 10000"/>
                <a:gd name="connsiteX488" fmla="*/ 0 w 10000"/>
                <a:gd name="connsiteY488" fmla="*/ 4318 h 10000"/>
                <a:gd name="connsiteX489" fmla="*/ 63 w 10000"/>
                <a:gd name="connsiteY489" fmla="*/ 4270 h 10000"/>
                <a:gd name="connsiteX490" fmla="*/ 132 w 10000"/>
                <a:gd name="connsiteY490" fmla="*/ 4234 h 10000"/>
                <a:gd name="connsiteX491" fmla="*/ 201 w 10000"/>
                <a:gd name="connsiteY491" fmla="*/ 4205 h 10000"/>
                <a:gd name="connsiteX492" fmla="*/ 276 w 10000"/>
                <a:gd name="connsiteY492" fmla="*/ 4181 h 10000"/>
                <a:gd name="connsiteX493" fmla="*/ 420 w 10000"/>
                <a:gd name="connsiteY493" fmla="*/ 4151 h 10000"/>
                <a:gd name="connsiteX494" fmla="*/ 565 w 10000"/>
                <a:gd name="connsiteY494" fmla="*/ 4126 h 10000"/>
                <a:gd name="connsiteX495" fmla="*/ 640 w 10000"/>
                <a:gd name="connsiteY495" fmla="*/ 4114 h 10000"/>
                <a:gd name="connsiteX496" fmla="*/ 709 w 10000"/>
                <a:gd name="connsiteY496" fmla="*/ 4090 h 10000"/>
                <a:gd name="connsiteX497" fmla="*/ 772 w 10000"/>
                <a:gd name="connsiteY497" fmla="*/ 4072 h 10000"/>
                <a:gd name="connsiteX498" fmla="*/ 834 w 10000"/>
                <a:gd name="connsiteY498" fmla="*/ 4042 h 10000"/>
                <a:gd name="connsiteX499" fmla="*/ 891 w 10000"/>
                <a:gd name="connsiteY499" fmla="*/ 4012 h 10000"/>
                <a:gd name="connsiteX500" fmla="*/ 947 w 10000"/>
                <a:gd name="connsiteY500" fmla="*/ 3964 h 10000"/>
                <a:gd name="connsiteX501" fmla="*/ 997 w 10000"/>
                <a:gd name="connsiteY501" fmla="*/ 3909 h 10000"/>
                <a:gd name="connsiteX502" fmla="*/ 1035 w 10000"/>
                <a:gd name="connsiteY502" fmla="*/ 3842 h 10000"/>
                <a:gd name="connsiteX503" fmla="*/ 1010 w 10000"/>
                <a:gd name="connsiteY503" fmla="*/ 3830 h 10000"/>
                <a:gd name="connsiteX504" fmla="*/ 985 w 10000"/>
                <a:gd name="connsiteY504" fmla="*/ 3812 h 10000"/>
                <a:gd name="connsiteX505" fmla="*/ 947 w 10000"/>
                <a:gd name="connsiteY505" fmla="*/ 3788 h 10000"/>
                <a:gd name="connsiteX506" fmla="*/ 910 w 10000"/>
                <a:gd name="connsiteY506" fmla="*/ 3752 h 10000"/>
                <a:gd name="connsiteX507" fmla="*/ 822 w 10000"/>
                <a:gd name="connsiteY507" fmla="*/ 3680 h 10000"/>
                <a:gd name="connsiteX508" fmla="*/ 740 w 10000"/>
                <a:gd name="connsiteY508" fmla="*/ 3596 h 10000"/>
                <a:gd name="connsiteX509" fmla="*/ 665 w 10000"/>
                <a:gd name="connsiteY509" fmla="*/ 3505 h 10000"/>
                <a:gd name="connsiteX510" fmla="*/ 596 w 10000"/>
                <a:gd name="connsiteY510" fmla="*/ 3409 h 10000"/>
                <a:gd name="connsiteX511" fmla="*/ 577 w 10000"/>
                <a:gd name="connsiteY511" fmla="*/ 3367 h 10000"/>
                <a:gd name="connsiteX512" fmla="*/ 558 w 10000"/>
                <a:gd name="connsiteY512" fmla="*/ 3325 h 10000"/>
                <a:gd name="connsiteX513" fmla="*/ 540 w 10000"/>
                <a:gd name="connsiteY513" fmla="*/ 3282 h 10000"/>
                <a:gd name="connsiteX514" fmla="*/ 533 w 10000"/>
                <a:gd name="connsiteY514" fmla="*/ 3246 h 10000"/>
                <a:gd name="connsiteX515" fmla="*/ 508 w 10000"/>
                <a:gd name="connsiteY515" fmla="*/ 3240 h 10000"/>
                <a:gd name="connsiteX516" fmla="*/ 483 w 10000"/>
                <a:gd name="connsiteY516" fmla="*/ 3234 h 10000"/>
                <a:gd name="connsiteX517" fmla="*/ 458 w 10000"/>
                <a:gd name="connsiteY517" fmla="*/ 3222 h 10000"/>
                <a:gd name="connsiteX518" fmla="*/ 439 w 10000"/>
                <a:gd name="connsiteY518" fmla="*/ 3199 h 10000"/>
                <a:gd name="connsiteX519" fmla="*/ 402 w 10000"/>
                <a:gd name="connsiteY519" fmla="*/ 3156 h 10000"/>
                <a:gd name="connsiteX520" fmla="*/ 370 w 10000"/>
                <a:gd name="connsiteY520" fmla="*/ 3096 h 10000"/>
                <a:gd name="connsiteX521" fmla="*/ 370 w 10000"/>
                <a:gd name="connsiteY521" fmla="*/ 2951 h 10000"/>
                <a:gd name="connsiteX522" fmla="*/ 458 w 10000"/>
                <a:gd name="connsiteY522" fmla="*/ 2945 h 10000"/>
                <a:gd name="connsiteX523" fmla="*/ 540 w 10000"/>
                <a:gd name="connsiteY523" fmla="*/ 2939 h 10000"/>
                <a:gd name="connsiteX524" fmla="*/ 615 w 10000"/>
                <a:gd name="connsiteY524" fmla="*/ 2927 h 10000"/>
                <a:gd name="connsiteX525" fmla="*/ 684 w 10000"/>
                <a:gd name="connsiteY525" fmla="*/ 2903 h 10000"/>
                <a:gd name="connsiteX526" fmla="*/ 747 w 10000"/>
                <a:gd name="connsiteY526" fmla="*/ 2885 h 10000"/>
                <a:gd name="connsiteX527" fmla="*/ 809 w 10000"/>
                <a:gd name="connsiteY527" fmla="*/ 2854 h 10000"/>
                <a:gd name="connsiteX528" fmla="*/ 866 w 10000"/>
                <a:gd name="connsiteY528" fmla="*/ 2824 h 10000"/>
                <a:gd name="connsiteX529" fmla="*/ 922 w 10000"/>
                <a:gd name="connsiteY529" fmla="*/ 2788 h 10000"/>
                <a:gd name="connsiteX530" fmla="*/ 966 w 10000"/>
                <a:gd name="connsiteY530" fmla="*/ 2746 h 10000"/>
                <a:gd name="connsiteX531" fmla="*/ 1016 w 10000"/>
                <a:gd name="connsiteY531" fmla="*/ 2705 h 10000"/>
                <a:gd name="connsiteX532" fmla="*/ 1060 w 10000"/>
                <a:gd name="connsiteY532" fmla="*/ 2663 h 10000"/>
                <a:gd name="connsiteX533" fmla="*/ 1098 w 10000"/>
                <a:gd name="connsiteY533" fmla="*/ 2614 h 10000"/>
                <a:gd name="connsiteX534" fmla="*/ 1167 w 10000"/>
                <a:gd name="connsiteY534" fmla="*/ 2518 h 10000"/>
                <a:gd name="connsiteX535" fmla="*/ 1236 w 10000"/>
                <a:gd name="connsiteY535" fmla="*/ 2408 h 10000"/>
                <a:gd name="connsiteX536" fmla="*/ 1355 w 10000"/>
                <a:gd name="connsiteY536" fmla="*/ 2192 h 10000"/>
                <a:gd name="connsiteX537" fmla="*/ 1474 w 10000"/>
                <a:gd name="connsiteY537" fmla="*/ 1975 h 10000"/>
                <a:gd name="connsiteX538" fmla="*/ 1543 w 10000"/>
                <a:gd name="connsiteY538" fmla="*/ 1879 h 10000"/>
                <a:gd name="connsiteX539" fmla="*/ 1612 w 10000"/>
                <a:gd name="connsiteY539" fmla="*/ 1794 h 10000"/>
                <a:gd name="connsiteX540" fmla="*/ 1650 w 10000"/>
                <a:gd name="connsiteY540" fmla="*/ 1745 h 10000"/>
                <a:gd name="connsiteX541" fmla="*/ 1694 w 10000"/>
                <a:gd name="connsiteY541" fmla="*/ 1709 h 10000"/>
                <a:gd name="connsiteX542" fmla="*/ 1738 w 10000"/>
                <a:gd name="connsiteY542" fmla="*/ 1680 h 10000"/>
                <a:gd name="connsiteX543" fmla="*/ 1788 w 10000"/>
                <a:gd name="connsiteY543" fmla="*/ 1650 h 10000"/>
                <a:gd name="connsiteX544" fmla="*/ 1750 w 10000"/>
                <a:gd name="connsiteY544" fmla="*/ 1577 h 10000"/>
                <a:gd name="connsiteX545" fmla="*/ 1719 w 10000"/>
                <a:gd name="connsiteY545" fmla="*/ 1511 h 10000"/>
                <a:gd name="connsiteX546" fmla="*/ 1713 w 10000"/>
                <a:gd name="connsiteY546" fmla="*/ 1481 h 10000"/>
                <a:gd name="connsiteX547" fmla="*/ 1706 w 10000"/>
                <a:gd name="connsiteY547" fmla="*/ 1451 h 10000"/>
                <a:gd name="connsiteX548" fmla="*/ 1706 w 10000"/>
                <a:gd name="connsiteY548" fmla="*/ 1415 h 10000"/>
                <a:gd name="connsiteX549" fmla="*/ 1706 w 10000"/>
                <a:gd name="connsiteY549" fmla="*/ 1385 h 10000"/>
                <a:gd name="connsiteX550" fmla="*/ 1713 w 10000"/>
                <a:gd name="connsiteY550" fmla="*/ 1354 h 10000"/>
                <a:gd name="connsiteX551" fmla="*/ 1719 w 10000"/>
                <a:gd name="connsiteY551" fmla="*/ 1324 h 10000"/>
                <a:gd name="connsiteX552" fmla="*/ 1731 w 10000"/>
                <a:gd name="connsiteY552" fmla="*/ 1300 h 10000"/>
                <a:gd name="connsiteX553" fmla="*/ 1757 w 10000"/>
                <a:gd name="connsiteY553" fmla="*/ 1276 h 10000"/>
                <a:gd name="connsiteX554" fmla="*/ 1775 w 10000"/>
                <a:gd name="connsiteY554" fmla="*/ 1258 h 10000"/>
                <a:gd name="connsiteX555" fmla="*/ 1801 w 10000"/>
                <a:gd name="connsiteY555" fmla="*/ 1240 h 10000"/>
                <a:gd name="connsiteX556" fmla="*/ 1838 w 10000"/>
                <a:gd name="connsiteY556" fmla="*/ 1222 h 10000"/>
                <a:gd name="connsiteX557" fmla="*/ 1870 w 10000"/>
                <a:gd name="connsiteY557" fmla="*/ 1204 h 10000"/>
                <a:gd name="connsiteX558" fmla="*/ 1688 w 10000"/>
                <a:gd name="connsiteY558" fmla="*/ 1042 h 10000"/>
                <a:gd name="connsiteX559" fmla="*/ 1550 w 10000"/>
                <a:gd name="connsiteY559" fmla="*/ 920 h 10000"/>
                <a:gd name="connsiteX560" fmla="*/ 1487 w 10000"/>
                <a:gd name="connsiteY560" fmla="*/ 860 h 10000"/>
                <a:gd name="connsiteX561" fmla="*/ 1424 w 10000"/>
                <a:gd name="connsiteY561" fmla="*/ 794 h 10000"/>
                <a:gd name="connsiteX562" fmla="*/ 1361 w 10000"/>
                <a:gd name="connsiteY562" fmla="*/ 709 h 10000"/>
                <a:gd name="connsiteX563" fmla="*/ 1286 w 10000"/>
                <a:gd name="connsiteY563" fmla="*/ 608 h 10000"/>
                <a:gd name="connsiteX564" fmla="*/ 1286 w 10000"/>
                <a:gd name="connsiteY564" fmla="*/ 349 h 10000"/>
                <a:gd name="connsiteX565" fmla="*/ 1437 w 10000"/>
                <a:gd name="connsiteY565" fmla="*/ 349 h 10000"/>
                <a:gd name="connsiteX566" fmla="*/ 1606 w 10000"/>
                <a:gd name="connsiteY566" fmla="*/ 337 h 10000"/>
                <a:gd name="connsiteX567" fmla="*/ 1694 w 10000"/>
                <a:gd name="connsiteY567" fmla="*/ 331 h 10000"/>
                <a:gd name="connsiteX568" fmla="*/ 1775 w 10000"/>
                <a:gd name="connsiteY568" fmla="*/ 318 h 10000"/>
                <a:gd name="connsiteX569" fmla="*/ 1863 w 10000"/>
                <a:gd name="connsiteY569" fmla="*/ 299 h 10000"/>
                <a:gd name="connsiteX570" fmla="*/ 1945 w 10000"/>
                <a:gd name="connsiteY570" fmla="*/ 281 h 10000"/>
                <a:gd name="connsiteX571" fmla="*/ 2020 w 10000"/>
                <a:gd name="connsiteY571" fmla="*/ 263 h 10000"/>
                <a:gd name="connsiteX572" fmla="*/ 2102 w 10000"/>
                <a:gd name="connsiteY572" fmla="*/ 233 h 10000"/>
                <a:gd name="connsiteX573" fmla="*/ 2177 w 10000"/>
                <a:gd name="connsiteY573" fmla="*/ 203 h 10000"/>
                <a:gd name="connsiteX574" fmla="*/ 2240 w 10000"/>
                <a:gd name="connsiteY574" fmla="*/ 162 h 10000"/>
                <a:gd name="connsiteX575" fmla="*/ 2296 w 10000"/>
                <a:gd name="connsiteY575" fmla="*/ 120 h 10000"/>
                <a:gd name="connsiteX576" fmla="*/ 2587 w 10000"/>
                <a:gd name="connsiteY576" fmla="*/ 38 h 10000"/>
                <a:gd name="connsiteX577" fmla="*/ 2631 w 10000"/>
                <a:gd name="connsiteY577" fmla="*/ 32 h 10000"/>
                <a:gd name="connsiteX578" fmla="*/ 2415 w 10000"/>
                <a:gd name="connsiteY578" fmla="*/ 75 h 10000"/>
                <a:gd name="connsiteX0" fmla="*/ 2690 w 10000"/>
                <a:gd name="connsiteY0" fmla="*/ 75 h 10000"/>
                <a:gd name="connsiteX1" fmla="*/ 2509 w 10000"/>
                <a:gd name="connsiteY1" fmla="*/ 35 h 10000"/>
                <a:gd name="connsiteX2" fmla="*/ 2818 w 10000"/>
                <a:gd name="connsiteY2" fmla="*/ 1 h 10000"/>
                <a:gd name="connsiteX3" fmla="*/ 2776 w 10000"/>
                <a:gd name="connsiteY3" fmla="*/ 83 h 10000"/>
                <a:gd name="connsiteX4" fmla="*/ 2817 w 10000"/>
                <a:gd name="connsiteY4" fmla="*/ 63 h 10000"/>
                <a:gd name="connsiteX5" fmla="*/ 2846 w 10000"/>
                <a:gd name="connsiteY5" fmla="*/ 125 h 10000"/>
                <a:gd name="connsiteX6" fmla="*/ 2949 w 10000"/>
                <a:gd name="connsiteY6" fmla="*/ 94 h 10000"/>
                <a:gd name="connsiteX7" fmla="*/ 3093 w 10000"/>
                <a:gd name="connsiteY7" fmla="*/ 193 h 10000"/>
                <a:gd name="connsiteX8" fmla="*/ 3120 w 10000"/>
                <a:gd name="connsiteY8" fmla="*/ 345 h 10000"/>
                <a:gd name="connsiteX9" fmla="*/ 3152 w 10000"/>
                <a:gd name="connsiteY9" fmla="*/ 381 h 10000"/>
                <a:gd name="connsiteX10" fmla="*/ 3093 w 10000"/>
                <a:gd name="connsiteY10" fmla="*/ 493 h 10000"/>
                <a:gd name="connsiteX11" fmla="*/ 2992 w 10000"/>
                <a:gd name="connsiteY11" fmla="*/ 584 h 10000"/>
                <a:gd name="connsiteX12" fmla="*/ 3043 w 10000"/>
                <a:gd name="connsiteY12" fmla="*/ 608 h 10000"/>
                <a:gd name="connsiteX13" fmla="*/ 3087 w 10000"/>
                <a:gd name="connsiteY13" fmla="*/ 650 h 10000"/>
                <a:gd name="connsiteX14" fmla="*/ 3130 w 10000"/>
                <a:gd name="connsiteY14" fmla="*/ 697 h 10000"/>
                <a:gd name="connsiteX15" fmla="*/ 3174 w 10000"/>
                <a:gd name="connsiteY15" fmla="*/ 746 h 10000"/>
                <a:gd name="connsiteX16" fmla="*/ 3212 w 10000"/>
                <a:gd name="connsiteY16" fmla="*/ 806 h 10000"/>
                <a:gd name="connsiteX17" fmla="*/ 3256 w 10000"/>
                <a:gd name="connsiteY17" fmla="*/ 860 h 10000"/>
                <a:gd name="connsiteX18" fmla="*/ 3281 w 10000"/>
                <a:gd name="connsiteY18" fmla="*/ 920 h 10000"/>
                <a:gd name="connsiteX19" fmla="*/ 3312 w 10000"/>
                <a:gd name="connsiteY19" fmla="*/ 987 h 10000"/>
                <a:gd name="connsiteX20" fmla="*/ 3331 w 10000"/>
                <a:gd name="connsiteY20" fmla="*/ 1054 h 10000"/>
                <a:gd name="connsiteX21" fmla="*/ 3043 w 10000"/>
                <a:gd name="connsiteY21" fmla="*/ 1054 h 10000"/>
                <a:gd name="connsiteX22" fmla="*/ 3043 w 10000"/>
                <a:gd name="connsiteY22" fmla="*/ 1240 h 10000"/>
                <a:gd name="connsiteX23" fmla="*/ 3074 w 10000"/>
                <a:gd name="connsiteY23" fmla="*/ 1318 h 10000"/>
                <a:gd name="connsiteX24" fmla="*/ 3118 w 10000"/>
                <a:gd name="connsiteY24" fmla="*/ 1385 h 10000"/>
                <a:gd name="connsiteX25" fmla="*/ 3168 w 10000"/>
                <a:gd name="connsiteY25" fmla="*/ 1445 h 10000"/>
                <a:gd name="connsiteX26" fmla="*/ 3225 w 10000"/>
                <a:gd name="connsiteY26" fmla="*/ 1487 h 10000"/>
                <a:gd name="connsiteX27" fmla="*/ 3281 w 10000"/>
                <a:gd name="connsiteY27" fmla="*/ 1529 h 10000"/>
                <a:gd name="connsiteX28" fmla="*/ 3350 w 10000"/>
                <a:gd name="connsiteY28" fmla="*/ 1559 h 10000"/>
                <a:gd name="connsiteX29" fmla="*/ 3413 w 10000"/>
                <a:gd name="connsiteY29" fmla="*/ 1589 h 10000"/>
                <a:gd name="connsiteX30" fmla="*/ 3488 w 10000"/>
                <a:gd name="connsiteY30" fmla="*/ 1614 h 10000"/>
                <a:gd name="connsiteX31" fmla="*/ 3626 w 10000"/>
                <a:gd name="connsiteY31" fmla="*/ 1668 h 10000"/>
                <a:gd name="connsiteX32" fmla="*/ 3764 w 10000"/>
                <a:gd name="connsiteY32" fmla="*/ 1721 h 10000"/>
                <a:gd name="connsiteX33" fmla="*/ 3827 w 10000"/>
                <a:gd name="connsiteY33" fmla="*/ 1758 h 10000"/>
                <a:gd name="connsiteX34" fmla="*/ 3890 w 10000"/>
                <a:gd name="connsiteY34" fmla="*/ 1806 h 10000"/>
                <a:gd name="connsiteX35" fmla="*/ 3946 w 10000"/>
                <a:gd name="connsiteY35" fmla="*/ 1855 h 10000"/>
                <a:gd name="connsiteX36" fmla="*/ 4003 w 10000"/>
                <a:gd name="connsiteY36" fmla="*/ 1909 h 10000"/>
                <a:gd name="connsiteX37" fmla="*/ 3959 w 10000"/>
                <a:gd name="connsiteY37" fmla="*/ 2470 h 10000"/>
                <a:gd name="connsiteX38" fmla="*/ 4034 w 10000"/>
                <a:gd name="connsiteY38" fmla="*/ 2524 h 10000"/>
                <a:gd name="connsiteX39" fmla="*/ 4141 w 10000"/>
                <a:gd name="connsiteY39" fmla="*/ 2590 h 10000"/>
                <a:gd name="connsiteX40" fmla="*/ 4260 w 10000"/>
                <a:gd name="connsiteY40" fmla="*/ 2650 h 10000"/>
                <a:gd name="connsiteX41" fmla="*/ 4398 w 10000"/>
                <a:gd name="connsiteY41" fmla="*/ 2705 h 10000"/>
                <a:gd name="connsiteX42" fmla="*/ 4536 w 10000"/>
                <a:gd name="connsiteY42" fmla="*/ 2758 h 10000"/>
                <a:gd name="connsiteX43" fmla="*/ 4668 w 10000"/>
                <a:gd name="connsiteY43" fmla="*/ 2800 h 10000"/>
                <a:gd name="connsiteX44" fmla="*/ 4724 w 10000"/>
                <a:gd name="connsiteY44" fmla="*/ 2818 h 10000"/>
                <a:gd name="connsiteX45" fmla="*/ 4780 w 10000"/>
                <a:gd name="connsiteY45" fmla="*/ 2830 h 10000"/>
                <a:gd name="connsiteX46" fmla="*/ 4831 w 10000"/>
                <a:gd name="connsiteY46" fmla="*/ 2836 h 10000"/>
                <a:gd name="connsiteX47" fmla="*/ 4875 w 10000"/>
                <a:gd name="connsiteY47" fmla="*/ 2836 h 10000"/>
                <a:gd name="connsiteX48" fmla="*/ 4887 w 10000"/>
                <a:gd name="connsiteY48" fmla="*/ 2879 h 10000"/>
                <a:gd name="connsiteX49" fmla="*/ 4918 w 10000"/>
                <a:gd name="connsiteY49" fmla="*/ 2915 h 10000"/>
                <a:gd name="connsiteX50" fmla="*/ 4950 w 10000"/>
                <a:gd name="connsiteY50" fmla="*/ 2933 h 10000"/>
                <a:gd name="connsiteX51" fmla="*/ 4987 w 10000"/>
                <a:gd name="connsiteY51" fmla="*/ 2945 h 10000"/>
                <a:gd name="connsiteX52" fmla="*/ 5019 w 10000"/>
                <a:gd name="connsiteY52" fmla="*/ 2957 h 10000"/>
                <a:gd name="connsiteX53" fmla="*/ 5063 w 10000"/>
                <a:gd name="connsiteY53" fmla="*/ 2957 h 10000"/>
                <a:gd name="connsiteX54" fmla="*/ 5107 w 10000"/>
                <a:gd name="connsiteY54" fmla="*/ 2951 h 10000"/>
                <a:gd name="connsiteX55" fmla="*/ 5157 w 10000"/>
                <a:gd name="connsiteY55" fmla="*/ 2945 h 10000"/>
                <a:gd name="connsiteX56" fmla="*/ 5245 w 10000"/>
                <a:gd name="connsiteY56" fmla="*/ 2927 h 10000"/>
                <a:gd name="connsiteX57" fmla="*/ 5345 w 10000"/>
                <a:gd name="connsiteY57" fmla="*/ 2903 h 10000"/>
                <a:gd name="connsiteX58" fmla="*/ 5383 w 10000"/>
                <a:gd name="connsiteY58" fmla="*/ 2903 h 10000"/>
                <a:gd name="connsiteX59" fmla="*/ 5427 w 10000"/>
                <a:gd name="connsiteY59" fmla="*/ 2897 h 10000"/>
                <a:gd name="connsiteX60" fmla="*/ 5464 w 10000"/>
                <a:gd name="connsiteY60" fmla="*/ 2903 h 10000"/>
                <a:gd name="connsiteX61" fmla="*/ 5502 w 10000"/>
                <a:gd name="connsiteY61" fmla="*/ 2909 h 10000"/>
                <a:gd name="connsiteX62" fmla="*/ 5558 w 10000"/>
                <a:gd name="connsiteY62" fmla="*/ 2945 h 10000"/>
                <a:gd name="connsiteX63" fmla="*/ 5596 w 10000"/>
                <a:gd name="connsiteY63" fmla="*/ 2975 h 10000"/>
                <a:gd name="connsiteX64" fmla="*/ 5634 w 10000"/>
                <a:gd name="connsiteY64" fmla="*/ 3017 h 10000"/>
                <a:gd name="connsiteX65" fmla="*/ 5665 w 10000"/>
                <a:gd name="connsiteY65" fmla="*/ 3053 h 10000"/>
                <a:gd name="connsiteX66" fmla="*/ 5696 w 10000"/>
                <a:gd name="connsiteY66" fmla="*/ 3090 h 10000"/>
                <a:gd name="connsiteX67" fmla="*/ 5734 w 10000"/>
                <a:gd name="connsiteY67" fmla="*/ 3126 h 10000"/>
                <a:gd name="connsiteX68" fmla="*/ 5759 w 10000"/>
                <a:gd name="connsiteY68" fmla="*/ 3144 h 10000"/>
                <a:gd name="connsiteX69" fmla="*/ 5778 w 10000"/>
                <a:gd name="connsiteY69" fmla="*/ 3156 h 10000"/>
                <a:gd name="connsiteX70" fmla="*/ 5803 w 10000"/>
                <a:gd name="connsiteY70" fmla="*/ 3168 h 10000"/>
                <a:gd name="connsiteX71" fmla="*/ 5834 w 10000"/>
                <a:gd name="connsiteY71" fmla="*/ 3174 h 10000"/>
                <a:gd name="connsiteX72" fmla="*/ 5935 w 10000"/>
                <a:gd name="connsiteY72" fmla="*/ 3193 h 10000"/>
                <a:gd name="connsiteX73" fmla="*/ 6073 w 10000"/>
                <a:gd name="connsiteY73" fmla="*/ 3228 h 10000"/>
                <a:gd name="connsiteX74" fmla="*/ 6230 w 10000"/>
                <a:gd name="connsiteY74" fmla="*/ 3264 h 10000"/>
                <a:gd name="connsiteX75" fmla="*/ 6405 w 10000"/>
                <a:gd name="connsiteY75" fmla="*/ 3307 h 10000"/>
                <a:gd name="connsiteX76" fmla="*/ 6568 w 10000"/>
                <a:gd name="connsiteY76" fmla="*/ 3337 h 10000"/>
                <a:gd name="connsiteX77" fmla="*/ 6719 w 10000"/>
                <a:gd name="connsiteY77" fmla="*/ 3361 h 10000"/>
                <a:gd name="connsiteX78" fmla="*/ 6788 w 10000"/>
                <a:gd name="connsiteY78" fmla="*/ 3367 h 10000"/>
                <a:gd name="connsiteX79" fmla="*/ 6838 w 10000"/>
                <a:gd name="connsiteY79" fmla="*/ 3373 h 10000"/>
                <a:gd name="connsiteX80" fmla="*/ 6888 w 10000"/>
                <a:gd name="connsiteY80" fmla="*/ 3367 h 10000"/>
                <a:gd name="connsiteX81" fmla="*/ 6913 w 10000"/>
                <a:gd name="connsiteY81" fmla="*/ 3355 h 10000"/>
                <a:gd name="connsiteX82" fmla="*/ 6888 w 10000"/>
                <a:gd name="connsiteY82" fmla="*/ 3313 h 10000"/>
                <a:gd name="connsiteX83" fmla="*/ 6857 w 10000"/>
                <a:gd name="connsiteY83" fmla="*/ 3264 h 10000"/>
                <a:gd name="connsiteX84" fmla="*/ 6838 w 10000"/>
                <a:gd name="connsiteY84" fmla="*/ 3216 h 10000"/>
                <a:gd name="connsiteX85" fmla="*/ 6826 w 10000"/>
                <a:gd name="connsiteY85" fmla="*/ 3162 h 10000"/>
                <a:gd name="connsiteX86" fmla="*/ 6794 w 10000"/>
                <a:gd name="connsiteY86" fmla="*/ 3071 h 10000"/>
                <a:gd name="connsiteX87" fmla="*/ 6788 w 10000"/>
                <a:gd name="connsiteY87" fmla="*/ 3023 h 10000"/>
                <a:gd name="connsiteX88" fmla="*/ 6788 w 10000"/>
                <a:gd name="connsiteY88" fmla="*/ 2836 h 10000"/>
                <a:gd name="connsiteX89" fmla="*/ 6788 w 10000"/>
                <a:gd name="connsiteY89" fmla="*/ 2650 h 10000"/>
                <a:gd name="connsiteX90" fmla="*/ 6995 w 10000"/>
                <a:gd name="connsiteY90" fmla="*/ 2650 h 10000"/>
                <a:gd name="connsiteX91" fmla="*/ 7033 w 10000"/>
                <a:gd name="connsiteY91" fmla="*/ 2716 h 10000"/>
                <a:gd name="connsiteX92" fmla="*/ 7058 w 10000"/>
                <a:gd name="connsiteY92" fmla="*/ 2758 h 10000"/>
                <a:gd name="connsiteX93" fmla="*/ 7095 w 10000"/>
                <a:gd name="connsiteY93" fmla="*/ 2794 h 10000"/>
                <a:gd name="connsiteX94" fmla="*/ 7127 w 10000"/>
                <a:gd name="connsiteY94" fmla="*/ 2836 h 10000"/>
                <a:gd name="connsiteX95" fmla="*/ 7120 w 10000"/>
                <a:gd name="connsiteY95" fmla="*/ 2933 h 10000"/>
                <a:gd name="connsiteX96" fmla="*/ 7102 w 10000"/>
                <a:gd name="connsiteY96" fmla="*/ 2993 h 10000"/>
                <a:gd name="connsiteX97" fmla="*/ 7089 w 10000"/>
                <a:gd name="connsiteY97" fmla="*/ 3041 h 10000"/>
                <a:gd name="connsiteX98" fmla="*/ 7077 w 10000"/>
                <a:gd name="connsiteY98" fmla="*/ 3096 h 10000"/>
                <a:gd name="connsiteX99" fmla="*/ 7208 w 10000"/>
                <a:gd name="connsiteY99" fmla="*/ 3132 h 10000"/>
                <a:gd name="connsiteX100" fmla="*/ 7334 w 10000"/>
                <a:gd name="connsiteY100" fmla="*/ 3168 h 10000"/>
                <a:gd name="connsiteX101" fmla="*/ 7396 w 10000"/>
                <a:gd name="connsiteY101" fmla="*/ 3187 h 10000"/>
                <a:gd name="connsiteX102" fmla="*/ 7459 w 10000"/>
                <a:gd name="connsiteY102" fmla="*/ 3199 h 10000"/>
                <a:gd name="connsiteX103" fmla="*/ 7522 w 10000"/>
                <a:gd name="connsiteY103" fmla="*/ 3205 h 10000"/>
                <a:gd name="connsiteX104" fmla="*/ 7585 w 10000"/>
                <a:gd name="connsiteY104" fmla="*/ 3210 h 10000"/>
                <a:gd name="connsiteX105" fmla="*/ 7591 w 10000"/>
                <a:gd name="connsiteY105" fmla="*/ 3234 h 10000"/>
                <a:gd name="connsiteX106" fmla="*/ 7604 w 10000"/>
                <a:gd name="connsiteY106" fmla="*/ 3258 h 10000"/>
                <a:gd name="connsiteX107" fmla="*/ 7622 w 10000"/>
                <a:gd name="connsiteY107" fmla="*/ 3276 h 10000"/>
                <a:gd name="connsiteX108" fmla="*/ 7654 w 10000"/>
                <a:gd name="connsiteY108" fmla="*/ 3294 h 10000"/>
                <a:gd name="connsiteX109" fmla="*/ 7704 w 10000"/>
                <a:gd name="connsiteY109" fmla="*/ 3313 h 10000"/>
                <a:gd name="connsiteX110" fmla="*/ 7748 w 10000"/>
                <a:gd name="connsiteY110" fmla="*/ 3319 h 10000"/>
                <a:gd name="connsiteX111" fmla="*/ 7798 w 10000"/>
                <a:gd name="connsiteY111" fmla="*/ 3319 h 10000"/>
                <a:gd name="connsiteX112" fmla="*/ 7836 w 10000"/>
                <a:gd name="connsiteY112" fmla="*/ 3307 h 10000"/>
                <a:gd name="connsiteX113" fmla="*/ 7880 w 10000"/>
                <a:gd name="connsiteY113" fmla="*/ 3288 h 10000"/>
                <a:gd name="connsiteX114" fmla="*/ 7911 w 10000"/>
                <a:gd name="connsiteY114" fmla="*/ 3270 h 10000"/>
                <a:gd name="connsiteX115" fmla="*/ 7949 w 10000"/>
                <a:gd name="connsiteY115" fmla="*/ 3246 h 10000"/>
                <a:gd name="connsiteX116" fmla="*/ 7980 w 10000"/>
                <a:gd name="connsiteY116" fmla="*/ 3216 h 10000"/>
                <a:gd name="connsiteX117" fmla="*/ 8011 w 10000"/>
                <a:gd name="connsiteY117" fmla="*/ 3187 h 10000"/>
                <a:gd name="connsiteX118" fmla="*/ 8036 w 10000"/>
                <a:gd name="connsiteY118" fmla="*/ 3156 h 10000"/>
                <a:gd name="connsiteX119" fmla="*/ 8087 w 10000"/>
                <a:gd name="connsiteY119" fmla="*/ 3077 h 10000"/>
                <a:gd name="connsiteX120" fmla="*/ 8118 w 10000"/>
                <a:gd name="connsiteY120" fmla="*/ 3005 h 10000"/>
                <a:gd name="connsiteX121" fmla="*/ 8149 w 10000"/>
                <a:gd name="connsiteY121" fmla="*/ 2939 h 10000"/>
                <a:gd name="connsiteX122" fmla="*/ 8168 w 10000"/>
                <a:gd name="connsiteY122" fmla="*/ 2873 h 10000"/>
                <a:gd name="connsiteX123" fmla="*/ 8231 w 10000"/>
                <a:gd name="connsiteY123" fmla="*/ 2806 h 10000"/>
                <a:gd name="connsiteX124" fmla="*/ 8294 w 10000"/>
                <a:gd name="connsiteY124" fmla="*/ 2740 h 10000"/>
                <a:gd name="connsiteX125" fmla="*/ 8363 w 10000"/>
                <a:gd name="connsiteY125" fmla="*/ 2687 h 10000"/>
                <a:gd name="connsiteX126" fmla="*/ 8432 w 10000"/>
                <a:gd name="connsiteY126" fmla="*/ 2626 h 10000"/>
                <a:gd name="connsiteX127" fmla="*/ 8507 w 10000"/>
                <a:gd name="connsiteY127" fmla="*/ 2578 h 10000"/>
                <a:gd name="connsiteX128" fmla="*/ 8576 w 10000"/>
                <a:gd name="connsiteY128" fmla="*/ 2530 h 10000"/>
                <a:gd name="connsiteX129" fmla="*/ 8651 w 10000"/>
                <a:gd name="connsiteY129" fmla="*/ 2488 h 10000"/>
                <a:gd name="connsiteX130" fmla="*/ 8726 w 10000"/>
                <a:gd name="connsiteY130" fmla="*/ 2444 h 10000"/>
                <a:gd name="connsiteX131" fmla="*/ 8808 w 10000"/>
                <a:gd name="connsiteY131" fmla="*/ 2402 h 10000"/>
                <a:gd name="connsiteX132" fmla="*/ 8890 w 10000"/>
                <a:gd name="connsiteY132" fmla="*/ 2366 h 10000"/>
                <a:gd name="connsiteX133" fmla="*/ 8971 w 10000"/>
                <a:gd name="connsiteY133" fmla="*/ 2336 h 10000"/>
                <a:gd name="connsiteX134" fmla="*/ 9059 w 10000"/>
                <a:gd name="connsiteY134" fmla="*/ 2306 h 10000"/>
                <a:gd name="connsiteX135" fmla="*/ 9235 w 10000"/>
                <a:gd name="connsiteY135" fmla="*/ 2252 h 10000"/>
                <a:gd name="connsiteX136" fmla="*/ 9417 w 10000"/>
                <a:gd name="connsiteY136" fmla="*/ 2209 h 10000"/>
                <a:gd name="connsiteX137" fmla="*/ 9454 w 10000"/>
                <a:gd name="connsiteY137" fmla="*/ 2258 h 10000"/>
                <a:gd name="connsiteX138" fmla="*/ 9504 w 10000"/>
                <a:gd name="connsiteY138" fmla="*/ 2318 h 10000"/>
                <a:gd name="connsiteX139" fmla="*/ 9573 w 10000"/>
                <a:gd name="connsiteY139" fmla="*/ 2384 h 10000"/>
                <a:gd name="connsiteX140" fmla="*/ 9642 w 10000"/>
                <a:gd name="connsiteY140" fmla="*/ 2457 h 10000"/>
                <a:gd name="connsiteX141" fmla="*/ 9718 w 10000"/>
                <a:gd name="connsiteY141" fmla="*/ 2518 h 10000"/>
                <a:gd name="connsiteX142" fmla="*/ 9799 w 10000"/>
                <a:gd name="connsiteY142" fmla="*/ 2566 h 10000"/>
                <a:gd name="connsiteX143" fmla="*/ 9837 w 10000"/>
                <a:gd name="connsiteY143" fmla="*/ 2590 h 10000"/>
                <a:gd name="connsiteX144" fmla="*/ 9875 w 10000"/>
                <a:gd name="connsiteY144" fmla="*/ 2602 h 10000"/>
                <a:gd name="connsiteX145" fmla="*/ 9918 w 10000"/>
                <a:gd name="connsiteY145" fmla="*/ 2614 h 10000"/>
                <a:gd name="connsiteX146" fmla="*/ 9956 w 10000"/>
                <a:gd name="connsiteY146" fmla="*/ 2614 h 10000"/>
                <a:gd name="connsiteX147" fmla="*/ 10000 w 10000"/>
                <a:gd name="connsiteY147" fmla="*/ 2542 h 10000"/>
                <a:gd name="connsiteX148" fmla="*/ 9975 w 10000"/>
                <a:gd name="connsiteY148" fmla="*/ 2669 h 10000"/>
                <a:gd name="connsiteX149" fmla="*/ 9944 w 10000"/>
                <a:gd name="connsiteY149" fmla="*/ 2812 h 10000"/>
                <a:gd name="connsiteX150" fmla="*/ 9931 w 10000"/>
                <a:gd name="connsiteY150" fmla="*/ 2879 h 10000"/>
                <a:gd name="connsiteX151" fmla="*/ 9906 w 10000"/>
                <a:gd name="connsiteY151" fmla="*/ 2939 h 10000"/>
                <a:gd name="connsiteX152" fmla="*/ 9887 w 10000"/>
                <a:gd name="connsiteY152" fmla="*/ 2963 h 10000"/>
                <a:gd name="connsiteX153" fmla="*/ 9875 w 10000"/>
                <a:gd name="connsiteY153" fmla="*/ 2987 h 10000"/>
                <a:gd name="connsiteX154" fmla="*/ 9856 w 10000"/>
                <a:gd name="connsiteY154" fmla="*/ 3005 h 10000"/>
                <a:gd name="connsiteX155" fmla="*/ 9837 w 10000"/>
                <a:gd name="connsiteY155" fmla="*/ 3023 h 10000"/>
                <a:gd name="connsiteX156" fmla="*/ 9749 w 10000"/>
                <a:gd name="connsiteY156" fmla="*/ 3041 h 10000"/>
                <a:gd name="connsiteX157" fmla="*/ 9605 w 10000"/>
                <a:gd name="connsiteY157" fmla="*/ 3090 h 10000"/>
                <a:gd name="connsiteX158" fmla="*/ 9536 w 10000"/>
                <a:gd name="connsiteY158" fmla="*/ 3132 h 10000"/>
                <a:gd name="connsiteX159" fmla="*/ 9479 w 10000"/>
                <a:gd name="connsiteY159" fmla="*/ 3168 h 10000"/>
                <a:gd name="connsiteX160" fmla="*/ 9448 w 10000"/>
                <a:gd name="connsiteY160" fmla="*/ 3187 h 10000"/>
                <a:gd name="connsiteX161" fmla="*/ 9435 w 10000"/>
                <a:gd name="connsiteY161" fmla="*/ 3205 h 10000"/>
                <a:gd name="connsiteX162" fmla="*/ 9423 w 10000"/>
                <a:gd name="connsiteY162" fmla="*/ 3228 h 10000"/>
                <a:gd name="connsiteX163" fmla="*/ 9417 w 10000"/>
                <a:gd name="connsiteY163" fmla="*/ 3246 h 10000"/>
                <a:gd name="connsiteX164" fmla="*/ 9423 w 10000"/>
                <a:gd name="connsiteY164" fmla="*/ 3457 h 10000"/>
                <a:gd name="connsiteX165" fmla="*/ 9417 w 10000"/>
                <a:gd name="connsiteY165" fmla="*/ 3698 h 10000"/>
                <a:gd name="connsiteX166" fmla="*/ 9398 w 10000"/>
                <a:gd name="connsiteY166" fmla="*/ 3758 h 10000"/>
                <a:gd name="connsiteX167" fmla="*/ 9391 w 10000"/>
                <a:gd name="connsiteY167" fmla="*/ 3824 h 10000"/>
                <a:gd name="connsiteX168" fmla="*/ 9379 w 10000"/>
                <a:gd name="connsiteY168" fmla="*/ 3878 h 10000"/>
                <a:gd name="connsiteX169" fmla="*/ 9366 w 10000"/>
                <a:gd name="connsiteY169" fmla="*/ 3933 h 10000"/>
                <a:gd name="connsiteX170" fmla="*/ 9348 w 10000"/>
                <a:gd name="connsiteY170" fmla="*/ 3982 h 10000"/>
                <a:gd name="connsiteX171" fmla="*/ 9316 w 10000"/>
                <a:gd name="connsiteY171" fmla="*/ 4030 h 10000"/>
                <a:gd name="connsiteX172" fmla="*/ 9285 w 10000"/>
                <a:gd name="connsiteY172" fmla="*/ 4066 h 10000"/>
                <a:gd name="connsiteX173" fmla="*/ 9247 w 10000"/>
                <a:gd name="connsiteY173" fmla="*/ 4096 h 10000"/>
                <a:gd name="connsiteX174" fmla="*/ 9228 w 10000"/>
                <a:gd name="connsiteY174" fmla="*/ 4114 h 10000"/>
                <a:gd name="connsiteX175" fmla="*/ 9184 w 10000"/>
                <a:gd name="connsiteY175" fmla="*/ 4120 h 10000"/>
                <a:gd name="connsiteX176" fmla="*/ 9141 w 10000"/>
                <a:gd name="connsiteY176" fmla="*/ 4126 h 10000"/>
                <a:gd name="connsiteX177" fmla="*/ 9090 w 10000"/>
                <a:gd name="connsiteY177" fmla="*/ 4132 h 10000"/>
                <a:gd name="connsiteX178" fmla="*/ 9040 w 10000"/>
                <a:gd name="connsiteY178" fmla="*/ 4138 h 10000"/>
                <a:gd name="connsiteX179" fmla="*/ 8996 w 10000"/>
                <a:gd name="connsiteY179" fmla="*/ 4157 h 10000"/>
                <a:gd name="connsiteX180" fmla="*/ 8977 w 10000"/>
                <a:gd name="connsiteY180" fmla="*/ 4163 h 10000"/>
                <a:gd name="connsiteX181" fmla="*/ 8965 w 10000"/>
                <a:gd name="connsiteY181" fmla="*/ 4181 h 10000"/>
                <a:gd name="connsiteX182" fmla="*/ 8959 w 10000"/>
                <a:gd name="connsiteY182" fmla="*/ 4193 h 10000"/>
                <a:gd name="connsiteX183" fmla="*/ 8959 w 10000"/>
                <a:gd name="connsiteY183" fmla="*/ 4211 h 10000"/>
                <a:gd name="connsiteX184" fmla="*/ 8952 w 10000"/>
                <a:gd name="connsiteY184" fmla="*/ 4282 h 10000"/>
                <a:gd name="connsiteX185" fmla="*/ 8952 w 10000"/>
                <a:gd name="connsiteY185" fmla="*/ 4367 h 10000"/>
                <a:gd name="connsiteX186" fmla="*/ 8940 w 10000"/>
                <a:gd name="connsiteY186" fmla="*/ 4457 h 10000"/>
                <a:gd name="connsiteX187" fmla="*/ 8927 w 10000"/>
                <a:gd name="connsiteY187" fmla="*/ 4541 h 10000"/>
                <a:gd name="connsiteX188" fmla="*/ 8908 w 10000"/>
                <a:gd name="connsiteY188" fmla="*/ 4627 h 10000"/>
                <a:gd name="connsiteX189" fmla="*/ 8890 w 10000"/>
                <a:gd name="connsiteY189" fmla="*/ 4705 h 10000"/>
                <a:gd name="connsiteX190" fmla="*/ 8864 w 10000"/>
                <a:gd name="connsiteY190" fmla="*/ 4776 h 10000"/>
                <a:gd name="connsiteX191" fmla="*/ 8833 w 10000"/>
                <a:gd name="connsiteY191" fmla="*/ 4843 h 10000"/>
                <a:gd name="connsiteX192" fmla="*/ 8538 w 10000"/>
                <a:gd name="connsiteY192" fmla="*/ 4354 h 10000"/>
                <a:gd name="connsiteX193" fmla="*/ 8526 w 10000"/>
                <a:gd name="connsiteY193" fmla="*/ 4379 h 10000"/>
                <a:gd name="connsiteX194" fmla="*/ 8494 w 10000"/>
                <a:gd name="connsiteY194" fmla="*/ 4433 h 10000"/>
                <a:gd name="connsiteX195" fmla="*/ 8463 w 10000"/>
                <a:gd name="connsiteY195" fmla="*/ 4463 h 10000"/>
                <a:gd name="connsiteX196" fmla="*/ 8438 w 10000"/>
                <a:gd name="connsiteY196" fmla="*/ 4487 h 10000"/>
                <a:gd name="connsiteX197" fmla="*/ 8407 w 10000"/>
                <a:gd name="connsiteY197" fmla="*/ 4505 h 10000"/>
                <a:gd name="connsiteX198" fmla="*/ 8375 w 10000"/>
                <a:gd name="connsiteY198" fmla="*/ 4511 h 10000"/>
                <a:gd name="connsiteX199" fmla="*/ 8338 w 10000"/>
                <a:gd name="connsiteY199" fmla="*/ 4505 h 10000"/>
                <a:gd name="connsiteX200" fmla="*/ 8312 w 10000"/>
                <a:gd name="connsiteY200" fmla="*/ 4499 h 10000"/>
                <a:gd name="connsiteX201" fmla="*/ 8287 w 10000"/>
                <a:gd name="connsiteY201" fmla="*/ 4481 h 10000"/>
                <a:gd name="connsiteX202" fmla="*/ 8256 w 10000"/>
                <a:gd name="connsiteY202" fmla="*/ 4463 h 10000"/>
                <a:gd name="connsiteX203" fmla="*/ 8237 w 10000"/>
                <a:gd name="connsiteY203" fmla="*/ 4433 h 10000"/>
                <a:gd name="connsiteX204" fmla="*/ 8225 w 10000"/>
                <a:gd name="connsiteY204" fmla="*/ 4409 h 10000"/>
                <a:gd name="connsiteX205" fmla="*/ 8206 w 10000"/>
                <a:gd name="connsiteY205" fmla="*/ 4385 h 10000"/>
                <a:gd name="connsiteX206" fmla="*/ 8206 w 10000"/>
                <a:gd name="connsiteY206" fmla="*/ 4354 h 10000"/>
                <a:gd name="connsiteX207" fmla="*/ 8206 w 10000"/>
                <a:gd name="connsiteY207" fmla="*/ 4318 h 10000"/>
                <a:gd name="connsiteX208" fmla="*/ 8225 w 10000"/>
                <a:gd name="connsiteY208" fmla="*/ 4282 h 10000"/>
                <a:gd name="connsiteX209" fmla="*/ 8237 w 10000"/>
                <a:gd name="connsiteY209" fmla="*/ 4246 h 10000"/>
                <a:gd name="connsiteX210" fmla="*/ 8250 w 10000"/>
                <a:gd name="connsiteY210" fmla="*/ 4211 h 10000"/>
                <a:gd name="connsiteX211" fmla="*/ 8300 w 10000"/>
                <a:gd name="connsiteY211" fmla="*/ 4144 h 10000"/>
                <a:gd name="connsiteX212" fmla="*/ 8356 w 10000"/>
                <a:gd name="connsiteY212" fmla="*/ 4078 h 10000"/>
                <a:gd name="connsiteX213" fmla="*/ 8407 w 10000"/>
                <a:gd name="connsiteY213" fmla="*/ 4018 h 10000"/>
                <a:gd name="connsiteX214" fmla="*/ 8457 w 10000"/>
                <a:gd name="connsiteY214" fmla="*/ 3952 h 10000"/>
                <a:gd name="connsiteX215" fmla="*/ 8469 w 10000"/>
                <a:gd name="connsiteY215" fmla="*/ 3915 h 10000"/>
                <a:gd name="connsiteX216" fmla="*/ 8482 w 10000"/>
                <a:gd name="connsiteY216" fmla="*/ 3884 h 10000"/>
                <a:gd name="connsiteX217" fmla="*/ 8501 w 10000"/>
                <a:gd name="connsiteY217" fmla="*/ 3842 h 10000"/>
                <a:gd name="connsiteX218" fmla="*/ 8501 w 10000"/>
                <a:gd name="connsiteY218" fmla="*/ 3806 h 10000"/>
                <a:gd name="connsiteX219" fmla="*/ 7748 w 10000"/>
                <a:gd name="connsiteY219" fmla="*/ 3806 h 10000"/>
                <a:gd name="connsiteX220" fmla="*/ 7723 w 10000"/>
                <a:gd name="connsiteY220" fmla="*/ 3800 h 10000"/>
                <a:gd name="connsiteX221" fmla="*/ 7685 w 10000"/>
                <a:gd name="connsiteY221" fmla="*/ 3782 h 10000"/>
                <a:gd name="connsiteX222" fmla="*/ 7660 w 10000"/>
                <a:gd name="connsiteY222" fmla="*/ 3746 h 10000"/>
                <a:gd name="connsiteX223" fmla="*/ 7635 w 10000"/>
                <a:gd name="connsiteY223" fmla="*/ 3710 h 10000"/>
                <a:gd name="connsiteX224" fmla="*/ 7616 w 10000"/>
                <a:gd name="connsiteY224" fmla="*/ 3662 h 10000"/>
                <a:gd name="connsiteX225" fmla="*/ 7597 w 10000"/>
                <a:gd name="connsiteY225" fmla="*/ 3614 h 10000"/>
                <a:gd name="connsiteX226" fmla="*/ 7591 w 10000"/>
                <a:gd name="connsiteY226" fmla="*/ 3560 h 10000"/>
                <a:gd name="connsiteX227" fmla="*/ 7585 w 10000"/>
                <a:gd name="connsiteY227" fmla="*/ 3505 h 10000"/>
                <a:gd name="connsiteX228" fmla="*/ 7547 w 10000"/>
                <a:gd name="connsiteY228" fmla="*/ 3505 h 10000"/>
                <a:gd name="connsiteX229" fmla="*/ 7516 w 10000"/>
                <a:gd name="connsiteY229" fmla="*/ 3499 h 10000"/>
                <a:gd name="connsiteX230" fmla="*/ 7478 w 10000"/>
                <a:gd name="connsiteY230" fmla="*/ 3493 h 10000"/>
                <a:gd name="connsiteX231" fmla="*/ 7447 w 10000"/>
                <a:gd name="connsiteY231" fmla="*/ 3481 h 10000"/>
                <a:gd name="connsiteX232" fmla="*/ 7415 w 10000"/>
                <a:gd name="connsiteY232" fmla="*/ 3463 h 10000"/>
                <a:gd name="connsiteX233" fmla="*/ 7396 w 10000"/>
                <a:gd name="connsiteY233" fmla="*/ 3445 h 10000"/>
                <a:gd name="connsiteX234" fmla="*/ 7384 w 10000"/>
                <a:gd name="connsiteY234" fmla="*/ 3415 h 10000"/>
                <a:gd name="connsiteX235" fmla="*/ 7378 w 10000"/>
                <a:gd name="connsiteY235" fmla="*/ 3391 h 10000"/>
                <a:gd name="connsiteX236" fmla="*/ 7321 w 10000"/>
                <a:gd name="connsiteY236" fmla="*/ 3391 h 10000"/>
                <a:gd name="connsiteX237" fmla="*/ 7271 w 10000"/>
                <a:gd name="connsiteY237" fmla="*/ 3391 h 10000"/>
                <a:gd name="connsiteX238" fmla="*/ 7221 w 10000"/>
                <a:gd name="connsiteY238" fmla="*/ 3391 h 10000"/>
                <a:gd name="connsiteX239" fmla="*/ 7171 w 10000"/>
                <a:gd name="connsiteY239" fmla="*/ 3391 h 10000"/>
                <a:gd name="connsiteX240" fmla="*/ 7127 w 10000"/>
                <a:gd name="connsiteY240" fmla="*/ 3397 h 10000"/>
                <a:gd name="connsiteX241" fmla="*/ 7095 w 10000"/>
                <a:gd name="connsiteY241" fmla="*/ 3403 h 10000"/>
                <a:gd name="connsiteX242" fmla="*/ 7051 w 10000"/>
                <a:gd name="connsiteY242" fmla="*/ 3421 h 10000"/>
                <a:gd name="connsiteX243" fmla="*/ 7008 w 10000"/>
                <a:gd name="connsiteY243" fmla="*/ 3445 h 10000"/>
                <a:gd name="connsiteX244" fmla="*/ 6976 w 10000"/>
                <a:gd name="connsiteY244" fmla="*/ 3475 h 10000"/>
                <a:gd name="connsiteX245" fmla="*/ 6939 w 10000"/>
                <a:gd name="connsiteY245" fmla="*/ 3505 h 10000"/>
                <a:gd name="connsiteX246" fmla="*/ 6920 w 10000"/>
                <a:gd name="connsiteY246" fmla="*/ 3542 h 10000"/>
                <a:gd name="connsiteX247" fmla="*/ 6913 w 10000"/>
                <a:gd name="connsiteY247" fmla="*/ 3578 h 10000"/>
                <a:gd name="connsiteX248" fmla="*/ 6926 w 10000"/>
                <a:gd name="connsiteY248" fmla="*/ 3602 h 10000"/>
                <a:gd name="connsiteX249" fmla="*/ 6964 w 10000"/>
                <a:gd name="connsiteY249" fmla="*/ 3632 h 10000"/>
                <a:gd name="connsiteX250" fmla="*/ 7008 w 10000"/>
                <a:gd name="connsiteY250" fmla="*/ 3668 h 10000"/>
                <a:gd name="connsiteX251" fmla="*/ 7070 w 10000"/>
                <a:gd name="connsiteY251" fmla="*/ 3704 h 10000"/>
                <a:gd name="connsiteX252" fmla="*/ 7133 w 10000"/>
                <a:gd name="connsiteY252" fmla="*/ 3740 h 10000"/>
                <a:gd name="connsiteX253" fmla="*/ 7196 w 10000"/>
                <a:gd name="connsiteY253" fmla="*/ 3770 h 10000"/>
                <a:gd name="connsiteX254" fmla="*/ 7252 w 10000"/>
                <a:gd name="connsiteY254" fmla="*/ 3794 h 10000"/>
                <a:gd name="connsiteX255" fmla="*/ 7290 w 10000"/>
                <a:gd name="connsiteY255" fmla="*/ 3806 h 10000"/>
                <a:gd name="connsiteX256" fmla="*/ 7208 w 10000"/>
                <a:gd name="connsiteY256" fmla="*/ 3866 h 10000"/>
                <a:gd name="connsiteX257" fmla="*/ 7114 w 10000"/>
                <a:gd name="connsiteY257" fmla="*/ 3940 h 10000"/>
                <a:gd name="connsiteX258" fmla="*/ 7070 w 10000"/>
                <a:gd name="connsiteY258" fmla="*/ 3976 h 10000"/>
                <a:gd name="connsiteX259" fmla="*/ 7033 w 10000"/>
                <a:gd name="connsiteY259" fmla="*/ 4018 h 10000"/>
                <a:gd name="connsiteX260" fmla="*/ 7020 w 10000"/>
                <a:gd name="connsiteY260" fmla="*/ 4036 h 10000"/>
                <a:gd name="connsiteX261" fmla="*/ 7008 w 10000"/>
                <a:gd name="connsiteY261" fmla="*/ 4054 h 10000"/>
                <a:gd name="connsiteX262" fmla="*/ 7001 w 10000"/>
                <a:gd name="connsiteY262" fmla="*/ 4078 h 10000"/>
                <a:gd name="connsiteX263" fmla="*/ 6995 w 10000"/>
                <a:gd name="connsiteY263" fmla="*/ 4096 h 10000"/>
                <a:gd name="connsiteX264" fmla="*/ 7001 w 10000"/>
                <a:gd name="connsiteY264" fmla="*/ 4126 h 10000"/>
                <a:gd name="connsiteX265" fmla="*/ 7008 w 10000"/>
                <a:gd name="connsiteY265" fmla="*/ 4144 h 10000"/>
                <a:gd name="connsiteX266" fmla="*/ 7026 w 10000"/>
                <a:gd name="connsiteY266" fmla="*/ 4169 h 10000"/>
                <a:gd name="connsiteX267" fmla="*/ 7039 w 10000"/>
                <a:gd name="connsiteY267" fmla="*/ 4193 h 10000"/>
                <a:gd name="connsiteX268" fmla="*/ 7089 w 10000"/>
                <a:gd name="connsiteY268" fmla="*/ 4240 h 10000"/>
                <a:gd name="connsiteX269" fmla="*/ 7146 w 10000"/>
                <a:gd name="connsiteY269" fmla="*/ 4288 h 10000"/>
                <a:gd name="connsiteX270" fmla="*/ 7208 w 10000"/>
                <a:gd name="connsiteY270" fmla="*/ 4330 h 10000"/>
                <a:gd name="connsiteX271" fmla="*/ 7277 w 10000"/>
                <a:gd name="connsiteY271" fmla="*/ 4367 h 10000"/>
                <a:gd name="connsiteX272" fmla="*/ 7315 w 10000"/>
                <a:gd name="connsiteY272" fmla="*/ 4379 h 10000"/>
                <a:gd name="connsiteX273" fmla="*/ 7346 w 10000"/>
                <a:gd name="connsiteY273" fmla="*/ 4385 h 10000"/>
                <a:gd name="connsiteX274" fmla="*/ 7384 w 10000"/>
                <a:gd name="connsiteY274" fmla="*/ 4391 h 10000"/>
                <a:gd name="connsiteX275" fmla="*/ 7415 w 10000"/>
                <a:gd name="connsiteY275" fmla="*/ 4397 h 10000"/>
                <a:gd name="connsiteX276" fmla="*/ 7585 w 10000"/>
                <a:gd name="connsiteY276" fmla="*/ 5024 h 10000"/>
                <a:gd name="connsiteX277" fmla="*/ 7491 w 10000"/>
                <a:gd name="connsiteY277" fmla="*/ 5024 h 10000"/>
                <a:gd name="connsiteX278" fmla="*/ 7403 w 10000"/>
                <a:gd name="connsiteY278" fmla="*/ 5024 h 10000"/>
                <a:gd name="connsiteX279" fmla="*/ 7321 w 10000"/>
                <a:gd name="connsiteY279" fmla="*/ 5024 h 10000"/>
                <a:gd name="connsiteX280" fmla="*/ 7252 w 10000"/>
                <a:gd name="connsiteY280" fmla="*/ 5024 h 10000"/>
                <a:gd name="connsiteX281" fmla="*/ 7208 w 10000"/>
                <a:gd name="connsiteY281" fmla="*/ 5018 h 10000"/>
                <a:gd name="connsiteX282" fmla="*/ 7164 w 10000"/>
                <a:gd name="connsiteY282" fmla="*/ 4987 h 10000"/>
                <a:gd name="connsiteX283" fmla="*/ 7133 w 10000"/>
                <a:gd name="connsiteY283" fmla="*/ 4975 h 10000"/>
                <a:gd name="connsiteX284" fmla="*/ 7102 w 10000"/>
                <a:gd name="connsiteY284" fmla="*/ 4963 h 10000"/>
                <a:gd name="connsiteX285" fmla="*/ 7070 w 10000"/>
                <a:gd name="connsiteY285" fmla="*/ 4957 h 10000"/>
                <a:gd name="connsiteX286" fmla="*/ 7039 w 10000"/>
                <a:gd name="connsiteY286" fmla="*/ 4951 h 10000"/>
                <a:gd name="connsiteX287" fmla="*/ 7008 w 10000"/>
                <a:gd name="connsiteY287" fmla="*/ 4963 h 10000"/>
                <a:gd name="connsiteX288" fmla="*/ 6957 w 10000"/>
                <a:gd name="connsiteY288" fmla="*/ 4993 h 10000"/>
                <a:gd name="connsiteX289" fmla="*/ 6895 w 10000"/>
                <a:gd name="connsiteY289" fmla="*/ 5036 h 10000"/>
                <a:gd name="connsiteX290" fmla="*/ 6819 w 10000"/>
                <a:gd name="connsiteY290" fmla="*/ 5084 h 10000"/>
                <a:gd name="connsiteX291" fmla="*/ 6744 w 10000"/>
                <a:gd name="connsiteY291" fmla="*/ 5144 h 10000"/>
                <a:gd name="connsiteX292" fmla="*/ 6681 w 10000"/>
                <a:gd name="connsiteY292" fmla="*/ 5192 h 10000"/>
                <a:gd name="connsiteX293" fmla="*/ 6637 w 10000"/>
                <a:gd name="connsiteY293" fmla="*/ 5228 h 10000"/>
                <a:gd name="connsiteX294" fmla="*/ 6625 w 10000"/>
                <a:gd name="connsiteY294" fmla="*/ 5252 h 10000"/>
                <a:gd name="connsiteX295" fmla="*/ 6750 w 10000"/>
                <a:gd name="connsiteY295" fmla="*/ 5324 h 10000"/>
                <a:gd name="connsiteX296" fmla="*/ 6744 w 10000"/>
                <a:gd name="connsiteY296" fmla="*/ 5361 h 10000"/>
                <a:gd name="connsiteX297" fmla="*/ 6725 w 10000"/>
                <a:gd name="connsiteY297" fmla="*/ 5403 h 10000"/>
                <a:gd name="connsiteX298" fmla="*/ 6706 w 10000"/>
                <a:gd name="connsiteY298" fmla="*/ 5434 h 10000"/>
                <a:gd name="connsiteX299" fmla="*/ 6688 w 10000"/>
                <a:gd name="connsiteY299" fmla="*/ 5476 h 10000"/>
                <a:gd name="connsiteX300" fmla="*/ 6637 w 10000"/>
                <a:gd name="connsiteY300" fmla="*/ 5530 h 10000"/>
                <a:gd name="connsiteX301" fmla="*/ 6581 w 10000"/>
                <a:gd name="connsiteY301" fmla="*/ 5584 h 10000"/>
                <a:gd name="connsiteX302" fmla="*/ 6518 w 10000"/>
                <a:gd name="connsiteY302" fmla="*/ 5632 h 10000"/>
                <a:gd name="connsiteX303" fmla="*/ 6443 w 10000"/>
                <a:gd name="connsiteY303" fmla="*/ 5675 h 10000"/>
                <a:gd name="connsiteX304" fmla="*/ 6374 w 10000"/>
                <a:gd name="connsiteY304" fmla="*/ 5711 h 10000"/>
                <a:gd name="connsiteX305" fmla="*/ 6299 w 10000"/>
                <a:gd name="connsiteY305" fmla="*/ 5746 h 10000"/>
                <a:gd name="connsiteX306" fmla="*/ 6223 w 10000"/>
                <a:gd name="connsiteY306" fmla="*/ 5794 h 10000"/>
                <a:gd name="connsiteX307" fmla="*/ 6154 w 10000"/>
                <a:gd name="connsiteY307" fmla="*/ 5830 h 10000"/>
                <a:gd name="connsiteX308" fmla="*/ 6092 w 10000"/>
                <a:gd name="connsiteY308" fmla="*/ 5873 h 10000"/>
                <a:gd name="connsiteX309" fmla="*/ 6035 w 10000"/>
                <a:gd name="connsiteY309" fmla="*/ 5921 h 10000"/>
                <a:gd name="connsiteX310" fmla="*/ 6004 w 10000"/>
                <a:gd name="connsiteY310" fmla="*/ 5945 h 10000"/>
                <a:gd name="connsiteX311" fmla="*/ 5985 w 10000"/>
                <a:gd name="connsiteY311" fmla="*/ 5969 h 10000"/>
                <a:gd name="connsiteX312" fmla="*/ 5966 w 10000"/>
                <a:gd name="connsiteY312" fmla="*/ 5999 h 10000"/>
                <a:gd name="connsiteX313" fmla="*/ 5947 w 10000"/>
                <a:gd name="connsiteY313" fmla="*/ 6029 h 10000"/>
                <a:gd name="connsiteX314" fmla="*/ 5935 w 10000"/>
                <a:gd name="connsiteY314" fmla="*/ 6067 h 10000"/>
                <a:gd name="connsiteX315" fmla="*/ 5922 w 10000"/>
                <a:gd name="connsiteY315" fmla="*/ 6097 h 10000"/>
                <a:gd name="connsiteX316" fmla="*/ 5916 w 10000"/>
                <a:gd name="connsiteY316" fmla="*/ 6139 h 10000"/>
                <a:gd name="connsiteX317" fmla="*/ 5916 w 10000"/>
                <a:gd name="connsiteY317" fmla="*/ 6181 h 10000"/>
                <a:gd name="connsiteX318" fmla="*/ 5859 w 10000"/>
                <a:gd name="connsiteY318" fmla="*/ 6199 h 10000"/>
                <a:gd name="connsiteX319" fmla="*/ 5809 w 10000"/>
                <a:gd name="connsiteY319" fmla="*/ 6217 h 10000"/>
                <a:gd name="connsiteX320" fmla="*/ 5765 w 10000"/>
                <a:gd name="connsiteY320" fmla="*/ 6240 h 10000"/>
                <a:gd name="connsiteX321" fmla="*/ 5721 w 10000"/>
                <a:gd name="connsiteY321" fmla="*/ 6264 h 10000"/>
                <a:gd name="connsiteX322" fmla="*/ 5634 w 10000"/>
                <a:gd name="connsiteY322" fmla="*/ 6325 h 10000"/>
                <a:gd name="connsiteX323" fmla="*/ 5558 w 10000"/>
                <a:gd name="connsiteY323" fmla="*/ 6397 h 10000"/>
                <a:gd name="connsiteX324" fmla="*/ 5420 w 10000"/>
                <a:gd name="connsiteY324" fmla="*/ 6560 h 10000"/>
                <a:gd name="connsiteX325" fmla="*/ 5289 w 10000"/>
                <a:gd name="connsiteY325" fmla="*/ 6734 h 10000"/>
                <a:gd name="connsiteX326" fmla="*/ 5220 w 10000"/>
                <a:gd name="connsiteY326" fmla="*/ 6825 h 10000"/>
                <a:gd name="connsiteX327" fmla="*/ 5151 w 10000"/>
                <a:gd name="connsiteY327" fmla="*/ 6903 h 10000"/>
                <a:gd name="connsiteX328" fmla="*/ 5075 w 10000"/>
                <a:gd name="connsiteY328" fmla="*/ 6976 h 10000"/>
                <a:gd name="connsiteX329" fmla="*/ 4994 w 10000"/>
                <a:gd name="connsiteY329" fmla="*/ 7042 h 10000"/>
                <a:gd name="connsiteX330" fmla="*/ 4944 w 10000"/>
                <a:gd name="connsiteY330" fmla="*/ 7072 h 10000"/>
                <a:gd name="connsiteX331" fmla="*/ 4893 w 10000"/>
                <a:gd name="connsiteY331" fmla="*/ 7096 h 10000"/>
                <a:gd name="connsiteX332" fmla="*/ 4849 w 10000"/>
                <a:gd name="connsiteY332" fmla="*/ 7120 h 10000"/>
                <a:gd name="connsiteX333" fmla="*/ 4793 w 10000"/>
                <a:gd name="connsiteY333" fmla="*/ 7145 h 10000"/>
                <a:gd name="connsiteX334" fmla="*/ 4730 w 10000"/>
                <a:gd name="connsiteY334" fmla="*/ 7163 h 10000"/>
                <a:gd name="connsiteX335" fmla="*/ 4674 w 10000"/>
                <a:gd name="connsiteY335" fmla="*/ 7175 h 10000"/>
                <a:gd name="connsiteX336" fmla="*/ 4605 w 10000"/>
                <a:gd name="connsiteY336" fmla="*/ 7181 h 10000"/>
                <a:gd name="connsiteX337" fmla="*/ 4536 w 10000"/>
                <a:gd name="connsiteY337" fmla="*/ 7181 h 10000"/>
                <a:gd name="connsiteX338" fmla="*/ 4536 w 10000"/>
                <a:gd name="connsiteY338" fmla="*/ 7234 h 10000"/>
                <a:gd name="connsiteX339" fmla="*/ 4536 w 10000"/>
                <a:gd name="connsiteY339" fmla="*/ 7288 h 10000"/>
                <a:gd name="connsiteX340" fmla="*/ 4536 w 10000"/>
                <a:gd name="connsiteY340" fmla="*/ 7330 h 10000"/>
                <a:gd name="connsiteX341" fmla="*/ 4536 w 10000"/>
                <a:gd name="connsiteY341" fmla="*/ 7367 h 10000"/>
                <a:gd name="connsiteX342" fmla="*/ 4536 w 10000"/>
                <a:gd name="connsiteY342" fmla="*/ 7433 h 10000"/>
                <a:gd name="connsiteX343" fmla="*/ 4536 w 10000"/>
                <a:gd name="connsiteY343" fmla="*/ 7536 h 10000"/>
                <a:gd name="connsiteX344" fmla="*/ 4536 w 10000"/>
                <a:gd name="connsiteY344" fmla="*/ 7645 h 10000"/>
                <a:gd name="connsiteX345" fmla="*/ 4548 w 10000"/>
                <a:gd name="connsiteY345" fmla="*/ 7758 h 10000"/>
                <a:gd name="connsiteX346" fmla="*/ 4561 w 10000"/>
                <a:gd name="connsiteY346" fmla="*/ 7819 h 10000"/>
                <a:gd name="connsiteX347" fmla="*/ 4573 w 10000"/>
                <a:gd name="connsiteY347" fmla="*/ 7873 h 10000"/>
                <a:gd name="connsiteX348" fmla="*/ 4586 w 10000"/>
                <a:gd name="connsiteY348" fmla="*/ 7921 h 10000"/>
                <a:gd name="connsiteX349" fmla="*/ 4611 w 10000"/>
                <a:gd name="connsiteY349" fmla="*/ 7963 h 10000"/>
                <a:gd name="connsiteX350" fmla="*/ 4636 w 10000"/>
                <a:gd name="connsiteY350" fmla="*/ 8006 h 10000"/>
                <a:gd name="connsiteX351" fmla="*/ 4668 w 10000"/>
                <a:gd name="connsiteY351" fmla="*/ 8036 h 10000"/>
                <a:gd name="connsiteX352" fmla="*/ 4705 w 10000"/>
                <a:gd name="connsiteY352" fmla="*/ 8060 h 10000"/>
                <a:gd name="connsiteX353" fmla="*/ 4749 w 10000"/>
                <a:gd name="connsiteY353" fmla="*/ 8072 h 10000"/>
                <a:gd name="connsiteX354" fmla="*/ 4711 w 10000"/>
                <a:gd name="connsiteY354" fmla="*/ 8168 h 10000"/>
                <a:gd name="connsiteX355" fmla="*/ 4668 w 10000"/>
                <a:gd name="connsiteY355" fmla="*/ 8253 h 10000"/>
                <a:gd name="connsiteX356" fmla="*/ 4617 w 10000"/>
                <a:gd name="connsiteY356" fmla="*/ 8331 h 10000"/>
                <a:gd name="connsiteX357" fmla="*/ 4573 w 10000"/>
                <a:gd name="connsiteY357" fmla="*/ 8403 h 10000"/>
                <a:gd name="connsiteX358" fmla="*/ 4523 w 10000"/>
                <a:gd name="connsiteY358" fmla="*/ 8488 h 10000"/>
                <a:gd name="connsiteX359" fmla="*/ 4492 w 10000"/>
                <a:gd name="connsiteY359" fmla="*/ 8566 h 10000"/>
                <a:gd name="connsiteX360" fmla="*/ 4473 w 10000"/>
                <a:gd name="connsiteY360" fmla="*/ 8602 h 10000"/>
                <a:gd name="connsiteX361" fmla="*/ 4467 w 10000"/>
                <a:gd name="connsiteY361" fmla="*/ 8645 h 10000"/>
                <a:gd name="connsiteX362" fmla="*/ 4460 w 10000"/>
                <a:gd name="connsiteY362" fmla="*/ 8693 h 10000"/>
                <a:gd name="connsiteX363" fmla="*/ 4454 w 10000"/>
                <a:gd name="connsiteY363" fmla="*/ 8735 h 10000"/>
                <a:gd name="connsiteX364" fmla="*/ 4460 w 10000"/>
                <a:gd name="connsiteY364" fmla="*/ 8752 h 10000"/>
                <a:gd name="connsiteX365" fmla="*/ 4467 w 10000"/>
                <a:gd name="connsiteY365" fmla="*/ 8764 h 10000"/>
                <a:gd name="connsiteX366" fmla="*/ 4479 w 10000"/>
                <a:gd name="connsiteY366" fmla="*/ 8776 h 10000"/>
                <a:gd name="connsiteX367" fmla="*/ 4504 w 10000"/>
                <a:gd name="connsiteY367" fmla="*/ 8788 h 10000"/>
                <a:gd name="connsiteX368" fmla="*/ 4542 w 10000"/>
                <a:gd name="connsiteY368" fmla="*/ 8812 h 10000"/>
                <a:gd name="connsiteX369" fmla="*/ 4580 w 10000"/>
                <a:gd name="connsiteY369" fmla="*/ 8818 h 10000"/>
                <a:gd name="connsiteX370" fmla="*/ 4580 w 10000"/>
                <a:gd name="connsiteY370" fmla="*/ 9036 h 10000"/>
                <a:gd name="connsiteX371" fmla="*/ 4529 w 10000"/>
                <a:gd name="connsiteY371" fmla="*/ 9121 h 10000"/>
                <a:gd name="connsiteX372" fmla="*/ 4492 w 10000"/>
                <a:gd name="connsiteY372" fmla="*/ 9211 h 10000"/>
                <a:gd name="connsiteX373" fmla="*/ 4460 w 10000"/>
                <a:gd name="connsiteY373" fmla="*/ 9246 h 10000"/>
                <a:gd name="connsiteX374" fmla="*/ 4429 w 10000"/>
                <a:gd name="connsiteY374" fmla="*/ 9271 h 10000"/>
                <a:gd name="connsiteX375" fmla="*/ 4404 w 10000"/>
                <a:gd name="connsiteY375" fmla="*/ 9283 h 10000"/>
                <a:gd name="connsiteX376" fmla="*/ 4385 w 10000"/>
                <a:gd name="connsiteY376" fmla="*/ 9289 h 10000"/>
                <a:gd name="connsiteX377" fmla="*/ 4360 w 10000"/>
                <a:gd name="connsiteY377" fmla="*/ 9295 h 10000"/>
                <a:gd name="connsiteX378" fmla="*/ 4329 w 10000"/>
                <a:gd name="connsiteY378" fmla="*/ 9295 h 10000"/>
                <a:gd name="connsiteX379" fmla="*/ 4329 w 10000"/>
                <a:gd name="connsiteY379" fmla="*/ 9343 h 10000"/>
                <a:gd name="connsiteX380" fmla="*/ 4335 w 10000"/>
                <a:gd name="connsiteY380" fmla="*/ 9403 h 10000"/>
                <a:gd name="connsiteX381" fmla="*/ 4348 w 10000"/>
                <a:gd name="connsiteY381" fmla="*/ 9433 h 10000"/>
                <a:gd name="connsiteX382" fmla="*/ 4354 w 10000"/>
                <a:gd name="connsiteY382" fmla="*/ 9457 h 10000"/>
                <a:gd name="connsiteX383" fmla="*/ 4360 w 10000"/>
                <a:gd name="connsiteY383" fmla="*/ 9476 h 10000"/>
                <a:gd name="connsiteX384" fmla="*/ 4373 w 10000"/>
                <a:gd name="connsiteY384" fmla="*/ 9482 h 10000"/>
                <a:gd name="connsiteX385" fmla="*/ 4210 w 10000"/>
                <a:gd name="connsiteY385" fmla="*/ 9608 h 10000"/>
                <a:gd name="connsiteX386" fmla="*/ 4072 w 10000"/>
                <a:gd name="connsiteY386" fmla="*/ 9712 h 10000"/>
                <a:gd name="connsiteX387" fmla="*/ 4009 w 10000"/>
                <a:gd name="connsiteY387" fmla="*/ 9771 h 10000"/>
                <a:gd name="connsiteX388" fmla="*/ 3952 w 10000"/>
                <a:gd name="connsiteY388" fmla="*/ 9837 h 10000"/>
                <a:gd name="connsiteX389" fmla="*/ 3890 w 10000"/>
                <a:gd name="connsiteY389" fmla="*/ 9916 h 10000"/>
                <a:gd name="connsiteX390" fmla="*/ 3833 w 10000"/>
                <a:gd name="connsiteY390" fmla="*/ 10000 h 10000"/>
                <a:gd name="connsiteX391" fmla="*/ 3733 w 10000"/>
                <a:gd name="connsiteY391" fmla="*/ 9958 h 10000"/>
                <a:gd name="connsiteX392" fmla="*/ 3664 w 10000"/>
                <a:gd name="connsiteY392" fmla="*/ 9916 h 10000"/>
                <a:gd name="connsiteX393" fmla="*/ 3607 w 10000"/>
                <a:gd name="connsiteY393" fmla="*/ 9873 h 10000"/>
                <a:gd name="connsiteX394" fmla="*/ 3563 w 10000"/>
                <a:gd name="connsiteY394" fmla="*/ 9825 h 10000"/>
                <a:gd name="connsiteX395" fmla="*/ 3532 w 10000"/>
                <a:gd name="connsiteY395" fmla="*/ 9765 h 10000"/>
                <a:gd name="connsiteX396" fmla="*/ 3513 w 10000"/>
                <a:gd name="connsiteY396" fmla="*/ 9706 h 10000"/>
                <a:gd name="connsiteX397" fmla="*/ 3482 w 10000"/>
                <a:gd name="connsiteY397" fmla="*/ 9632 h 10000"/>
                <a:gd name="connsiteX398" fmla="*/ 3457 w 10000"/>
                <a:gd name="connsiteY398" fmla="*/ 9560 h 10000"/>
                <a:gd name="connsiteX399" fmla="*/ 3400 w 10000"/>
                <a:gd name="connsiteY399" fmla="*/ 9421 h 10000"/>
                <a:gd name="connsiteX400" fmla="*/ 3325 w 10000"/>
                <a:gd name="connsiteY400" fmla="*/ 9289 h 10000"/>
                <a:gd name="connsiteX401" fmla="*/ 3237 w 10000"/>
                <a:gd name="connsiteY401" fmla="*/ 9151 h 10000"/>
                <a:gd name="connsiteX402" fmla="*/ 3143 w 10000"/>
                <a:gd name="connsiteY402" fmla="*/ 9006 h 10000"/>
                <a:gd name="connsiteX403" fmla="*/ 3049 w 10000"/>
                <a:gd name="connsiteY403" fmla="*/ 8873 h 10000"/>
                <a:gd name="connsiteX404" fmla="*/ 2967 w 10000"/>
                <a:gd name="connsiteY404" fmla="*/ 8741 h 10000"/>
                <a:gd name="connsiteX405" fmla="*/ 2892 w 10000"/>
                <a:gd name="connsiteY405" fmla="*/ 8621 h 10000"/>
                <a:gd name="connsiteX406" fmla="*/ 2829 w 10000"/>
                <a:gd name="connsiteY406" fmla="*/ 8518 h 10000"/>
                <a:gd name="connsiteX407" fmla="*/ 2773 w 10000"/>
                <a:gd name="connsiteY407" fmla="*/ 8403 h 10000"/>
                <a:gd name="connsiteX408" fmla="*/ 2735 w 10000"/>
                <a:gd name="connsiteY408" fmla="*/ 8301 h 10000"/>
                <a:gd name="connsiteX409" fmla="*/ 2698 w 10000"/>
                <a:gd name="connsiteY409" fmla="*/ 8193 h 10000"/>
                <a:gd name="connsiteX410" fmla="*/ 2666 w 10000"/>
                <a:gd name="connsiteY410" fmla="*/ 8084 h 10000"/>
                <a:gd name="connsiteX411" fmla="*/ 2629 w 10000"/>
                <a:gd name="connsiteY411" fmla="*/ 7975 h 10000"/>
                <a:gd name="connsiteX412" fmla="*/ 2597 w 10000"/>
                <a:gd name="connsiteY412" fmla="*/ 7867 h 10000"/>
                <a:gd name="connsiteX413" fmla="*/ 2553 w 10000"/>
                <a:gd name="connsiteY413" fmla="*/ 7746 h 10000"/>
                <a:gd name="connsiteX414" fmla="*/ 2497 w 10000"/>
                <a:gd name="connsiteY414" fmla="*/ 7627 h 10000"/>
                <a:gd name="connsiteX415" fmla="*/ 2359 w 10000"/>
                <a:gd name="connsiteY415" fmla="*/ 7433 h 10000"/>
                <a:gd name="connsiteX416" fmla="*/ 2208 w 10000"/>
                <a:gd name="connsiteY416" fmla="*/ 7252 h 10000"/>
                <a:gd name="connsiteX417" fmla="*/ 2139 w 10000"/>
                <a:gd name="connsiteY417" fmla="*/ 7169 h 10000"/>
                <a:gd name="connsiteX418" fmla="*/ 2070 w 10000"/>
                <a:gd name="connsiteY418" fmla="*/ 7072 h 10000"/>
                <a:gd name="connsiteX419" fmla="*/ 2008 w 10000"/>
                <a:gd name="connsiteY419" fmla="*/ 6982 h 10000"/>
                <a:gd name="connsiteX420" fmla="*/ 1957 w 10000"/>
                <a:gd name="connsiteY420" fmla="*/ 6885 h 10000"/>
                <a:gd name="connsiteX421" fmla="*/ 1888 w 10000"/>
                <a:gd name="connsiteY421" fmla="*/ 6650 h 10000"/>
                <a:gd name="connsiteX422" fmla="*/ 1832 w 10000"/>
                <a:gd name="connsiteY422" fmla="*/ 6433 h 10000"/>
                <a:gd name="connsiteX423" fmla="*/ 1782 w 10000"/>
                <a:gd name="connsiteY423" fmla="*/ 6223 h 10000"/>
                <a:gd name="connsiteX424" fmla="*/ 1757 w 10000"/>
                <a:gd name="connsiteY424" fmla="*/ 6011 h 10000"/>
                <a:gd name="connsiteX425" fmla="*/ 1725 w 10000"/>
                <a:gd name="connsiteY425" fmla="*/ 5806 h 10000"/>
                <a:gd name="connsiteX426" fmla="*/ 1713 w 10000"/>
                <a:gd name="connsiteY426" fmla="*/ 5590 h 10000"/>
                <a:gd name="connsiteX427" fmla="*/ 1706 w 10000"/>
                <a:gd name="connsiteY427" fmla="*/ 5367 h 10000"/>
                <a:gd name="connsiteX428" fmla="*/ 1706 w 10000"/>
                <a:gd name="connsiteY428" fmla="*/ 5144 h 10000"/>
                <a:gd name="connsiteX429" fmla="*/ 1681 w 10000"/>
                <a:gd name="connsiteY429" fmla="*/ 5138 h 10000"/>
                <a:gd name="connsiteX430" fmla="*/ 1650 w 10000"/>
                <a:gd name="connsiteY430" fmla="*/ 5132 h 10000"/>
                <a:gd name="connsiteX431" fmla="*/ 1625 w 10000"/>
                <a:gd name="connsiteY431" fmla="*/ 5126 h 10000"/>
                <a:gd name="connsiteX432" fmla="*/ 1606 w 10000"/>
                <a:gd name="connsiteY432" fmla="*/ 5102 h 10000"/>
                <a:gd name="connsiteX433" fmla="*/ 1581 w 10000"/>
                <a:gd name="connsiteY433" fmla="*/ 5090 h 10000"/>
                <a:gd name="connsiteX434" fmla="*/ 1568 w 10000"/>
                <a:gd name="connsiteY434" fmla="*/ 5072 h 10000"/>
                <a:gd name="connsiteX435" fmla="*/ 1550 w 10000"/>
                <a:gd name="connsiteY435" fmla="*/ 5048 h 10000"/>
                <a:gd name="connsiteX436" fmla="*/ 1543 w 10000"/>
                <a:gd name="connsiteY436" fmla="*/ 5024 h 10000"/>
                <a:gd name="connsiteX437" fmla="*/ 1518 w 10000"/>
                <a:gd name="connsiteY437" fmla="*/ 4975 h 10000"/>
                <a:gd name="connsiteX438" fmla="*/ 1506 w 10000"/>
                <a:gd name="connsiteY438" fmla="*/ 4921 h 10000"/>
                <a:gd name="connsiteX439" fmla="*/ 1499 w 10000"/>
                <a:gd name="connsiteY439" fmla="*/ 4861 h 10000"/>
                <a:gd name="connsiteX440" fmla="*/ 1499 w 10000"/>
                <a:gd name="connsiteY440" fmla="*/ 4807 h 10000"/>
                <a:gd name="connsiteX441" fmla="*/ 1443 w 10000"/>
                <a:gd name="connsiteY441" fmla="*/ 4843 h 10000"/>
                <a:gd name="connsiteX442" fmla="*/ 1405 w 10000"/>
                <a:gd name="connsiteY442" fmla="*/ 4885 h 10000"/>
                <a:gd name="connsiteX443" fmla="*/ 1361 w 10000"/>
                <a:gd name="connsiteY443" fmla="*/ 4927 h 10000"/>
                <a:gd name="connsiteX444" fmla="*/ 1317 w 10000"/>
                <a:gd name="connsiteY444" fmla="*/ 4975 h 10000"/>
                <a:gd name="connsiteX445" fmla="*/ 1261 w 10000"/>
                <a:gd name="connsiteY445" fmla="*/ 5072 h 10000"/>
                <a:gd name="connsiteX446" fmla="*/ 1205 w 10000"/>
                <a:gd name="connsiteY446" fmla="*/ 5174 h 10000"/>
                <a:gd name="connsiteX447" fmla="*/ 1167 w 10000"/>
                <a:gd name="connsiteY447" fmla="*/ 5217 h 10000"/>
                <a:gd name="connsiteX448" fmla="*/ 1142 w 10000"/>
                <a:gd name="connsiteY448" fmla="*/ 5258 h 10000"/>
                <a:gd name="connsiteX449" fmla="*/ 1104 w 10000"/>
                <a:gd name="connsiteY449" fmla="*/ 5300 h 10000"/>
                <a:gd name="connsiteX450" fmla="*/ 1073 w 10000"/>
                <a:gd name="connsiteY450" fmla="*/ 5330 h 10000"/>
                <a:gd name="connsiteX451" fmla="*/ 1029 w 10000"/>
                <a:gd name="connsiteY451" fmla="*/ 5361 h 10000"/>
                <a:gd name="connsiteX452" fmla="*/ 985 w 10000"/>
                <a:gd name="connsiteY452" fmla="*/ 5379 h 10000"/>
                <a:gd name="connsiteX453" fmla="*/ 928 w 10000"/>
                <a:gd name="connsiteY453" fmla="*/ 5391 h 10000"/>
                <a:gd name="connsiteX454" fmla="*/ 872 w 10000"/>
                <a:gd name="connsiteY454" fmla="*/ 5397 h 10000"/>
                <a:gd name="connsiteX455" fmla="*/ 841 w 10000"/>
                <a:gd name="connsiteY455" fmla="*/ 5391 h 10000"/>
                <a:gd name="connsiteX456" fmla="*/ 797 w 10000"/>
                <a:gd name="connsiteY456" fmla="*/ 5379 h 10000"/>
                <a:gd name="connsiteX457" fmla="*/ 753 w 10000"/>
                <a:gd name="connsiteY457" fmla="*/ 5361 h 10000"/>
                <a:gd name="connsiteX458" fmla="*/ 709 w 10000"/>
                <a:gd name="connsiteY458" fmla="*/ 5330 h 10000"/>
                <a:gd name="connsiteX459" fmla="*/ 659 w 10000"/>
                <a:gd name="connsiteY459" fmla="*/ 5294 h 10000"/>
                <a:gd name="connsiteX460" fmla="*/ 609 w 10000"/>
                <a:gd name="connsiteY460" fmla="*/ 5258 h 10000"/>
                <a:gd name="connsiteX461" fmla="*/ 565 w 10000"/>
                <a:gd name="connsiteY461" fmla="*/ 5217 h 10000"/>
                <a:gd name="connsiteX462" fmla="*/ 514 w 10000"/>
                <a:gd name="connsiteY462" fmla="*/ 5168 h 10000"/>
                <a:gd name="connsiteX463" fmla="*/ 471 w 10000"/>
                <a:gd name="connsiteY463" fmla="*/ 5120 h 10000"/>
                <a:gd name="connsiteX464" fmla="*/ 433 w 10000"/>
                <a:gd name="connsiteY464" fmla="*/ 5066 h 10000"/>
                <a:gd name="connsiteX465" fmla="*/ 389 w 10000"/>
                <a:gd name="connsiteY465" fmla="*/ 5012 h 10000"/>
                <a:gd name="connsiteX466" fmla="*/ 358 w 10000"/>
                <a:gd name="connsiteY466" fmla="*/ 4957 h 10000"/>
                <a:gd name="connsiteX467" fmla="*/ 326 w 10000"/>
                <a:gd name="connsiteY467" fmla="*/ 4909 h 10000"/>
                <a:gd name="connsiteX468" fmla="*/ 307 w 10000"/>
                <a:gd name="connsiteY468" fmla="*/ 4861 h 10000"/>
                <a:gd name="connsiteX469" fmla="*/ 295 w 10000"/>
                <a:gd name="connsiteY469" fmla="*/ 4813 h 10000"/>
                <a:gd name="connsiteX470" fmla="*/ 289 w 10000"/>
                <a:gd name="connsiteY470" fmla="*/ 4764 h 10000"/>
                <a:gd name="connsiteX471" fmla="*/ 320 w 10000"/>
                <a:gd name="connsiteY471" fmla="*/ 4746 h 10000"/>
                <a:gd name="connsiteX472" fmla="*/ 395 w 10000"/>
                <a:gd name="connsiteY472" fmla="*/ 4711 h 10000"/>
                <a:gd name="connsiteX473" fmla="*/ 483 w 10000"/>
                <a:gd name="connsiteY473" fmla="*/ 4675 h 10000"/>
                <a:gd name="connsiteX474" fmla="*/ 533 w 10000"/>
                <a:gd name="connsiteY474" fmla="*/ 4657 h 10000"/>
                <a:gd name="connsiteX475" fmla="*/ 483 w 10000"/>
                <a:gd name="connsiteY475" fmla="*/ 4657 h 10000"/>
                <a:gd name="connsiteX476" fmla="*/ 420 w 10000"/>
                <a:gd name="connsiteY476" fmla="*/ 4651 h 10000"/>
                <a:gd name="connsiteX477" fmla="*/ 370 w 10000"/>
                <a:gd name="connsiteY477" fmla="*/ 4639 h 10000"/>
                <a:gd name="connsiteX478" fmla="*/ 320 w 10000"/>
                <a:gd name="connsiteY478" fmla="*/ 4633 h 10000"/>
                <a:gd name="connsiteX479" fmla="*/ 276 w 10000"/>
                <a:gd name="connsiteY479" fmla="*/ 4614 h 10000"/>
                <a:gd name="connsiteX480" fmla="*/ 232 w 10000"/>
                <a:gd name="connsiteY480" fmla="*/ 4602 h 10000"/>
                <a:gd name="connsiteX481" fmla="*/ 188 w 10000"/>
                <a:gd name="connsiteY481" fmla="*/ 4584 h 10000"/>
                <a:gd name="connsiteX482" fmla="*/ 157 w 10000"/>
                <a:gd name="connsiteY482" fmla="*/ 4559 h 10000"/>
                <a:gd name="connsiteX483" fmla="*/ 132 w 10000"/>
                <a:gd name="connsiteY483" fmla="*/ 4535 h 10000"/>
                <a:gd name="connsiteX484" fmla="*/ 100 w 10000"/>
                <a:gd name="connsiteY484" fmla="*/ 4511 h 10000"/>
                <a:gd name="connsiteX485" fmla="*/ 75 w 10000"/>
                <a:gd name="connsiteY485" fmla="*/ 4481 h 10000"/>
                <a:gd name="connsiteX486" fmla="*/ 50 w 10000"/>
                <a:gd name="connsiteY486" fmla="*/ 4457 h 10000"/>
                <a:gd name="connsiteX487" fmla="*/ 19 w 10000"/>
                <a:gd name="connsiteY487" fmla="*/ 4385 h 10000"/>
                <a:gd name="connsiteX488" fmla="*/ 0 w 10000"/>
                <a:gd name="connsiteY488" fmla="*/ 4318 h 10000"/>
                <a:gd name="connsiteX489" fmla="*/ 63 w 10000"/>
                <a:gd name="connsiteY489" fmla="*/ 4270 h 10000"/>
                <a:gd name="connsiteX490" fmla="*/ 132 w 10000"/>
                <a:gd name="connsiteY490" fmla="*/ 4234 h 10000"/>
                <a:gd name="connsiteX491" fmla="*/ 201 w 10000"/>
                <a:gd name="connsiteY491" fmla="*/ 4205 h 10000"/>
                <a:gd name="connsiteX492" fmla="*/ 276 w 10000"/>
                <a:gd name="connsiteY492" fmla="*/ 4181 h 10000"/>
                <a:gd name="connsiteX493" fmla="*/ 420 w 10000"/>
                <a:gd name="connsiteY493" fmla="*/ 4151 h 10000"/>
                <a:gd name="connsiteX494" fmla="*/ 565 w 10000"/>
                <a:gd name="connsiteY494" fmla="*/ 4126 h 10000"/>
                <a:gd name="connsiteX495" fmla="*/ 640 w 10000"/>
                <a:gd name="connsiteY495" fmla="*/ 4114 h 10000"/>
                <a:gd name="connsiteX496" fmla="*/ 709 w 10000"/>
                <a:gd name="connsiteY496" fmla="*/ 4090 h 10000"/>
                <a:gd name="connsiteX497" fmla="*/ 772 w 10000"/>
                <a:gd name="connsiteY497" fmla="*/ 4072 h 10000"/>
                <a:gd name="connsiteX498" fmla="*/ 834 w 10000"/>
                <a:gd name="connsiteY498" fmla="*/ 4042 h 10000"/>
                <a:gd name="connsiteX499" fmla="*/ 891 w 10000"/>
                <a:gd name="connsiteY499" fmla="*/ 4012 h 10000"/>
                <a:gd name="connsiteX500" fmla="*/ 947 w 10000"/>
                <a:gd name="connsiteY500" fmla="*/ 3964 h 10000"/>
                <a:gd name="connsiteX501" fmla="*/ 997 w 10000"/>
                <a:gd name="connsiteY501" fmla="*/ 3909 h 10000"/>
                <a:gd name="connsiteX502" fmla="*/ 1035 w 10000"/>
                <a:gd name="connsiteY502" fmla="*/ 3842 h 10000"/>
                <a:gd name="connsiteX503" fmla="*/ 1010 w 10000"/>
                <a:gd name="connsiteY503" fmla="*/ 3830 h 10000"/>
                <a:gd name="connsiteX504" fmla="*/ 985 w 10000"/>
                <a:gd name="connsiteY504" fmla="*/ 3812 h 10000"/>
                <a:gd name="connsiteX505" fmla="*/ 947 w 10000"/>
                <a:gd name="connsiteY505" fmla="*/ 3788 h 10000"/>
                <a:gd name="connsiteX506" fmla="*/ 910 w 10000"/>
                <a:gd name="connsiteY506" fmla="*/ 3752 h 10000"/>
                <a:gd name="connsiteX507" fmla="*/ 822 w 10000"/>
                <a:gd name="connsiteY507" fmla="*/ 3680 h 10000"/>
                <a:gd name="connsiteX508" fmla="*/ 740 w 10000"/>
                <a:gd name="connsiteY508" fmla="*/ 3596 h 10000"/>
                <a:gd name="connsiteX509" fmla="*/ 665 w 10000"/>
                <a:gd name="connsiteY509" fmla="*/ 3505 h 10000"/>
                <a:gd name="connsiteX510" fmla="*/ 596 w 10000"/>
                <a:gd name="connsiteY510" fmla="*/ 3409 h 10000"/>
                <a:gd name="connsiteX511" fmla="*/ 577 w 10000"/>
                <a:gd name="connsiteY511" fmla="*/ 3367 h 10000"/>
                <a:gd name="connsiteX512" fmla="*/ 558 w 10000"/>
                <a:gd name="connsiteY512" fmla="*/ 3325 h 10000"/>
                <a:gd name="connsiteX513" fmla="*/ 540 w 10000"/>
                <a:gd name="connsiteY513" fmla="*/ 3282 h 10000"/>
                <a:gd name="connsiteX514" fmla="*/ 533 w 10000"/>
                <a:gd name="connsiteY514" fmla="*/ 3246 h 10000"/>
                <a:gd name="connsiteX515" fmla="*/ 508 w 10000"/>
                <a:gd name="connsiteY515" fmla="*/ 3240 h 10000"/>
                <a:gd name="connsiteX516" fmla="*/ 483 w 10000"/>
                <a:gd name="connsiteY516" fmla="*/ 3234 h 10000"/>
                <a:gd name="connsiteX517" fmla="*/ 458 w 10000"/>
                <a:gd name="connsiteY517" fmla="*/ 3222 h 10000"/>
                <a:gd name="connsiteX518" fmla="*/ 439 w 10000"/>
                <a:gd name="connsiteY518" fmla="*/ 3199 h 10000"/>
                <a:gd name="connsiteX519" fmla="*/ 402 w 10000"/>
                <a:gd name="connsiteY519" fmla="*/ 3156 h 10000"/>
                <a:gd name="connsiteX520" fmla="*/ 370 w 10000"/>
                <a:gd name="connsiteY520" fmla="*/ 3096 h 10000"/>
                <a:gd name="connsiteX521" fmla="*/ 370 w 10000"/>
                <a:gd name="connsiteY521" fmla="*/ 2951 h 10000"/>
                <a:gd name="connsiteX522" fmla="*/ 458 w 10000"/>
                <a:gd name="connsiteY522" fmla="*/ 2945 h 10000"/>
                <a:gd name="connsiteX523" fmla="*/ 540 w 10000"/>
                <a:gd name="connsiteY523" fmla="*/ 2939 h 10000"/>
                <a:gd name="connsiteX524" fmla="*/ 615 w 10000"/>
                <a:gd name="connsiteY524" fmla="*/ 2927 h 10000"/>
                <a:gd name="connsiteX525" fmla="*/ 684 w 10000"/>
                <a:gd name="connsiteY525" fmla="*/ 2903 h 10000"/>
                <a:gd name="connsiteX526" fmla="*/ 747 w 10000"/>
                <a:gd name="connsiteY526" fmla="*/ 2885 h 10000"/>
                <a:gd name="connsiteX527" fmla="*/ 809 w 10000"/>
                <a:gd name="connsiteY527" fmla="*/ 2854 h 10000"/>
                <a:gd name="connsiteX528" fmla="*/ 866 w 10000"/>
                <a:gd name="connsiteY528" fmla="*/ 2824 h 10000"/>
                <a:gd name="connsiteX529" fmla="*/ 922 w 10000"/>
                <a:gd name="connsiteY529" fmla="*/ 2788 h 10000"/>
                <a:gd name="connsiteX530" fmla="*/ 966 w 10000"/>
                <a:gd name="connsiteY530" fmla="*/ 2746 h 10000"/>
                <a:gd name="connsiteX531" fmla="*/ 1016 w 10000"/>
                <a:gd name="connsiteY531" fmla="*/ 2705 h 10000"/>
                <a:gd name="connsiteX532" fmla="*/ 1060 w 10000"/>
                <a:gd name="connsiteY532" fmla="*/ 2663 h 10000"/>
                <a:gd name="connsiteX533" fmla="*/ 1098 w 10000"/>
                <a:gd name="connsiteY533" fmla="*/ 2614 h 10000"/>
                <a:gd name="connsiteX534" fmla="*/ 1167 w 10000"/>
                <a:gd name="connsiteY534" fmla="*/ 2518 h 10000"/>
                <a:gd name="connsiteX535" fmla="*/ 1236 w 10000"/>
                <a:gd name="connsiteY535" fmla="*/ 2408 h 10000"/>
                <a:gd name="connsiteX536" fmla="*/ 1355 w 10000"/>
                <a:gd name="connsiteY536" fmla="*/ 2192 h 10000"/>
                <a:gd name="connsiteX537" fmla="*/ 1474 w 10000"/>
                <a:gd name="connsiteY537" fmla="*/ 1975 h 10000"/>
                <a:gd name="connsiteX538" fmla="*/ 1543 w 10000"/>
                <a:gd name="connsiteY538" fmla="*/ 1879 h 10000"/>
                <a:gd name="connsiteX539" fmla="*/ 1612 w 10000"/>
                <a:gd name="connsiteY539" fmla="*/ 1794 h 10000"/>
                <a:gd name="connsiteX540" fmla="*/ 1650 w 10000"/>
                <a:gd name="connsiteY540" fmla="*/ 1745 h 10000"/>
                <a:gd name="connsiteX541" fmla="*/ 1694 w 10000"/>
                <a:gd name="connsiteY541" fmla="*/ 1709 h 10000"/>
                <a:gd name="connsiteX542" fmla="*/ 1738 w 10000"/>
                <a:gd name="connsiteY542" fmla="*/ 1680 h 10000"/>
                <a:gd name="connsiteX543" fmla="*/ 1788 w 10000"/>
                <a:gd name="connsiteY543" fmla="*/ 1650 h 10000"/>
                <a:gd name="connsiteX544" fmla="*/ 1750 w 10000"/>
                <a:gd name="connsiteY544" fmla="*/ 1577 h 10000"/>
                <a:gd name="connsiteX545" fmla="*/ 1719 w 10000"/>
                <a:gd name="connsiteY545" fmla="*/ 1511 h 10000"/>
                <a:gd name="connsiteX546" fmla="*/ 1713 w 10000"/>
                <a:gd name="connsiteY546" fmla="*/ 1481 h 10000"/>
                <a:gd name="connsiteX547" fmla="*/ 1706 w 10000"/>
                <a:gd name="connsiteY547" fmla="*/ 1451 h 10000"/>
                <a:gd name="connsiteX548" fmla="*/ 1706 w 10000"/>
                <a:gd name="connsiteY548" fmla="*/ 1415 h 10000"/>
                <a:gd name="connsiteX549" fmla="*/ 1706 w 10000"/>
                <a:gd name="connsiteY549" fmla="*/ 1385 h 10000"/>
                <a:gd name="connsiteX550" fmla="*/ 1713 w 10000"/>
                <a:gd name="connsiteY550" fmla="*/ 1354 h 10000"/>
                <a:gd name="connsiteX551" fmla="*/ 1719 w 10000"/>
                <a:gd name="connsiteY551" fmla="*/ 1324 h 10000"/>
                <a:gd name="connsiteX552" fmla="*/ 1731 w 10000"/>
                <a:gd name="connsiteY552" fmla="*/ 1300 h 10000"/>
                <a:gd name="connsiteX553" fmla="*/ 1757 w 10000"/>
                <a:gd name="connsiteY553" fmla="*/ 1276 h 10000"/>
                <a:gd name="connsiteX554" fmla="*/ 1775 w 10000"/>
                <a:gd name="connsiteY554" fmla="*/ 1258 h 10000"/>
                <a:gd name="connsiteX555" fmla="*/ 1801 w 10000"/>
                <a:gd name="connsiteY555" fmla="*/ 1240 h 10000"/>
                <a:gd name="connsiteX556" fmla="*/ 1838 w 10000"/>
                <a:gd name="connsiteY556" fmla="*/ 1222 h 10000"/>
                <a:gd name="connsiteX557" fmla="*/ 1870 w 10000"/>
                <a:gd name="connsiteY557" fmla="*/ 1204 h 10000"/>
                <a:gd name="connsiteX558" fmla="*/ 1688 w 10000"/>
                <a:gd name="connsiteY558" fmla="*/ 1042 h 10000"/>
                <a:gd name="connsiteX559" fmla="*/ 1550 w 10000"/>
                <a:gd name="connsiteY559" fmla="*/ 920 h 10000"/>
                <a:gd name="connsiteX560" fmla="*/ 1487 w 10000"/>
                <a:gd name="connsiteY560" fmla="*/ 860 h 10000"/>
                <a:gd name="connsiteX561" fmla="*/ 1424 w 10000"/>
                <a:gd name="connsiteY561" fmla="*/ 794 h 10000"/>
                <a:gd name="connsiteX562" fmla="*/ 1361 w 10000"/>
                <a:gd name="connsiteY562" fmla="*/ 709 h 10000"/>
                <a:gd name="connsiteX563" fmla="*/ 1286 w 10000"/>
                <a:gd name="connsiteY563" fmla="*/ 608 h 10000"/>
                <a:gd name="connsiteX564" fmla="*/ 1286 w 10000"/>
                <a:gd name="connsiteY564" fmla="*/ 349 h 10000"/>
                <a:gd name="connsiteX565" fmla="*/ 1437 w 10000"/>
                <a:gd name="connsiteY565" fmla="*/ 349 h 10000"/>
                <a:gd name="connsiteX566" fmla="*/ 1606 w 10000"/>
                <a:gd name="connsiteY566" fmla="*/ 337 h 10000"/>
                <a:gd name="connsiteX567" fmla="*/ 1694 w 10000"/>
                <a:gd name="connsiteY567" fmla="*/ 331 h 10000"/>
                <a:gd name="connsiteX568" fmla="*/ 1775 w 10000"/>
                <a:gd name="connsiteY568" fmla="*/ 318 h 10000"/>
                <a:gd name="connsiteX569" fmla="*/ 1863 w 10000"/>
                <a:gd name="connsiteY569" fmla="*/ 299 h 10000"/>
                <a:gd name="connsiteX570" fmla="*/ 1945 w 10000"/>
                <a:gd name="connsiteY570" fmla="*/ 281 h 10000"/>
                <a:gd name="connsiteX571" fmla="*/ 2020 w 10000"/>
                <a:gd name="connsiteY571" fmla="*/ 263 h 10000"/>
                <a:gd name="connsiteX572" fmla="*/ 2102 w 10000"/>
                <a:gd name="connsiteY572" fmla="*/ 233 h 10000"/>
                <a:gd name="connsiteX573" fmla="*/ 2177 w 10000"/>
                <a:gd name="connsiteY573" fmla="*/ 203 h 10000"/>
                <a:gd name="connsiteX574" fmla="*/ 2240 w 10000"/>
                <a:gd name="connsiteY574" fmla="*/ 162 h 10000"/>
                <a:gd name="connsiteX575" fmla="*/ 2296 w 10000"/>
                <a:gd name="connsiteY575" fmla="*/ 120 h 10000"/>
                <a:gd name="connsiteX576" fmla="*/ 2587 w 10000"/>
                <a:gd name="connsiteY576" fmla="*/ 38 h 10000"/>
                <a:gd name="connsiteX577" fmla="*/ 2631 w 10000"/>
                <a:gd name="connsiteY577" fmla="*/ 32 h 10000"/>
                <a:gd name="connsiteX578" fmla="*/ 2415 w 10000"/>
                <a:gd name="connsiteY578" fmla="*/ 75 h 10000"/>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17 w 10000"/>
                <a:gd name="connsiteY4" fmla="*/ 114 h 10051"/>
                <a:gd name="connsiteX5" fmla="*/ 2846 w 10000"/>
                <a:gd name="connsiteY5" fmla="*/ 176 h 10051"/>
                <a:gd name="connsiteX6" fmla="*/ 2949 w 10000"/>
                <a:gd name="connsiteY6" fmla="*/ 145 h 10051"/>
                <a:gd name="connsiteX7" fmla="*/ 3093 w 10000"/>
                <a:gd name="connsiteY7" fmla="*/ 244 h 10051"/>
                <a:gd name="connsiteX8" fmla="*/ 3120 w 10000"/>
                <a:gd name="connsiteY8" fmla="*/ 396 h 10051"/>
                <a:gd name="connsiteX9" fmla="*/ 3152 w 10000"/>
                <a:gd name="connsiteY9" fmla="*/ 432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17 w 10000"/>
                <a:gd name="connsiteY4" fmla="*/ 114 h 10051"/>
                <a:gd name="connsiteX5" fmla="*/ 2880 w 10000"/>
                <a:gd name="connsiteY5" fmla="*/ 149 h 10051"/>
                <a:gd name="connsiteX6" fmla="*/ 2949 w 10000"/>
                <a:gd name="connsiteY6" fmla="*/ 145 h 10051"/>
                <a:gd name="connsiteX7" fmla="*/ 3093 w 10000"/>
                <a:gd name="connsiteY7" fmla="*/ 244 h 10051"/>
                <a:gd name="connsiteX8" fmla="*/ 3120 w 10000"/>
                <a:gd name="connsiteY8" fmla="*/ 396 h 10051"/>
                <a:gd name="connsiteX9" fmla="*/ 3152 w 10000"/>
                <a:gd name="connsiteY9" fmla="*/ 432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17 w 10000"/>
                <a:gd name="connsiteY4" fmla="*/ 114 h 10051"/>
                <a:gd name="connsiteX5" fmla="*/ 2880 w 10000"/>
                <a:gd name="connsiteY5" fmla="*/ 149 h 10051"/>
                <a:gd name="connsiteX6" fmla="*/ 2983 w 10000"/>
                <a:gd name="connsiteY6" fmla="*/ 90 h 10051"/>
                <a:gd name="connsiteX7" fmla="*/ 3093 w 10000"/>
                <a:gd name="connsiteY7" fmla="*/ 244 h 10051"/>
                <a:gd name="connsiteX8" fmla="*/ 3120 w 10000"/>
                <a:gd name="connsiteY8" fmla="*/ 396 h 10051"/>
                <a:gd name="connsiteX9" fmla="*/ 3152 w 10000"/>
                <a:gd name="connsiteY9" fmla="*/ 432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149 h 10051"/>
                <a:gd name="connsiteX6" fmla="*/ 2983 w 10000"/>
                <a:gd name="connsiteY6" fmla="*/ 90 h 10051"/>
                <a:gd name="connsiteX7" fmla="*/ 3093 w 10000"/>
                <a:gd name="connsiteY7" fmla="*/ 244 h 10051"/>
                <a:gd name="connsiteX8" fmla="*/ 3120 w 10000"/>
                <a:gd name="connsiteY8" fmla="*/ 396 h 10051"/>
                <a:gd name="connsiteX9" fmla="*/ 3152 w 10000"/>
                <a:gd name="connsiteY9" fmla="*/ 432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149 h 10051"/>
                <a:gd name="connsiteX6" fmla="*/ 2983 w 10000"/>
                <a:gd name="connsiteY6" fmla="*/ 90 h 10051"/>
                <a:gd name="connsiteX7" fmla="*/ 3162 w 10000"/>
                <a:gd name="connsiteY7" fmla="*/ 271 h 10051"/>
                <a:gd name="connsiteX8" fmla="*/ 3120 w 10000"/>
                <a:gd name="connsiteY8" fmla="*/ 396 h 10051"/>
                <a:gd name="connsiteX9" fmla="*/ 3152 w 10000"/>
                <a:gd name="connsiteY9" fmla="*/ 432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149 h 10051"/>
                <a:gd name="connsiteX6" fmla="*/ 2983 w 10000"/>
                <a:gd name="connsiteY6" fmla="*/ 90 h 10051"/>
                <a:gd name="connsiteX7" fmla="*/ 3162 w 10000"/>
                <a:gd name="connsiteY7" fmla="*/ 271 h 10051"/>
                <a:gd name="connsiteX8" fmla="*/ 3120 w 10000"/>
                <a:gd name="connsiteY8" fmla="*/ 396 h 10051"/>
                <a:gd name="connsiteX9" fmla="*/ 3290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149 h 10051"/>
                <a:gd name="connsiteX6" fmla="*/ 2983 w 10000"/>
                <a:gd name="connsiteY6" fmla="*/ 90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149 h 10051"/>
                <a:gd name="connsiteX6" fmla="*/ 2983 w 10000"/>
                <a:gd name="connsiteY6" fmla="*/ 90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949 w 10000"/>
                <a:gd name="connsiteY5" fmla="*/ 67 h 10051"/>
                <a:gd name="connsiteX6" fmla="*/ 2983 w 10000"/>
                <a:gd name="connsiteY6" fmla="*/ 90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949 w 10000"/>
                <a:gd name="connsiteY5" fmla="*/ 67 h 10051"/>
                <a:gd name="connsiteX6" fmla="*/ 3155 w 10000"/>
                <a:gd name="connsiteY6" fmla="*/ 117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587 w 10000"/>
                <a:gd name="connsiteY576" fmla="*/ 89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949 w 10000"/>
                <a:gd name="connsiteY5" fmla="*/ 67 h 10051"/>
                <a:gd name="connsiteX6" fmla="*/ 3155 w 10000"/>
                <a:gd name="connsiteY6" fmla="*/ 117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621 w 10000"/>
                <a:gd name="connsiteY576" fmla="*/ 62 h 10051"/>
                <a:gd name="connsiteX577" fmla="*/ 2631 w 10000"/>
                <a:gd name="connsiteY577" fmla="*/ 1 h 10051"/>
                <a:gd name="connsiteX578" fmla="*/ 2415 w 10000"/>
                <a:gd name="connsiteY578" fmla="*/ 126 h 10051"/>
                <a:gd name="connsiteX0" fmla="*/ 2690 w 10000"/>
                <a:gd name="connsiteY0" fmla="*/ 126 h 10051"/>
                <a:gd name="connsiteX1" fmla="*/ 2509 w 10000"/>
                <a:gd name="connsiteY1" fmla="*/ 86 h 10051"/>
                <a:gd name="connsiteX2" fmla="*/ 2818 w 10000"/>
                <a:gd name="connsiteY2" fmla="*/ 52 h 10051"/>
                <a:gd name="connsiteX3" fmla="*/ 2776 w 10000"/>
                <a:gd name="connsiteY3" fmla="*/ 134 h 10051"/>
                <a:gd name="connsiteX4" fmla="*/ 2851 w 10000"/>
                <a:gd name="connsiteY4" fmla="*/ 87 h 10051"/>
                <a:gd name="connsiteX5" fmla="*/ 2880 w 10000"/>
                <a:gd name="connsiteY5" fmla="*/ 40 h 10051"/>
                <a:gd name="connsiteX6" fmla="*/ 3155 w 10000"/>
                <a:gd name="connsiteY6" fmla="*/ 117 h 10051"/>
                <a:gd name="connsiteX7" fmla="*/ 3162 w 10000"/>
                <a:gd name="connsiteY7" fmla="*/ 271 h 10051"/>
                <a:gd name="connsiteX8" fmla="*/ 3120 w 10000"/>
                <a:gd name="connsiteY8" fmla="*/ 396 h 10051"/>
                <a:gd name="connsiteX9" fmla="*/ 3152 w 10000"/>
                <a:gd name="connsiteY9" fmla="*/ 459 h 10051"/>
                <a:gd name="connsiteX10" fmla="*/ 3093 w 10000"/>
                <a:gd name="connsiteY10" fmla="*/ 544 h 10051"/>
                <a:gd name="connsiteX11" fmla="*/ 2992 w 10000"/>
                <a:gd name="connsiteY11" fmla="*/ 635 h 10051"/>
                <a:gd name="connsiteX12" fmla="*/ 3043 w 10000"/>
                <a:gd name="connsiteY12" fmla="*/ 659 h 10051"/>
                <a:gd name="connsiteX13" fmla="*/ 3087 w 10000"/>
                <a:gd name="connsiteY13" fmla="*/ 701 h 10051"/>
                <a:gd name="connsiteX14" fmla="*/ 3130 w 10000"/>
                <a:gd name="connsiteY14" fmla="*/ 748 h 10051"/>
                <a:gd name="connsiteX15" fmla="*/ 3174 w 10000"/>
                <a:gd name="connsiteY15" fmla="*/ 797 h 10051"/>
                <a:gd name="connsiteX16" fmla="*/ 3212 w 10000"/>
                <a:gd name="connsiteY16" fmla="*/ 857 h 10051"/>
                <a:gd name="connsiteX17" fmla="*/ 3256 w 10000"/>
                <a:gd name="connsiteY17" fmla="*/ 911 h 10051"/>
                <a:gd name="connsiteX18" fmla="*/ 3281 w 10000"/>
                <a:gd name="connsiteY18" fmla="*/ 971 h 10051"/>
                <a:gd name="connsiteX19" fmla="*/ 3312 w 10000"/>
                <a:gd name="connsiteY19" fmla="*/ 1038 h 10051"/>
                <a:gd name="connsiteX20" fmla="*/ 3331 w 10000"/>
                <a:gd name="connsiteY20" fmla="*/ 1105 h 10051"/>
                <a:gd name="connsiteX21" fmla="*/ 3043 w 10000"/>
                <a:gd name="connsiteY21" fmla="*/ 1105 h 10051"/>
                <a:gd name="connsiteX22" fmla="*/ 3043 w 10000"/>
                <a:gd name="connsiteY22" fmla="*/ 1291 h 10051"/>
                <a:gd name="connsiteX23" fmla="*/ 3074 w 10000"/>
                <a:gd name="connsiteY23" fmla="*/ 1369 h 10051"/>
                <a:gd name="connsiteX24" fmla="*/ 3118 w 10000"/>
                <a:gd name="connsiteY24" fmla="*/ 1436 h 10051"/>
                <a:gd name="connsiteX25" fmla="*/ 3168 w 10000"/>
                <a:gd name="connsiteY25" fmla="*/ 1496 h 10051"/>
                <a:gd name="connsiteX26" fmla="*/ 3225 w 10000"/>
                <a:gd name="connsiteY26" fmla="*/ 1538 h 10051"/>
                <a:gd name="connsiteX27" fmla="*/ 3281 w 10000"/>
                <a:gd name="connsiteY27" fmla="*/ 1580 h 10051"/>
                <a:gd name="connsiteX28" fmla="*/ 3350 w 10000"/>
                <a:gd name="connsiteY28" fmla="*/ 1610 h 10051"/>
                <a:gd name="connsiteX29" fmla="*/ 3413 w 10000"/>
                <a:gd name="connsiteY29" fmla="*/ 1640 h 10051"/>
                <a:gd name="connsiteX30" fmla="*/ 3488 w 10000"/>
                <a:gd name="connsiteY30" fmla="*/ 1665 h 10051"/>
                <a:gd name="connsiteX31" fmla="*/ 3626 w 10000"/>
                <a:gd name="connsiteY31" fmla="*/ 1719 h 10051"/>
                <a:gd name="connsiteX32" fmla="*/ 3764 w 10000"/>
                <a:gd name="connsiteY32" fmla="*/ 1772 h 10051"/>
                <a:gd name="connsiteX33" fmla="*/ 3827 w 10000"/>
                <a:gd name="connsiteY33" fmla="*/ 1809 h 10051"/>
                <a:gd name="connsiteX34" fmla="*/ 3890 w 10000"/>
                <a:gd name="connsiteY34" fmla="*/ 1857 h 10051"/>
                <a:gd name="connsiteX35" fmla="*/ 3946 w 10000"/>
                <a:gd name="connsiteY35" fmla="*/ 1906 h 10051"/>
                <a:gd name="connsiteX36" fmla="*/ 4003 w 10000"/>
                <a:gd name="connsiteY36" fmla="*/ 1960 h 10051"/>
                <a:gd name="connsiteX37" fmla="*/ 3959 w 10000"/>
                <a:gd name="connsiteY37" fmla="*/ 2521 h 10051"/>
                <a:gd name="connsiteX38" fmla="*/ 4034 w 10000"/>
                <a:gd name="connsiteY38" fmla="*/ 2575 h 10051"/>
                <a:gd name="connsiteX39" fmla="*/ 4141 w 10000"/>
                <a:gd name="connsiteY39" fmla="*/ 2641 h 10051"/>
                <a:gd name="connsiteX40" fmla="*/ 4260 w 10000"/>
                <a:gd name="connsiteY40" fmla="*/ 2701 h 10051"/>
                <a:gd name="connsiteX41" fmla="*/ 4398 w 10000"/>
                <a:gd name="connsiteY41" fmla="*/ 2756 h 10051"/>
                <a:gd name="connsiteX42" fmla="*/ 4536 w 10000"/>
                <a:gd name="connsiteY42" fmla="*/ 2809 h 10051"/>
                <a:gd name="connsiteX43" fmla="*/ 4668 w 10000"/>
                <a:gd name="connsiteY43" fmla="*/ 2851 h 10051"/>
                <a:gd name="connsiteX44" fmla="*/ 4724 w 10000"/>
                <a:gd name="connsiteY44" fmla="*/ 2869 h 10051"/>
                <a:gd name="connsiteX45" fmla="*/ 4780 w 10000"/>
                <a:gd name="connsiteY45" fmla="*/ 2881 h 10051"/>
                <a:gd name="connsiteX46" fmla="*/ 4831 w 10000"/>
                <a:gd name="connsiteY46" fmla="*/ 2887 h 10051"/>
                <a:gd name="connsiteX47" fmla="*/ 4875 w 10000"/>
                <a:gd name="connsiteY47" fmla="*/ 2887 h 10051"/>
                <a:gd name="connsiteX48" fmla="*/ 4887 w 10000"/>
                <a:gd name="connsiteY48" fmla="*/ 2930 h 10051"/>
                <a:gd name="connsiteX49" fmla="*/ 4918 w 10000"/>
                <a:gd name="connsiteY49" fmla="*/ 2966 h 10051"/>
                <a:gd name="connsiteX50" fmla="*/ 4950 w 10000"/>
                <a:gd name="connsiteY50" fmla="*/ 2984 h 10051"/>
                <a:gd name="connsiteX51" fmla="*/ 4987 w 10000"/>
                <a:gd name="connsiteY51" fmla="*/ 2996 h 10051"/>
                <a:gd name="connsiteX52" fmla="*/ 5019 w 10000"/>
                <a:gd name="connsiteY52" fmla="*/ 3008 h 10051"/>
                <a:gd name="connsiteX53" fmla="*/ 5063 w 10000"/>
                <a:gd name="connsiteY53" fmla="*/ 3008 h 10051"/>
                <a:gd name="connsiteX54" fmla="*/ 5107 w 10000"/>
                <a:gd name="connsiteY54" fmla="*/ 3002 h 10051"/>
                <a:gd name="connsiteX55" fmla="*/ 5157 w 10000"/>
                <a:gd name="connsiteY55" fmla="*/ 2996 h 10051"/>
                <a:gd name="connsiteX56" fmla="*/ 5245 w 10000"/>
                <a:gd name="connsiteY56" fmla="*/ 2978 h 10051"/>
                <a:gd name="connsiteX57" fmla="*/ 5345 w 10000"/>
                <a:gd name="connsiteY57" fmla="*/ 2954 h 10051"/>
                <a:gd name="connsiteX58" fmla="*/ 5383 w 10000"/>
                <a:gd name="connsiteY58" fmla="*/ 2954 h 10051"/>
                <a:gd name="connsiteX59" fmla="*/ 5427 w 10000"/>
                <a:gd name="connsiteY59" fmla="*/ 2948 h 10051"/>
                <a:gd name="connsiteX60" fmla="*/ 5464 w 10000"/>
                <a:gd name="connsiteY60" fmla="*/ 2954 h 10051"/>
                <a:gd name="connsiteX61" fmla="*/ 5502 w 10000"/>
                <a:gd name="connsiteY61" fmla="*/ 2960 h 10051"/>
                <a:gd name="connsiteX62" fmla="*/ 5558 w 10000"/>
                <a:gd name="connsiteY62" fmla="*/ 2996 h 10051"/>
                <a:gd name="connsiteX63" fmla="*/ 5596 w 10000"/>
                <a:gd name="connsiteY63" fmla="*/ 3026 h 10051"/>
                <a:gd name="connsiteX64" fmla="*/ 5634 w 10000"/>
                <a:gd name="connsiteY64" fmla="*/ 3068 h 10051"/>
                <a:gd name="connsiteX65" fmla="*/ 5665 w 10000"/>
                <a:gd name="connsiteY65" fmla="*/ 3104 h 10051"/>
                <a:gd name="connsiteX66" fmla="*/ 5696 w 10000"/>
                <a:gd name="connsiteY66" fmla="*/ 3141 h 10051"/>
                <a:gd name="connsiteX67" fmla="*/ 5734 w 10000"/>
                <a:gd name="connsiteY67" fmla="*/ 3177 h 10051"/>
                <a:gd name="connsiteX68" fmla="*/ 5759 w 10000"/>
                <a:gd name="connsiteY68" fmla="*/ 3195 h 10051"/>
                <a:gd name="connsiteX69" fmla="*/ 5778 w 10000"/>
                <a:gd name="connsiteY69" fmla="*/ 3207 h 10051"/>
                <a:gd name="connsiteX70" fmla="*/ 5803 w 10000"/>
                <a:gd name="connsiteY70" fmla="*/ 3219 h 10051"/>
                <a:gd name="connsiteX71" fmla="*/ 5834 w 10000"/>
                <a:gd name="connsiteY71" fmla="*/ 3225 h 10051"/>
                <a:gd name="connsiteX72" fmla="*/ 5935 w 10000"/>
                <a:gd name="connsiteY72" fmla="*/ 3244 h 10051"/>
                <a:gd name="connsiteX73" fmla="*/ 6073 w 10000"/>
                <a:gd name="connsiteY73" fmla="*/ 3279 h 10051"/>
                <a:gd name="connsiteX74" fmla="*/ 6230 w 10000"/>
                <a:gd name="connsiteY74" fmla="*/ 3315 h 10051"/>
                <a:gd name="connsiteX75" fmla="*/ 6405 w 10000"/>
                <a:gd name="connsiteY75" fmla="*/ 3358 h 10051"/>
                <a:gd name="connsiteX76" fmla="*/ 6568 w 10000"/>
                <a:gd name="connsiteY76" fmla="*/ 3388 h 10051"/>
                <a:gd name="connsiteX77" fmla="*/ 6719 w 10000"/>
                <a:gd name="connsiteY77" fmla="*/ 3412 h 10051"/>
                <a:gd name="connsiteX78" fmla="*/ 6788 w 10000"/>
                <a:gd name="connsiteY78" fmla="*/ 3418 h 10051"/>
                <a:gd name="connsiteX79" fmla="*/ 6838 w 10000"/>
                <a:gd name="connsiteY79" fmla="*/ 3424 h 10051"/>
                <a:gd name="connsiteX80" fmla="*/ 6888 w 10000"/>
                <a:gd name="connsiteY80" fmla="*/ 3418 h 10051"/>
                <a:gd name="connsiteX81" fmla="*/ 6913 w 10000"/>
                <a:gd name="connsiteY81" fmla="*/ 3406 h 10051"/>
                <a:gd name="connsiteX82" fmla="*/ 6888 w 10000"/>
                <a:gd name="connsiteY82" fmla="*/ 3364 h 10051"/>
                <a:gd name="connsiteX83" fmla="*/ 6857 w 10000"/>
                <a:gd name="connsiteY83" fmla="*/ 3315 h 10051"/>
                <a:gd name="connsiteX84" fmla="*/ 6838 w 10000"/>
                <a:gd name="connsiteY84" fmla="*/ 3267 h 10051"/>
                <a:gd name="connsiteX85" fmla="*/ 6826 w 10000"/>
                <a:gd name="connsiteY85" fmla="*/ 3213 h 10051"/>
                <a:gd name="connsiteX86" fmla="*/ 6794 w 10000"/>
                <a:gd name="connsiteY86" fmla="*/ 3122 h 10051"/>
                <a:gd name="connsiteX87" fmla="*/ 6788 w 10000"/>
                <a:gd name="connsiteY87" fmla="*/ 3074 h 10051"/>
                <a:gd name="connsiteX88" fmla="*/ 6788 w 10000"/>
                <a:gd name="connsiteY88" fmla="*/ 2887 h 10051"/>
                <a:gd name="connsiteX89" fmla="*/ 6788 w 10000"/>
                <a:gd name="connsiteY89" fmla="*/ 2701 h 10051"/>
                <a:gd name="connsiteX90" fmla="*/ 6995 w 10000"/>
                <a:gd name="connsiteY90" fmla="*/ 2701 h 10051"/>
                <a:gd name="connsiteX91" fmla="*/ 7033 w 10000"/>
                <a:gd name="connsiteY91" fmla="*/ 2767 h 10051"/>
                <a:gd name="connsiteX92" fmla="*/ 7058 w 10000"/>
                <a:gd name="connsiteY92" fmla="*/ 2809 h 10051"/>
                <a:gd name="connsiteX93" fmla="*/ 7095 w 10000"/>
                <a:gd name="connsiteY93" fmla="*/ 2845 h 10051"/>
                <a:gd name="connsiteX94" fmla="*/ 7127 w 10000"/>
                <a:gd name="connsiteY94" fmla="*/ 2887 h 10051"/>
                <a:gd name="connsiteX95" fmla="*/ 7120 w 10000"/>
                <a:gd name="connsiteY95" fmla="*/ 2984 h 10051"/>
                <a:gd name="connsiteX96" fmla="*/ 7102 w 10000"/>
                <a:gd name="connsiteY96" fmla="*/ 3044 h 10051"/>
                <a:gd name="connsiteX97" fmla="*/ 7089 w 10000"/>
                <a:gd name="connsiteY97" fmla="*/ 3092 h 10051"/>
                <a:gd name="connsiteX98" fmla="*/ 7077 w 10000"/>
                <a:gd name="connsiteY98" fmla="*/ 3147 h 10051"/>
                <a:gd name="connsiteX99" fmla="*/ 7208 w 10000"/>
                <a:gd name="connsiteY99" fmla="*/ 3183 h 10051"/>
                <a:gd name="connsiteX100" fmla="*/ 7334 w 10000"/>
                <a:gd name="connsiteY100" fmla="*/ 3219 h 10051"/>
                <a:gd name="connsiteX101" fmla="*/ 7396 w 10000"/>
                <a:gd name="connsiteY101" fmla="*/ 3238 h 10051"/>
                <a:gd name="connsiteX102" fmla="*/ 7459 w 10000"/>
                <a:gd name="connsiteY102" fmla="*/ 3250 h 10051"/>
                <a:gd name="connsiteX103" fmla="*/ 7522 w 10000"/>
                <a:gd name="connsiteY103" fmla="*/ 3256 h 10051"/>
                <a:gd name="connsiteX104" fmla="*/ 7585 w 10000"/>
                <a:gd name="connsiteY104" fmla="*/ 3261 h 10051"/>
                <a:gd name="connsiteX105" fmla="*/ 7591 w 10000"/>
                <a:gd name="connsiteY105" fmla="*/ 3285 h 10051"/>
                <a:gd name="connsiteX106" fmla="*/ 7604 w 10000"/>
                <a:gd name="connsiteY106" fmla="*/ 3309 h 10051"/>
                <a:gd name="connsiteX107" fmla="*/ 7622 w 10000"/>
                <a:gd name="connsiteY107" fmla="*/ 3327 h 10051"/>
                <a:gd name="connsiteX108" fmla="*/ 7654 w 10000"/>
                <a:gd name="connsiteY108" fmla="*/ 3345 h 10051"/>
                <a:gd name="connsiteX109" fmla="*/ 7704 w 10000"/>
                <a:gd name="connsiteY109" fmla="*/ 3364 h 10051"/>
                <a:gd name="connsiteX110" fmla="*/ 7748 w 10000"/>
                <a:gd name="connsiteY110" fmla="*/ 3370 h 10051"/>
                <a:gd name="connsiteX111" fmla="*/ 7798 w 10000"/>
                <a:gd name="connsiteY111" fmla="*/ 3370 h 10051"/>
                <a:gd name="connsiteX112" fmla="*/ 7836 w 10000"/>
                <a:gd name="connsiteY112" fmla="*/ 3358 h 10051"/>
                <a:gd name="connsiteX113" fmla="*/ 7880 w 10000"/>
                <a:gd name="connsiteY113" fmla="*/ 3339 h 10051"/>
                <a:gd name="connsiteX114" fmla="*/ 7911 w 10000"/>
                <a:gd name="connsiteY114" fmla="*/ 3321 h 10051"/>
                <a:gd name="connsiteX115" fmla="*/ 7949 w 10000"/>
                <a:gd name="connsiteY115" fmla="*/ 3297 h 10051"/>
                <a:gd name="connsiteX116" fmla="*/ 7980 w 10000"/>
                <a:gd name="connsiteY116" fmla="*/ 3267 h 10051"/>
                <a:gd name="connsiteX117" fmla="*/ 8011 w 10000"/>
                <a:gd name="connsiteY117" fmla="*/ 3238 h 10051"/>
                <a:gd name="connsiteX118" fmla="*/ 8036 w 10000"/>
                <a:gd name="connsiteY118" fmla="*/ 3207 h 10051"/>
                <a:gd name="connsiteX119" fmla="*/ 8087 w 10000"/>
                <a:gd name="connsiteY119" fmla="*/ 3128 h 10051"/>
                <a:gd name="connsiteX120" fmla="*/ 8118 w 10000"/>
                <a:gd name="connsiteY120" fmla="*/ 3056 h 10051"/>
                <a:gd name="connsiteX121" fmla="*/ 8149 w 10000"/>
                <a:gd name="connsiteY121" fmla="*/ 2990 h 10051"/>
                <a:gd name="connsiteX122" fmla="*/ 8168 w 10000"/>
                <a:gd name="connsiteY122" fmla="*/ 2924 h 10051"/>
                <a:gd name="connsiteX123" fmla="*/ 8231 w 10000"/>
                <a:gd name="connsiteY123" fmla="*/ 2857 h 10051"/>
                <a:gd name="connsiteX124" fmla="*/ 8294 w 10000"/>
                <a:gd name="connsiteY124" fmla="*/ 2791 h 10051"/>
                <a:gd name="connsiteX125" fmla="*/ 8363 w 10000"/>
                <a:gd name="connsiteY125" fmla="*/ 2738 h 10051"/>
                <a:gd name="connsiteX126" fmla="*/ 8432 w 10000"/>
                <a:gd name="connsiteY126" fmla="*/ 2677 h 10051"/>
                <a:gd name="connsiteX127" fmla="*/ 8507 w 10000"/>
                <a:gd name="connsiteY127" fmla="*/ 2629 h 10051"/>
                <a:gd name="connsiteX128" fmla="*/ 8576 w 10000"/>
                <a:gd name="connsiteY128" fmla="*/ 2581 h 10051"/>
                <a:gd name="connsiteX129" fmla="*/ 8651 w 10000"/>
                <a:gd name="connsiteY129" fmla="*/ 2539 h 10051"/>
                <a:gd name="connsiteX130" fmla="*/ 8726 w 10000"/>
                <a:gd name="connsiteY130" fmla="*/ 2495 h 10051"/>
                <a:gd name="connsiteX131" fmla="*/ 8808 w 10000"/>
                <a:gd name="connsiteY131" fmla="*/ 2453 h 10051"/>
                <a:gd name="connsiteX132" fmla="*/ 8890 w 10000"/>
                <a:gd name="connsiteY132" fmla="*/ 2417 h 10051"/>
                <a:gd name="connsiteX133" fmla="*/ 8971 w 10000"/>
                <a:gd name="connsiteY133" fmla="*/ 2387 h 10051"/>
                <a:gd name="connsiteX134" fmla="*/ 9059 w 10000"/>
                <a:gd name="connsiteY134" fmla="*/ 2357 h 10051"/>
                <a:gd name="connsiteX135" fmla="*/ 9235 w 10000"/>
                <a:gd name="connsiteY135" fmla="*/ 2303 h 10051"/>
                <a:gd name="connsiteX136" fmla="*/ 9417 w 10000"/>
                <a:gd name="connsiteY136" fmla="*/ 2260 h 10051"/>
                <a:gd name="connsiteX137" fmla="*/ 9454 w 10000"/>
                <a:gd name="connsiteY137" fmla="*/ 2309 h 10051"/>
                <a:gd name="connsiteX138" fmla="*/ 9504 w 10000"/>
                <a:gd name="connsiteY138" fmla="*/ 2369 h 10051"/>
                <a:gd name="connsiteX139" fmla="*/ 9573 w 10000"/>
                <a:gd name="connsiteY139" fmla="*/ 2435 h 10051"/>
                <a:gd name="connsiteX140" fmla="*/ 9642 w 10000"/>
                <a:gd name="connsiteY140" fmla="*/ 2508 h 10051"/>
                <a:gd name="connsiteX141" fmla="*/ 9718 w 10000"/>
                <a:gd name="connsiteY141" fmla="*/ 2569 h 10051"/>
                <a:gd name="connsiteX142" fmla="*/ 9799 w 10000"/>
                <a:gd name="connsiteY142" fmla="*/ 2617 h 10051"/>
                <a:gd name="connsiteX143" fmla="*/ 9837 w 10000"/>
                <a:gd name="connsiteY143" fmla="*/ 2641 h 10051"/>
                <a:gd name="connsiteX144" fmla="*/ 9875 w 10000"/>
                <a:gd name="connsiteY144" fmla="*/ 2653 h 10051"/>
                <a:gd name="connsiteX145" fmla="*/ 9918 w 10000"/>
                <a:gd name="connsiteY145" fmla="*/ 2665 h 10051"/>
                <a:gd name="connsiteX146" fmla="*/ 9956 w 10000"/>
                <a:gd name="connsiteY146" fmla="*/ 2665 h 10051"/>
                <a:gd name="connsiteX147" fmla="*/ 10000 w 10000"/>
                <a:gd name="connsiteY147" fmla="*/ 2593 h 10051"/>
                <a:gd name="connsiteX148" fmla="*/ 9975 w 10000"/>
                <a:gd name="connsiteY148" fmla="*/ 2720 h 10051"/>
                <a:gd name="connsiteX149" fmla="*/ 9944 w 10000"/>
                <a:gd name="connsiteY149" fmla="*/ 2863 h 10051"/>
                <a:gd name="connsiteX150" fmla="*/ 9931 w 10000"/>
                <a:gd name="connsiteY150" fmla="*/ 2930 h 10051"/>
                <a:gd name="connsiteX151" fmla="*/ 9906 w 10000"/>
                <a:gd name="connsiteY151" fmla="*/ 2990 h 10051"/>
                <a:gd name="connsiteX152" fmla="*/ 9887 w 10000"/>
                <a:gd name="connsiteY152" fmla="*/ 3014 h 10051"/>
                <a:gd name="connsiteX153" fmla="*/ 9875 w 10000"/>
                <a:gd name="connsiteY153" fmla="*/ 3038 h 10051"/>
                <a:gd name="connsiteX154" fmla="*/ 9856 w 10000"/>
                <a:gd name="connsiteY154" fmla="*/ 3056 h 10051"/>
                <a:gd name="connsiteX155" fmla="*/ 9837 w 10000"/>
                <a:gd name="connsiteY155" fmla="*/ 3074 h 10051"/>
                <a:gd name="connsiteX156" fmla="*/ 9749 w 10000"/>
                <a:gd name="connsiteY156" fmla="*/ 3092 h 10051"/>
                <a:gd name="connsiteX157" fmla="*/ 9605 w 10000"/>
                <a:gd name="connsiteY157" fmla="*/ 3141 h 10051"/>
                <a:gd name="connsiteX158" fmla="*/ 9536 w 10000"/>
                <a:gd name="connsiteY158" fmla="*/ 3183 h 10051"/>
                <a:gd name="connsiteX159" fmla="*/ 9479 w 10000"/>
                <a:gd name="connsiteY159" fmla="*/ 3219 h 10051"/>
                <a:gd name="connsiteX160" fmla="*/ 9448 w 10000"/>
                <a:gd name="connsiteY160" fmla="*/ 3238 h 10051"/>
                <a:gd name="connsiteX161" fmla="*/ 9435 w 10000"/>
                <a:gd name="connsiteY161" fmla="*/ 3256 h 10051"/>
                <a:gd name="connsiteX162" fmla="*/ 9423 w 10000"/>
                <a:gd name="connsiteY162" fmla="*/ 3279 h 10051"/>
                <a:gd name="connsiteX163" fmla="*/ 9417 w 10000"/>
                <a:gd name="connsiteY163" fmla="*/ 3297 h 10051"/>
                <a:gd name="connsiteX164" fmla="*/ 9423 w 10000"/>
                <a:gd name="connsiteY164" fmla="*/ 3508 h 10051"/>
                <a:gd name="connsiteX165" fmla="*/ 9417 w 10000"/>
                <a:gd name="connsiteY165" fmla="*/ 3749 h 10051"/>
                <a:gd name="connsiteX166" fmla="*/ 9398 w 10000"/>
                <a:gd name="connsiteY166" fmla="*/ 3809 h 10051"/>
                <a:gd name="connsiteX167" fmla="*/ 9391 w 10000"/>
                <a:gd name="connsiteY167" fmla="*/ 3875 h 10051"/>
                <a:gd name="connsiteX168" fmla="*/ 9379 w 10000"/>
                <a:gd name="connsiteY168" fmla="*/ 3929 h 10051"/>
                <a:gd name="connsiteX169" fmla="*/ 9366 w 10000"/>
                <a:gd name="connsiteY169" fmla="*/ 3984 h 10051"/>
                <a:gd name="connsiteX170" fmla="*/ 9348 w 10000"/>
                <a:gd name="connsiteY170" fmla="*/ 4033 h 10051"/>
                <a:gd name="connsiteX171" fmla="*/ 9316 w 10000"/>
                <a:gd name="connsiteY171" fmla="*/ 4081 h 10051"/>
                <a:gd name="connsiteX172" fmla="*/ 9285 w 10000"/>
                <a:gd name="connsiteY172" fmla="*/ 4117 h 10051"/>
                <a:gd name="connsiteX173" fmla="*/ 9247 w 10000"/>
                <a:gd name="connsiteY173" fmla="*/ 4147 h 10051"/>
                <a:gd name="connsiteX174" fmla="*/ 9228 w 10000"/>
                <a:gd name="connsiteY174" fmla="*/ 4165 h 10051"/>
                <a:gd name="connsiteX175" fmla="*/ 9184 w 10000"/>
                <a:gd name="connsiteY175" fmla="*/ 4171 h 10051"/>
                <a:gd name="connsiteX176" fmla="*/ 9141 w 10000"/>
                <a:gd name="connsiteY176" fmla="*/ 4177 h 10051"/>
                <a:gd name="connsiteX177" fmla="*/ 9090 w 10000"/>
                <a:gd name="connsiteY177" fmla="*/ 4183 h 10051"/>
                <a:gd name="connsiteX178" fmla="*/ 9040 w 10000"/>
                <a:gd name="connsiteY178" fmla="*/ 4189 h 10051"/>
                <a:gd name="connsiteX179" fmla="*/ 8996 w 10000"/>
                <a:gd name="connsiteY179" fmla="*/ 4208 h 10051"/>
                <a:gd name="connsiteX180" fmla="*/ 8977 w 10000"/>
                <a:gd name="connsiteY180" fmla="*/ 4214 h 10051"/>
                <a:gd name="connsiteX181" fmla="*/ 8965 w 10000"/>
                <a:gd name="connsiteY181" fmla="*/ 4232 h 10051"/>
                <a:gd name="connsiteX182" fmla="*/ 8959 w 10000"/>
                <a:gd name="connsiteY182" fmla="*/ 4244 h 10051"/>
                <a:gd name="connsiteX183" fmla="*/ 8959 w 10000"/>
                <a:gd name="connsiteY183" fmla="*/ 4262 h 10051"/>
                <a:gd name="connsiteX184" fmla="*/ 8952 w 10000"/>
                <a:gd name="connsiteY184" fmla="*/ 4333 h 10051"/>
                <a:gd name="connsiteX185" fmla="*/ 8952 w 10000"/>
                <a:gd name="connsiteY185" fmla="*/ 4418 h 10051"/>
                <a:gd name="connsiteX186" fmla="*/ 8940 w 10000"/>
                <a:gd name="connsiteY186" fmla="*/ 4508 h 10051"/>
                <a:gd name="connsiteX187" fmla="*/ 8927 w 10000"/>
                <a:gd name="connsiteY187" fmla="*/ 4592 h 10051"/>
                <a:gd name="connsiteX188" fmla="*/ 8908 w 10000"/>
                <a:gd name="connsiteY188" fmla="*/ 4678 h 10051"/>
                <a:gd name="connsiteX189" fmla="*/ 8890 w 10000"/>
                <a:gd name="connsiteY189" fmla="*/ 4756 h 10051"/>
                <a:gd name="connsiteX190" fmla="*/ 8864 w 10000"/>
                <a:gd name="connsiteY190" fmla="*/ 4827 h 10051"/>
                <a:gd name="connsiteX191" fmla="*/ 8833 w 10000"/>
                <a:gd name="connsiteY191" fmla="*/ 4894 h 10051"/>
                <a:gd name="connsiteX192" fmla="*/ 8538 w 10000"/>
                <a:gd name="connsiteY192" fmla="*/ 4405 h 10051"/>
                <a:gd name="connsiteX193" fmla="*/ 8526 w 10000"/>
                <a:gd name="connsiteY193" fmla="*/ 4430 h 10051"/>
                <a:gd name="connsiteX194" fmla="*/ 8494 w 10000"/>
                <a:gd name="connsiteY194" fmla="*/ 4484 h 10051"/>
                <a:gd name="connsiteX195" fmla="*/ 8463 w 10000"/>
                <a:gd name="connsiteY195" fmla="*/ 4514 h 10051"/>
                <a:gd name="connsiteX196" fmla="*/ 8438 w 10000"/>
                <a:gd name="connsiteY196" fmla="*/ 4538 h 10051"/>
                <a:gd name="connsiteX197" fmla="*/ 8407 w 10000"/>
                <a:gd name="connsiteY197" fmla="*/ 4556 h 10051"/>
                <a:gd name="connsiteX198" fmla="*/ 8375 w 10000"/>
                <a:gd name="connsiteY198" fmla="*/ 4562 h 10051"/>
                <a:gd name="connsiteX199" fmla="*/ 8338 w 10000"/>
                <a:gd name="connsiteY199" fmla="*/ 4556 h 10051"/>
                <a:gd name="connsiteX200" fmla="*/ 8312 w 10000"/>
                <a:gd name="connsiteY200" fmla="*/ 4550 h 10051"/>
                <a:gd name="connsiteX201" fmla="*/ 8287 w 10000"/>
                <a:gd name="connsiteY201" fmla="*/ 4532 h 10051"/>
                <a:gd name="connsiteX202" fmla="*/ 8256 w 10000"/>
                <a:gd name="connsiteY202" fmla="*/ 4514 h 10051"/>
                <a:gd name="connsiteX203" fmla="*/ 8237 w 10000"/>
                <a:gd name="connsiteY203" fmla="*/ 4484 h 10051"/>
                <a:gd name="connsiteX204" fmla="*/ 8225 w 10000"/>
                <a:gd name="connsiteY204" fmla="*/ 4460 h 10051"/>
                <a:gd name="connsiteX205" fmla="*/ 8206 w 10000"/>
                <a:gd name="connsiteY205" fmla="*/ 4436 h 10051"/>
                <a:gd name="connsiteX206" fmla="*/ 8206 w 10000"/>
                <a:gd name="connsiteY206" fmla="*/ 4405 h 10051"/>
                <a:gd name="connsiteX207" fmla="*/ 8206 w 10000"/>
                <a:gd name="connsiteY207" fmla="*/ 4369 h 10051"/>
                <a:gd name="connsiteX208" fmla="*/ 8225 w 10000"/>
                <a:gd name="connsiteY208" fmla="*/ 4333 h 10051"/>
                <a:gd name="connsiteX209" fmla="*/ 8237 w 10000"/>
                <a:gd name="connsiteY209" fmla="*/ 4297 h 10051"/>
                <a:gd name="connsiteX210" fmla="*/ 8250 w 10000"/>
                <a:gd name="connsiteY210" fmla="*/ 4262 h 10051"/>
                <a:gd name="connsiteX211" fmla="*/ 8300 w 10000"/>
                <a:gd name="connsiteY211" fmla="*/ 4195 h 10051"/>
                <a:gd name="connsiteX212" fmla="*/ 8356 w 10000"/>
                <a:gd name="connsiteY212" fmla="*/ 4129 h 10051"/>
                <a:gd name="connsiteX213" fmla="*/ 8407 w 10000"/>
                <a:gd name="connsiteY213" fmla="*/ 4069 h 10051"/>
                <a:gd name="connsiteX214" fmla="*/ 8457 w 10000"/>
                <a:gd name="connsiteY214" fmla="*/ 4003 h 10051"/>
                <a:gd name="connsiteX215" fmla="*/ 8469 w 10000"/>
                <a:gd name="connsiteY215" fmla="*/ 3966 h 10051"/>
                <a:gd name="connsiteX216" fmla="*/ 8482 w 10000"/>
                <a:gd name="connsiteY216" fmla="*/ 3935 h 10051"/>
                <a:gd name="connsiteX217" fmla="*/ 8501 w 10000"/>
                <a:gd name="connsiteY217" fmla="*/ 3893 h 10051"/>
                <a:gd name="connsiteX218" fmla="*/ 8501 w 10000"/>
                <a:gd name="connsiteY218" fmla="*/ 3857 h 10051"/>
                <a:gd name="connsiteX219" fmla="*/ 7748 w 10000"/>
                <a:gd name="connsiteY219" fmla="*/ 3857 h 10051"/>
                <a:gd name="connsiteX220" fmla="*/ 7723 w 10000"/>
                <a:gd name="connsiteY220" fmla="*/ 3851 h 10051"/>
                <a:gd name="connsiteX221" fmla="*/ 7685 w 10000"/>
                <a:gd name="connsiteY221" fmla="*/ 3833 h 10051"/>
                <a:gd name="connsiteX222" fmla="*/ 7660 w 10000"/>
                <a:gd name="connsiteY222" fmla="*/ 3797 h 10051"/>
                <a:gd name="connsiteX223" fmla="*/ 7635 w 10000"/>
                <a:gd name="connsiteY223" fmla="*/ 3761 h 10051"/>
                <a:gd name="connsiteX224" fmla="*/ 7616 w 10000"/>
                <a:gd name="connsiteY224" fmla="*/ 3713 h 10051"/>
                <a:gd name="connsiteX225" fmla="*/ 7597 w 10000"/>
                <a:gd name="connsiteY225" fmla="*/ 3665 h 10051"/>
                <a:gd name="connsiteX226" fmla="*/ 7591 w 10000"/>
                <a:gd name="connsiteY226" fmla="*/ 3611 h 10051"/>
                <a:gd name="connsiteX227" fmla="*/ 7585 w 10000"/>
                <a:gd name="connsiteY227" fmla="*/ 3556 h 10051"/>
                <a:gd name="connsiteX228" fmla="*/ 7547 w 10000"/>
                <a:gd name="connsiteY228" fmla="*/ 3556 h 10051"/>
                <a:gd name="connsiteX229" fmla="*/ 7516 w 10000"/>
                <a:gd name="connsiteY229" fmla="*/ 3550 h 10051"/>
                <a:gd name="connsiteX230" fmla="*/ 7478 w 10000"/>
                <a:gd name="connsiteY230" fmla="*/ 3544 h 10051"/>
                <a:gd name="connsiteX231" fmla="*/ 7447 w 10000"/>
                <a:gd name="connsiteY231" fmla="*/ 3532 h 10051"/>
                <a:gd name="connsiteX232" fmla="*/ 7415 w 10000"/>
                <a:gd name="connsiteY232" fmla="*/ 3514 h 10051"/>
                <a:gd name="connsiteX233" fmla="*/ 7396 w 10000"/>
                <a:gd name="connsiteY233" fmla="*/ 3496 h 10051"/>
                <a:gd name="connsiteX234" fmla="*/ 7384 w 10000"/>
                <a:gd name="connsiteY234" fmla="*/ 3466 h 10051"/>
                <a:gd name="connsiteX235" fmla="*/ 7378 w 10000"/>
                <a:gd name="connsiteY235" fmla="*/ 3442 h 10051"/>
                <a:gd name="connsiteX236" fmla="*/ 7321 w 10000"/>
                <a:gd name="connsiteY236" fmla="*/ 3442 h 10051"/>
                <a:gd name="connsiteX237" fmla="*/ 7271 w 10000"/>
                <a:gd name="connsiteY237" fmla="*/ 3442 h 10051"/>
                <a:gd name="connsiteX238" fmla="*/ 7221 w 10000"/>
                <a:gd name="connsiteY238" fmla="*/ 3442 h 10051"/>
                <a:gd name="connsiteX239" fmla="*/ 7171 w 10000"/>
                <a:gd name="connsiteY239" fmla="*/ 3442 h 10051"/>
                <a:gd name="connsiteX240" fmla="*/ 7127 w 10000"/>
                <a:gd name="connsiteY240" fmla="*/ 3448 h 10051"/>
                <a:gd name="connsiteX241" fmla="*/ 7095 w 10000"/>
                <a:gd name="connsiteY241" fmla="*/ 3454 h 10051"/>
                <a:gd name="connsiteX242" fmla="*/ 7051 w 10000"/>
                <a:gd name="connsiteY242" fmla="*/ 3472 h 10051"/>
                <a:gd name="connsiteX243" fmla="*/ 7008 w 10000"/>
                <a:gd name="connsiteY243" fmla="*/ 3496 h 10051"/>
                <a:gd name="connsiteX244" fmla="*/ 6976 w 10000"/>
                <a:gd name="connsiteY244" fmla="*/ 3526 h 10051"/>
                <a:gd name="connsiteX245" fmla="*/ 6939 w 10000"/>
                <a:gd name="connsiteY245" fmla="*/ 3556 h 10051"/>
                <a:gd name="connsiteX246" fmla="*/ 6920 w 10000"/>
                <a:gd name="connsiteY246" fmla="*/ 3593 h 10051"/>
                <a:gd name="connsiteX247" fmla="*/ 6913 w 10000"/>
                <a:gd name="connsiteY247" fmla="*/ 3629 h 10051"/>
                <a:gd name="connsiteX248" fmla="*/ 6926 w 10000"/>
                <a:gd name="connsiteY248" fmla="*/ 3653 h 10051"/>
                <a:gd name="connsiteX249" fmla="*/ 6964 w 10000"/>
                <a:gd name="connsiteY249" fmla="*/ 3683 h 10051"/>
                <a:gd name="connsiteX250" fmla="*/ 7008 w 10000"/>
                <a:gd name="connsiteY250" fmla="*/ 3719 h 10051"/>
                <a:gd name="connsiteX251" fmla="*/ 7070 w 10000"/>
                <a:gd name="connsiteY251" fmla="*/ 3755 h 10051"/>
                <a:gd name="connsiteX252" fmla="*/ 7133 w 10000"/>
                <a:gd name="connsiteY252" fmla="*/ 3791 h 10051"/>
                <a:gd name="connsiteX253" fmla="*/ 7196 w 10000"/>
                <a:gd name="connsiteY253" fmla="*/ 3821 h 10051"/>
                <a:gd name="connsiteX254" fmla="*/ 7252 w 10000"/>
                <a:gd name="connsiteY254" fmla="*/ 3845 h 10051"/>
                <a:gd name="connsiteX255" fmla="*/ 7290 w 10000"/>
                <a:gd name="connsiteY255" fmla="*/ 3857 h 10051"/>
                <a:gd name="connsiteX256" fmla="*/ 7208 w 10000"/>
                <a:gd name="connsiteY256" fmla="*/ 3917 h 10051"/>
                <a:gd name="connsiteX257" fmla="*/ 7114 w 10000"/>
                <a:gd name="connsiteY257" fmla="*/ 3991 h 10051"/>
                <a:gd name="connsiteX258" fmla="*/ 7070 w 10000"/>
                <a:gd name="connsiteY258" fmla="*/ 4027 h 10051"/>
                <a:gd name="connsiteX259" fmla="*/ 7033 w 10000"/>
                <a:gd name="connsiteY259" fmla="*/ 4069 h 10051"/>
                <a:gd name="connsiteX260" fmla="*/ 7020 w 10000"/>
                <a:gd name="connsiteY260" fmla="*/ 4087 h 10051"/>
                <a:gd name="connsiteX261" fmla="*/ 7008 w 10000"/>
                <a:gd name="connsiteY261" fmla="*/ 4105 h 10051"/>
                <a:gd name="connsiteX262" fmla="*/ 7001 w 10000"/>
                <a:gd name="connsiteY262" fmla="*/ 4129 h 10051"/>
                <a:gd name="connsiteX263" fmla="*/ 6995 w 10000"/>
                <a:gd name="connsiteY263" fmla="*/ 4147 h 10051"/>
                <a:gd name="connsiteX264" fmla="*/ 7001 w 10000"/>
                <a:gd name="connsiteY264" fmla="*/ 4177 h 10051"/>
                <a:gd name="connsiteX265" fmla="*/ 7008 w 10000"/>
                <a:gd name="connsiteY265" fmla="*/ 4195 h 10051"/>
                <a:gd name="connsiteX266" fmla="*/ 7026 w 10000"/>
                <a:gd name="connsiteY266" fmla="*/ 4220 h 10051"/>
                <a:gd name="connsiteX267" fmla="*/ 7039 w 10000"/>
                <a:gd name="connsiteY267" fmla="*/ 4244 h 10051"/>
                <a:gd name="connsiteX268" fmla="*/ 7089 w 10000"/>
                <a:gd name="connsiteY268" fmla="*/ 4291 h 10051"/>
                <a:gd name="connsiteX269" fmla="*/ 7146 w 10000"/>
                <a:gd name="connsiteY269" fmla="*/ 4339 h 10051"/>
                <a:gd name="connsiteX270" fmla="*/ 7208 w 10000"/>
                <a:gd name="connsiteY270" fmla="*/ 4381 h 10051"/>
                <a:gd name="connsiteX271" fmla="*/ 7277 w 10000"/>
                <a:gd name="connsiteY271" fmla="*/ 4418 h 10051"/>
                <a:gd name="connsiteX272" fmla="*/ 7315 w 10000"/>
                <a:gd name="connsiteY272" fmla="*/ 4430 h 10051"/>
                <a:gd name="connsiteX273" fmla="*/ 7346 w 10000"/>
                <a:gd name="connsiteY273" fmla="*/ 4436 h 10051"/>
                <a:gd name="connsiteX274" fmla="*/ 7384 w 10000"/>
                <a:gd name="connsiteY274" fmla="*/ 4442 h 10051"/>
                <a:gd name="connsiteX275" fmla="*/ 7415 w 10000"/>
                <a:gd name="connsiteY275" fmla="*/ 4448 h 10051"/>
                <a:gd name="connsiteX276" fmla="*/ 7585 w 10000"/>
                <a:gd name="connsiteY276" fmla="*/ 5075 h 10051"/>
                <a:gd name="connsiteX277" fmla="*/ 7491 w 10000"/>
                <a:gd name="connsiteY277" fmla="*/ 5075 h 10051"/>
                <a:gd name="connsiteX278" fmla="*/ 7403 w 10000"/>
                <a:gd name="connsiteY278" fmla="*/ 5075 h 10051"/>
                <a:gd name="connsiteX279" fmla="*/ 7321 w 10000"/>
                <a:gd name="connsiteY279" fmla="*/ 5075 h 10051"/>
                <a:gd name="connsiteX280" fmla="*/ 7252 w 10000"/>
                <a:gd name="connsiteY280" fmla="*/ 5075 h 10051"/>
                <a:gd name="connsiteX281" fmla="*/ 7208 w 10000"/>
                <a:gd name="connsiteY281" fmla="*/ 5069 h 10051"/>
                <a:gd name="connsiteX282" fmla="*/ 7164 w 10000"/>
                <a:gd name="connsiteY282" fmla="*/ 5038 h 10051"/>
                <a:gd name="connsiteX283" fmla="*/ 7133 w 10000"/>
                <a:gd name="connsiteY283" fmla="*/ 5026 h 10051"/>
                <a:gd name="connsiteX284" fmla="*/ 7102 w 10000"/>
                <a:gd name="connsiteY284" fmla="*/ 5014 h 10051"/>
                <a:gd name="connsiteX285" fmla="*/ 7070 w 10000"/>
                <a:gd name="connsiteY285" fmla="*/ 5008 h 10051"/>
                <a:gd name="connsiteX286" fmla="*/ 7039 w 10000"/>
                <a:gd name="connsiteY286" fmla="*/ 5002 h 10051"/>
                <a:gd name="connsiteX287" fmla="*/ 7008 w 10000"/>
                <a:gd name="connsiteY287" fmla="*/ 5014 h 10051"/>
                <a:gd name="connsiteX288" fmla="*/ 6957 w 10000"/>
                <a:gd name="connsiteY288" fmla="*/ 5044 h 10051"/>
                <a:gd name="connsiteX289" fmla="*/ 6895 w 10000"/>
                <a:gd name="connsiteY289" fmla="*/ 5087 h 10051"/>
                <a:gd name="connsiteX290" fmla="*/ 6819 w 10000"/>
                <a:gd name="connsiteY290" fmla="*/ 5135 h 10051"/>
                <a:gd name="connsiteX291" fmla="*/ 6744 w 10000"/>
                <a:gd name="connsiteY291" fmla="*/ 5195 h 10051"/>
                <a:gd name="connsiteX292" fmla="*/ 6681 w 10000"/>
                <a:gd name="connsiteY292" fmla="*/ 5243 h 10051"/>
                <a:gd name="connsiteX293" fmla="*/ 6637 w 10000"/>
                <a:gd name="connsiteY293" fmla="*/ 5279 h 10051"/>
                <a:gd name="connsiteX294" fmla="*/ 6625 w 10000"/>
                <a:gd name="connsiteY294" fmla="*/ 5303 h 10051"/>
                <a:gd name="connsiteX295" fmla="*/ 6750 w 10000"/>
                <a:gd name="connsiteY295" fmla="*/ 5375 h 10051"/>
                <a:gd name="connsiteX296" fmla="*/ 6744 w 10000"/>
                <a:gd name="connsiteY296" fmla="*/ 5412 h 10051"/>
                <a:gd name="connsiteX297" fmla="*/ 6725 w 10000"/>
                <a:gd name="connsiteY297" fmla="*/ 5454 h 10051"/>
                <a:gd name="connsiteX298" fmla="*/ 6706 w 10000"/>
                <a:gd name="connsiteY298" fmla="*/ 5485 h 10051"/>
                <a:gd name="connsiteX299" fmla="*/ 6688 w 10000"/>
                <a:gd name="connsiteY299" fmla="*/ 5527 h 10051"/>
                <a:gd name="connsiteX300" fmla="*/ 6637 w 10000"/>
                <a:gd name="connsiteY300" fmla="*/ 5581 h 10051"/>
                <a:gd name="connsiteX301" fmla="*/ 6581 w 10000"/>
                <a:gd name="connsiteY301" fmla="*/ 5635 h 10051"/>
                <a:gd name="connsiteX302" fmla="*/ 6518 w 10000"/>
                <a:gd name="connsiteY302" fmla="*/ 5683 h 10051"/>
                <a:gd name="connsiteX303" fmla="*/ 6443 w 10000"/>
                <a:gd name="connsiteY303" fmla="*/ 5726 h 10051"/>
                <a:gd name="connsiteX304" fmla="*/ 6374 w 10000"/>
                <a:gd name="connsiteY304" fmla="*/ 5762 h 10051"/>
                <a:gd name="connsiteX305" fmla="*/ 6299 w 10000"/>
                <a:gd name="connsiteY305" fmla="*/ 5797 h 10051"/>
                <a:gd name="connsiteX306" fmla="*/ 6223 w 10000"/>
                <a:gd name="connsiteY306" fmla="*/ 5845 h 10051"/>
                <a:gd name="connsiteX307" fmla="*/ 6154 w 10000"/>
                <a:gd name="connsiteY307" fmla="*/ 5881 h 10051"/>
                <a:gd name="connsiteX308" fmla="*/ 6092 w 10000"/>
                <a:gd name="connsiteY308" fmla="*/ 5924 h 10051"/>
                <a:gd name="connsiteX309" fmla="*/ 6035 w 10000"/>
                <a:gd name="connsiteY309" fmla="*/ 5972 h 10051"/>
                <a:gd name="connsiteX310" fmla="*/ 6004 w 10000"/>
                <a:gd name="connsiteY310" fmla="*/ 5996 h 10051"/>
                <a:gd name="connsiteX311" fmla="*/ 5985 w 10000"/>
                <a:gd name="connsiteY311" fmla="*/ 6020 h 10051"/>
                <a:gd name="connsiteX312" fmla="*/ 5966 w 10000"/>
                <a:gd name="connsiteY312" fmla="*/ 6050 h 10051"/>
                <a:gd name="connsiteX313" fmla="*/ 5947 w 10000"/>
                <a:gd name="connsiteY313" fmla="*/ 6080 h 10051"/>
                <a:gd name="connsiteX314" fmla="*/ 5935 w 10000"/>
                <a:gd name="connsiteY314" fmla="*/ 6118 h 10051"/>
                <a:gd name="connsiteX315" fmla="*/ 5922 w 10000"/>
                <a:gd name="connsiteY315" fmla="*/ 6148 h 10051"/>
                <a:gd name="connsiteX316" fmla="*/ 5916 w 10000"/>
                <a:gd name="connsiteY316" fmla="*/ 6190 h 10051"/>
                <a:gd name="connsiteX317" fmla="*/ 5916 w 10000"/>
                <a:gd name="connsiteY317" fmla="*/ 6232 h 10051"/>
                <a:gd name="connsiteX318" fmla="*/ 5859 w 10000"/>
                <a:gd name="connsiteY318" fmla="*/ 6250 h 10051"/>
                <a:gd name="connsiteX319" fmla="*/ 5809 w 10000"/>
                <a:gd name="connsiteY319" fmla="*/ 6268 h 10051"/>
                <a:gd name="connsiteX320" fmla="*/ 5765 w 10000"/>
                <a:gd name="connsiteY320" fmla="*/ 6291 h 10051"/>
                <a:gd name="connsiteX321" fmla="*/ 5721 w 10000"/>
                <a:gd name="connsiteY321" fmla="*/ 6315 h 10051"/>
                <a:gd name="connsiteX322" fmla="*/ 5634 w 10000"/>
                <a:gd name="connsiteY322" fmla="*/ 6376 h 10051"/>
                <a:gd name="connsiteX323" fmla="*/ 5558 w 10000"/>
                <a:gd name="connsiteY323" fmla="*/ 6448 h 10051"/>
                <a:gd name="connsiteX324" fmla="*/ 5420 w 10000"/>
                <a:gd name="connsiteY324" fmla="*/ 6611 h 10051"/>
                <a:gd name="connsiteX325" fmla="*/ 5289 w 10000"/>
                <a:gd name="connsiteY325" fmla="*/ 6785 h 10051"/>
                <a:gd name="connsiteX326" fmla="*/ 5220 w 10000"/>
                <a:gd name="connsiteY326" fmla="*/ 6876 h 10051"/>
                <a:gd name="connsiteX327" fmla="*/ 5151 w 10000"/>
                <a:gd name="connsiteY327" fmla="*/ 6954 h 10051"/>
                <a:gd name="connsiteX328" fmla="*/ 5075 w 10000"/>
                <a:gd name="connsiteY328" fmla="*/ 7027 h 10051"/>
                <a:gd name="connsiteX329" fmla="*/ 4994 w 10000"/>
                <a:gd name="connsiteY329" fmla="*/ 7093 h 10051"/>
                <a:gd name="connsiteX330" fmla="*/ 4944 w 10000"/>
                <a:gd name="connsiteY330" fmla="*/ 7123 h 10051"/>
                <a:gd name="connsiteX331" fmla="*/ 4893 w 10000"/>
                <a:gd name="connsiteY331" fmla="*/ 7147 h 10051"/>
                <a:gd name="connsiteX332" fmla="*/ 4849 w 10000"/>
                <a:gd name="connsiteY332" fmla="*/ 7171 h 10051"/>
                <a:gd name="connsiteX333" fmla="*/ 4793 w 10000"/>
                <a:gd name="connsiteY333" fmla="*/ 7196 h 10051"/>
                <a:gd name="connsiteX334" fmla="*/ 4730 w 10000"/>
                <a:gd name="connsiteY334" fmla="*/ 7214 h 10051"/>
                <a:gd name="connsiteX335" fmla="*/ 4674 w 10000"/>
                <a:gd name="connsiteY335" fmla="*/ 7226 h 10051"/>
                <a:gd name="connsiteX336" fmla="*/ 4605 w 10000"/>
                <a:gd name="connsiteY336" fmla="*/ 7232 h 10051"/>
                <a:gd name="connsiteX337" fmla="*/ 4536 w 10000"/>
                <a:gd name="connsiteY337" fmla="*/ 7232 h 10051"/>
                <a:gd name="connsiteX338" fmla="*/ 4536 w 10000"/>
                <a:gd name="connsiteY338" fmla="*/ 7285 h 10051"/>
                <a:gd name="connsiteX339" fmla="*/ 4536 w 10000"/>
                <a:gd name="connsiteY339" fmla="*/ 7339 h 10051"/>
                <a:gd name="connsiteX340" fmla="*/ 4536 w 10000"/>
                <a:gd name="connsiteY340" fmla="*/ 7381 h 10051"/>
                <a:gd name="connsiteX341" fmla="*/ 4536 w 10000"/>
                <a:gd name="connsiteY341" fmla="*/ 7418 h 10051"/>
                <a:gd name="connsiteX342" fmla="*/ 4536 w 10000"/>
                <a:gd name="connsiteY342" fmla="*/ 7484 h 10051"/>
                <a:gd name="connsiteX343" fmla="*/ 4536 w 10000"/>
                <a:gd name="connsiteY343" fmla="*/ 7587 h 10051"/>
                <a:gd name="connsiteX344" fmla="*/ 4536 w 10000"/>
                <a:gd name="connsiteY344" fmla="*/ 7696 h 10051"/>
                <a:gd name="connsiteX345" fmla="*/ 4548 w 10000"/>
                <a:gd name="connsiteY345" fmla="*/ 7809 h 10051"/>
                <a:gd name="connsiteX346" fmla="*/ 4561 w 10000"/>
                <a:gd name="connsiteY346" fmla="*/ 7870 h 10051"/>
                <a:gd name="connsiteX347" fmla="*/ 4573 w 10000"/>
                <a:gd name="connsiteY347" fmla="*/ 7924 h 10051"/>
                <a:gd name="connsiteX348" fmla="*/ 4586 w 10000"/>
                <a:gd name="connsiteY348" fmla="*/ 7972 h 10051"/>
                <a:gd name="connsiteX349" fmla="*/ 4611 w 10000"/>
                <a:gd name="connsiteY349" fmla="*/ 8014 h 10051"/>
                <a:gd name="connsiteX350" fmla="*/ 4636 w 10000"/>
                <a:gd name="connsiteY350" fmla="*/ 8057 h 10051"/>
                <a:gd name="connsiteX351" fmla="*/ 4668 w 10000"/>
                <a:gd name="connsiteY351" fmla="*/ 8087 h 10051"/>
                <a:gd name="connsiteX352" fmla="*/ 4705 w 10000"/>
                <a:gd name="connsiteY352" fmla="*/ 8111 h 10051"/>
                <a:gd name="connsiteX353" fmla="*/ 4749 w 10000"/>
                <a:gd name="connsiteY353" fmla="*/ 8123 h 10051"/>
                <a:gd name="connsiteX354" fmla="*/ 4711 w 10000"/>
                <a:gd name="connsiteY354" fmla="*/ 8219 h 10051"/>
                <a:gd name="connsiteX355" fmla="*/ 4668 w 10000"/>
                <a:gd name="connsiteY355" fmla="*/ 8304 h 10051"/>
                <a:gd name="connsiteX356" fmla="*/ 4617 w 10000"/>
                <a:gd name="connsiteY356" fmla="*/ 8382 h 10051"/>
                <a:gd name="connsiteX357" fmla="*/ 4573 w 10000"/>
                <a:gd name="connsiteY357" fmla="*/ 8454 h 10051"/>
                <a:gd name="connsiteX358" fmla="*/ 4523 w 10000"/>
                <a:gd name="connsiteY358" fmla="*/ 8539 h 10051"/>
                <a:gd name="connsiteX359" fmla="*/ 4492 w 10000"/>
                <a:gd name="connsiteY359" fmla="*/ 8617 h 10051"/>
                <a:gd name="connsiteX360" fmla="*/ 4473 w 10000"/>
                <a:gd name="connsiteY360" fmla="*/ 8653 h 10051"/>
                <a:gd name="connsiteX361" fmla="*/ 4467 w 10000"/>
                <a:gd name="connsiteY361" fmla="*/ 8696 h 10051"/>
                <a:gd name="connsiteX362" fmla="*/ 4460 w 10000"/>
                <a:gd name="connsiteY362" fmla="*/ 8744 h 10051"/>
                <a:gd name="connsiteX363" fmla="*/ 4454 w 10000"/>
                <a:gd name="connsiteY363" fmla="*/ 8786 h 10051"/>
                <a:gd name="connsiteX364" fmla="*/ 4460 w 10000"/>
                <a:gd name="connsiteY364" fmla="*/ 8803 h 10051"/>
                <a:gd name="connsiteX365" fmla="*/ 4467 w 10000"/>
                <a:gd name="connsiteY365" fmla="*/ 8815 h 10051"/>
                <a:gd name="connsiteX366" fmla="*/ 4479 w 10000"/>
                <a:gd name="connsiteY366" fmla="*/ 8827 h 10051"/>
                <a:gd name="connsiteX367" fmla="*/ 4504 w 10000"/>
                <a:gd name="connsiteY367" fmla="*/ 8839 h 10051"/>
                <a:gd name="connsiteX368" fmla="*/ 4542 w 10000"/>
                <a:gd name="connsiteY368" fmla="*/ 8863 h 10051"/>
                <a:gd name="connsiteX369" fmla="*/ 4580 w 10000"/>
                <a:gd name="connsiteY369" fmla="*/ 8869 h 10051"/>
                <a:gd name="connsiteX370" fmla="*/ 4580 w 10000"/>
                <a:gd name="connsiteY370" fmla="*/ 9087 h 10051"/>
                <a:gd name="connsiteX371" fmla="*/ 4529 w 10000"/>
                <a:gd name="connsiteY371" fmla="*/ 9172 h 10051"/>
                <a:gd name="connsiteX372" fmla="*/ 4492 w 10000"/>
                <a:gd name="connsiteY372" fmla="*/ 9262 h 10051"/>
                <a:gd name="connsiteX373" fmla="*/ 4460 w 10000"/>
                <a:gd name="connsiteY373" fmla="*/ 9297 h 10051"/>
                <a:gd name="connsiteX374" fmla="*/ 4429 w 10000"/>
                <a:gd name="connsiteY374" fmla="*/ 9322 h 10051"/>
                <a:gd name="connsiteX375" fmla="*/ 4404 w 10000"/>
                <a:gd name="connsiteY375" fmla="*/ 9334 h 10051"/>
                <a:gd name="connsiteX376" fmla="*/ 4385 w 10000"/>
                <a:gd name="connsiteY376" fmla="*/ 9340 h 10051"/>
                <a:gd name="connsiteX377" fmla="*/ 4360 w 10000"/>
                <a:gd name="connsiteY377" fmla="*/ 9346 h 10051"/>
                <a:gd name="connsiteX378" fmla="*/ 4329 w 10000"/>
                <a:gd name="connsiteY378" fmla="*/ 9346 h 10051"/>
                <a:gd name="connsiteX379" fmla="*/ 4329 w 10000"/>
                <a:gd name="connsiteY379" fmla="*/ 9394 h 10051"/>
                <a:gd name="connsiteX380" fmla="*/ 4335 w 10000"/>
                <a:gd name="connsiteY380" fmla="*/ 9454 h 10051"/>
                <a:gd name="connsiteX381" fmla="*/ 4348 w 10000"/>
                <a:gd name="connsiteY381" fmla="*/ 9484 h 10051"/>
                <a:gd name="connsiteX382" fmla="*/ 4354 w 10000"/>
                <a:gd name="connsiteY382" fmla="*/ 9508 h 10051"/>
                <a:gd name="connsiteX383" fmla="*/ 4360 w 10000"/>
                <a:gd name="connsiteY383" fmla="*/ 9527 h 10051"/>
                <a:gd name="connsiteX384" fmla="*/ 4373 w 10000"/>
                <a:gd name="connsiteY384" fmla="*/ 9533 h 10051"/>
                <a:gd name="connsiteX385" fmla="*/ 4210 w 10000"/>
                <a:gd name="connsiteY385" fmla="*/ 9659 h 10051"/>
                <a:gd name="connsiteX386" fmla="*/ 4072 w 10000"/>
                <a:gd name="connsiteY386" fmla="*/ 9763 h 10051"/>
                <a:gd name="connsiteX387" fmla="*/ 4009 w 10000"/>
                <a:gd name="connsiteY387" fmla="*/ 9822 h 10051"/>
                <a:gd name="connsiteX388" fmla="*/ 3952 w 10000"/>
                <a:gd name="connsiteY388" fmla="*/ 9888 h 10051"/>
                <a:gd name="connsiteX389" fmla="*/ 3890 w 10000"/>
                <a:gd name="connsiteY389" fmla="*/ 9967 h 10051"/>
                <a:gd name="connsiteX390" fmla="*/ 3833 w 10000"/>
                <a:gd name="connsiteY390" fmla="*/ 10051 h 10051"/>
                <a:gd name="connsiteX391" fmla="*/ 3733 w 10000"/>
                <a:gd name="connsiteY391" fmla="*/ 10009 h 10051"/>
                <a:gd name="connsiteX392" fmla="*/ 3664 w 10000"/>
                <a:gd name="connsiteY392" fmla="*/ 9967 h 10051"/>
                <a:gd name="connsiteX393" fmla="*/ 3607 w 10000"/>
                <a:gd name="connsiteY393" fmla="*/ 9924 h 10051"/>
                <a:gd name="connsiteX394" fmla="*/ 3563 w 10000"/>
                <a:gd name="connsiteY394" fmla="*/ 9876 h 10051"/>
                <a:gd name="connsiteX395" fmla="*/ 3532 w 10000"/>
                <a:gd name="connsiteY395" fmla="*/ 9816 h 10051"/>
                <a:gd name="connsiteX396" fmla="*/ 3513 w 10000"/>
                <a:gd name="connsiteY396" fmla="*/ 9757 h 10051"/>
                <a:gd name="connsiteX397" fmla="*/ 3482 w 10000"/>
                <a:gd name="connsiteY397" fmla="*/ 9683 h 10051"/>
                <a:gd name="connsiteX398" fmla="*/ 3457 w 10000"/>
                <a:gd name="connsiteY398" fmla="*/ 9611 h 10051"/>
                <a:gd name="connsiteX399" fmla="*/ 3400 w 10000"/>
                <a:gd name="connsiteY399" fmla="*/ 9472 h 10051"/>
                <a:gd name="connsiteX400" fmla="*/ 3325 w 10000"/>
                <a:gd name="connsiteY400" fmla="*/ 9340 h 10051"/>
                <a:gd name="connsiteX401" fmla="*/ 3237 w 10000"/>
                <a:gd name="connsiteY401" fmla="*/ 9202 h 10051"/>
                <a:gd name="connsiteX402" fmla="*/ 3143 w 10000"/>
                <a:gd name="connsiteY402" fmla="*/ 9057 h 10051"/>
                <a:gd name="connsiteX403" fmla="*/ 3049 w 10000"/>
                <a:gd name="connsiteY403" fmla="*/ 8924 h 10051"/>
                <a:gd name="connsiteX404" fmla="*/ 2967 w 10000"/>
                <a:gd name="connsiteY404" fmla="*/ 8792 h 10051"/>
                <a:gd name="connsiteX405" fmla="*/ 2892 w 10000"/>
                <a:gd name="connsiteY405" fmla="*/ 8672 h 10051"/>
                <a:gd name="connsiteX406" fmla="*/ 2829 w 10000"/>
                <a:gd name="connsiteY406" fmla="*/ 8569 h 10051"/>
                <a:gd name="connsiteX407" fmla="*/ 2773 w 10000"/>
                <a:gd name="connsiteY407" fmla="*/ 8454 h 10051"/>
                <a:gd name="connsiteX408" fmla="*/ 2735 w 10000"/>
                <a:gd name="connsiteY408" fmla="*/ 8352 h 10051"/>
                <a:gd name="connsiteX409" fmla="*/ 2698 w 10000"/>
                <a:gd name="connsiteY409" fmla="*/ 8244 h 10051"/>
                <a:gd name="connsiteX410" fmla="*/ 2666 w 10000"/>
                <a:gd name="connsiteY410" fmla="*/ 8135 h 10051"/>
                <a:gd name="connsiteX411" fmla="*/ 2629 w 10000"/>
                <a:gd name="connsiteY411" fmla="*/ 8026 h 10051"/>
                <a:gd name="connsiteX412" fmla="*/ 2597 w 10000"/>
                <a:gd name="connsiteY412" fmla="*/ 7918 h 10051"/>
                <a:gd name="connsiteX413" fmla="*/ 2553 w 10000"/>
                <a:gd name="connsiteY413" fmla="*/ 7797 h 10051"/>
                <a:gd name="connsiteX414" fmla="*/ 2497 w 10000"/>
                <a:gd name="connsiteY414" fmla="*/ 7678 h 10051"/>
                <a:gd name="connsiteX415" fmla="*/ 2359 w 10000"/>
                <a:gd name="connsiteY415" fmla="*/ 7484 h 10051"/>
                <a:gd name="connsiteX416" fmla="*/ 2208 w 10000"/>
                <a:gd name="connsiteY416" fmla="*/ 7303 h 10051"/>
                <a:gd name="connsiteX417" fmla="*/ 2139 w 10000"/>
                <a:gd name="connsiteY417" fmla="*/ 7220 h 10051"/>
                <a:gd name="connsiteX418" fmla="*/ 2070 w 10000"/>
                <a:gd name="connsiteY418" fmla="*/ 7123 h 10051"/>
                <a:gd name="connsiteX419" fmla="*/ 2008 w 10000"/>
                <a:gd name="connsiteY419" fmla="*/ 7033 h 10051"/>
                <a:gd name="connsiteX420" fmla="*/ 1957 w 10000"/>
                <a:gd name="connsiteY420" fmla="*/ 6936 h 10051"/>
                <a:gd name="connsiteX421" fmla="*/ 1888 w 10000"/>
                <a:gd name="connsiteY421" fmla="*/ 6701 h 10051"/>
                <a:gd name="connsiteX422" fmla="*/ 1832 w 10000"/>
                <a:gd name="connsiteY422" fmla="*/ 6484 h 10051"/>
                <a:gd name="connsiteX423" fmla="*/ 1782 w 10000"/>
                <a:gd name="connsiteY423" fmla="*/ 6274 h 10051"/>
                <a:gd name="connsiteX424" fmla="*/ 1757 w 10000"/>
                <a:gd name="connsiteY424" fmla="*/ 6062 h 10051"/>
                <a:gd name="connsiteX425" fmla="*/ 1725 w 10000"/>
                <a:gd name="connsiteY425" fmla="*/ 5857 h 10051"/>
                <a:gd name="connsiteX426" fmla="*/ 1713 w 10000"/>
                <a:gd name="connsiteY426" fmla="*/ 5641 h 10051"/>
                <a:gd name="connsiteX427" fmla="*/ 1706 w 10000"/>
                <a:gd name="connsiteY427" fmla="*/ 5418 h 10051"/>
                <a:gd name="connsiteX428" fmla="*/ 1706 w 10000"/>
                <a:gd name="connsiteY428" fmla="*/ 5195 h 10051"/>
                <a:gd name="connsiteX429" fmla="*/ 1681 w 10000"/>
                <a:gd name="connsiteY429" fmla="*/ 5189 h 10051"/>
                <a:gd name="connsiteX430" fmla="*/ 1650 w 10000"/>
                <a:gd name="connsiteY430" fmla="*/ 5183 h 10051"/>
                <a:gd name="connsiteX431" fmla="*/ 1625 w 10000"/>
                <a:gd name="connsiteY431" fmla="*/ 5177 h 10051"/>
                <a:gd name="connsiteX432" fmla="*/ 1606 w 10000"/>
                <a:gd name="connsiteY432" fmla="*/ 5153 h 10051"/>
                <a:gd name="connsiteX433" fmla="*/ 1581 w 10000"/>
                <a:gd name="connsiteY433" fmla="*/ 5141 h 10051"/>
                <a:gd name="connsiteX434" fmla="*/ 1568 w 10000"/>
                <a:gd name="connsiteY434" fmla="*/ 5123 h 10051"/>
                <a:gd name="connsiteX435" fmla="*/ 1550 w 10000"/>
                <a:gd name="connsiteY435" fmla="*/ 5099 h 10051"/>
                <a:gd name="connsiteX436" fmla="*/ 1543 w 10000"/>
                <a:gd name="connsiteY436" fmla="*/ 5075 h 10051"/>
                <a:gd name="connsiteX437" fmla="*/ 1518 w 10000"/>
                <a:gd name="connsiteY437" fmla="*/ 5026 h 10051"/>
                <a:gd name="connsiteX438" fmla="*/ 1506 w 10000"/>
                <a:gd name="connsiteY438" fmla="*/ 4972 h 10051"/>
                <a:gd name="connsiteX439" fmla="*/ 1499 w 10000"/>
                <a:gd name="connsiteY439" fmla="*/ 4912 h 10051"/>
                <a:gd name="connsiteX440" fmla="*/ 1499 w 10000"/>
                <a:gd name="connsiteY440" fmla="*/ 4858 h 10051"/>
                <a:gd name="connsiteX441" fmla="*/ 1443 w 10000"/>
                <a:gd name="connsiteY441" fmla="*/ 4894 h 10051"/>
                <a:gd name="connsiteX442" fmla="*/ 1405 w 10000"/>
                <a:gd name="connsiteY442" fmla="*/ 4936 h 10051"/>
                <a:gd name="connsiteX443" fmla="*/ 1361 w 10000"/>
                <a:gd name="connsiteY443" fmla="*/ 4978 h 10051"/>
                <a:gd name="connsiteX444" fmla="*/ 1317 w 10000"/>
                <a:gd name="connsiteY444" fmla="*/ 5026 h 10051"/>
                <a:gd name="connsiteX445" fmla="*/ 1261 w 10000"/>
                <a:gd name="connsiteY445" fmla="*/ 5123 h 10051"/>
                <a:gd name="connsiteX446" fmla="*/ 1205 w 10000"/>
                <a:gd name="connsiteY446" fmla="*/ 5225 h 10051"/>
                <a:gd name="connsiteX447" fmla="*/ 1167 w 10000"/>
                <a:gd name="connsiteY447" fmla="*/ 5268 h 10051"/>
                <a:gd name="connsiteX448" fmla="*/ 1142 w 10000"/>
                <a:gd name="connsiteY448" fmla="*/ 5309 h 10051"/>
                <a:gd name="connsiteX449" fmla="*/ 1104 w 10000"/>
                <a:gd name="connsiteY449" fmla="*/ 5351 h 10051"/>
                <a:gd name="connsiteX450" fmla="*/ 1073 w 10000"/>
                <a:gd name="connsiteY450" fmla="*/ 5381 h 10051"/>
                <a:gd name="connsiteX451" fmla="*/ 1029 w 10000"/>
                <a:gd name="connsiteY451" fmla="*/ 5412 h 10051"/>
                <a:gd name="connsiteX452" fmla="*/ 985 w 10000"/>
                <a:gd name="connsiteY452" fmla="*/ 5430 h 10051"/>
                <a:gd name="connsiteX453" fmla="*/ 928 w 10000"/>
                <a:gd name="connsiteY453" fmla="*/ 5442 h 10051"/>
                <a:gd name="connsiteX454" fmla="*/ 872 w 10000"/>
                <a:gd name="connsiteY454" fmla="*/ 5448 h 10051"/>
                <a:gd name="connsiteX455" fmla="*/ 841 w 10000"/>
                <a:gd name="connsiteY455" fmla="*/ 5442 h 10051"/>
                <a:gd name="connsiteX456" fmla="*/ 797 w 10000"/>
                <a:gd name="connsiteY456" fmla="*/ 5430 h 10051"/>
                <a:gd name="connsiteX457" fmla="*/ 753 w 10000"/>
                <a:gd name="connsiteY457" fmla="*/ 5412 h 10051"/>
                <a:gd name="connsiteX458" fmla="*/ 709 w 10000"/>
                <a:gd name="connsiteY458" fmla="*/ 5381 h 10051"/>
                <a:gd name="connsiteX459" fmla="*/ 659 w 10000"/>
                <a:gd name="connsiteY459" fmla="*/ 5345 h 10051"/>
                <a:gd name="connsiteX460" fmla="*/ 609 w 10000"/>
                <a:gd name="connsiteY460" fmla="*/ 5309 h 10051"/>
                <a:gd name="connsiteX461" fmla="*/ 565 w 10000"/>
                <a:gd name="connsiteY461" fmla="*/ 5268 h 10051"/>
                <a:gd name="connsiteX462" fmla="*/ 514 w 10000"/>
                <a:gd name="connsiteY462" fmla="*/ 5219 h 10051"/>
                <a:gd name="connsiteX463" fmla="*/ 471 w 10000"/>
                <a:gd name="connsiteY463" fmla="*/ 5171 h 10051"/>
                <a:gd name="connsiteX464" fmla="*/ 433 w 10000"/>
                <a:gd name="connsiteY464" fmla="*/ 5117 h 10051"/>
                <a:gd name="connsiteX465" fmla="*/ 389 w 10000"/>
                <a:gd name="connsiteY465" fmla="*/ 5063 h 10051"/>
                <a:gd name="connsiteX466" fmla="*/ 358 w 10000"/>
                <a:gd name="connsiteY466" fmla="*/ 5008 h 10051"/>
                <a:gd name="connsiteX467" fmla="*/ 326 w 10000"/>
                <a:gd name="connsiteY467" fmla="*/ 4960 h 10051"/>
                <a:gd name="connsiteX468" fmla="*/ 307 w 10000"/>
                <a:gd name="connsiteY468" fmla="*/ 4912 h 10051"/>
                <a:gd name="connsiteX469" fmla="*/ 295 w 10000"/>
                <a:gd name="connsiteY469" fmla="*/ 4864 h 10051"/>
                <a:gd name="connsiteX470" fmla="*/ 289 w 10000"/>
                <a:gd name="connsiteY470" fmla="*/ 4815 h 10051"/>
                <a:gd name="connsiteX471" fmla="*/ 320 w 10000"/>
                <a:gd name="connsiteY471" fmla="*/ 4797 h 10051"/>
                <a:gd name="connsiteX472" fmla="*/ 395 w 10000"/>
                <a:gd name="connsiteY472" fmla="*/ 4762 h 10051"/>
                <a:gd name="connsiteX473" fmla="*/ 483 w 10000"/>
                <a:gd name="connsiteY473" fmla="*/ 4726 h 10051"/>
                <a:gd name="connsiteX474" fmla="*/ 533 w 10000"/>
                <a:gd name="connsiteY474" fmla="*/ 4708 h 10051"/>
                <a:gd name="connsiteX475" fmla="*/ 483 w 10000"/>
                <a:gd name="connsiteY475" fmla="*/ 4708 h 10051"/>
                <a:gd name="connsiteX476" fmla="*/ 420 w 10000"/>
                <a:gd name="connsiteY476" fmla="*/ 4702 h 10051"/>
                <a:gd name="connsiteX477" fmla="*/ 370 w 10000"/>
                <a:gd name="connsiteY477" fmla="*/ 4690 h 10051"/>
                <a:gd name="connsiteX478" fmla="*/ 320 w 10000"/>
                <a:gd name="connsiteY478" fmla="*/ 4684 h 10051"/>
                <a:gd name="connsiteX479" fmla="*/ 276 w 10000"/>
                <a:gd name="connsiteY479" fmla="*/ 4665 h 10051"/>
                <a:gd name="connsiteX480" fmla="*/ 232 w 10000"/>
                <a:gd name="connsiteY480" fmla="*/ 4653 h 10051"/>
                <a:gd name="connsiteX481" fmla="*/ 188 w 10000"/>
                <a:gd name="connsiteY481" fmla="*/ 4635 h 10051"/>
                <a:gd name="connsiteX482" fmla="*/ 157 w 10000"/>
                <a:gd name="connsiteY482" fmla="*/ 4610 h 10051"/>
                <a:gd name="connsiteX483" fmla="*/ 132 w 10000"/>
                <a:gd name="connsiteY483" fmla="*/ 4586 h 10051"/>
                <a:gd name="connsiteX484" fmla="*/ 100 w 10000"/>
                <a:gd name="connsiteY484" fmla="*/ 4562 h 10051"/>
                <a:gd name="connsiteX485" fmla="*/ 75 w 10000"/>
                <a:gd name="connsiteY485" fmla="*/ 4532 h 10051"/>
                <a:gd name="connsiteX486" fmla="*/ 50 w 10000"/>
                <a:gd name="connsiteY486" fmla="*/ 4508 h 10051"/>
                <a:gd name="connsiteX487" fmla="*/ 19 w 10000"/>
                <a:gd name="connsiteY487" fmla="*/ 4436 h 10051"/>
                <a:gd name="connsiteX488" fmla="*/ 0 w 10000"/>
                <a:gd name="connsiteY488" fmla="*/ 4369 h 10051"/>
                <a:gd name="connsiteX489" fmla="*/ 63 w 10000"/>
                <a:gd name="connsiteY489" fmla="*/ 4321 h 10051"/>
                <a:gd name="connsiteX490" fmla="*/ 132 w 10000"/>
                <a:gd name="connsiteY490" fmla="*/ 4285 h 10051"/>
                <a:gd name="connsiteX491" fmla="*/ 201 w 10000"/>
                <a:gd name="connsiteY491" fmla="*/ 4256 h 10051"/>
                <a:gd name="connsiteX492" fmla="*/ 276 w 10000"/>
                <a:gd name="connsiteY492" fmla="*/ 4232 h 10051"/>
                <a:gd name="connsiteX493" fmla="*/ 420 w 10000"/>
                <a:gd name="connsiteY493" fmla="*/ 4202 h 10051"/>
                <a:gd name="connsiteX494" fmla="*/ 565 w 10000"/>
                <a:gd name="connsiteY494" fmla="*/ 4177 h 10051"/>
                <a:gd name="connsiteX495" fmla="*/ 640 w 10000"/>
                <a:gd name="connsiteY495" fmla="*/ 4165 h 10051"/>
                <a:gd name="connsiteX496" fmla="*/ 709 w 10000"/>
                <a:gd name="connsiteY496" fmla="*/ 4141 h 10051"/>
                <a:gd name="connsiteX497" fmla="*/ 772 w 10000"/>
                <a:gd name="connsiteY497" fmla="*/ 4123 h 10051"/>
                <a:gd name="connsiteX498" fmla="*/ 834 w 10000"/>
                <a:gd name="connsiteY498" fmla="*/ 4093 h 10051"/>
                <a:gd name="connsiteX499" fmla="*/ 891 w 10000"/>
                <a:gd name="connsiteY499" fmla="*/ 4063 h 10051"/>
                <a:gd name="connsiteX500" fmla="*/ 947 w 10000"/>
                <a:gd name="connsiteY500" fmla="*/ 4015 h 10051"/>
                <a:gd name="connsiteX501" fmla="*/ 997 w 10000"/>
                <a:gd name="connsiteY501" fmla="*/ 3960 h 10051"/>
                <a:gd name="connsiteX502" fmla="*/ 1035 w 10000"/>
                <a:gd name="connsiteY502" fmla="*/ 3893 h 10051"/>
                <a:gd name="connsiteX503" fmla="*/ 1010 w 10000"/>
                <a:gd name="connsiteY503" fmla="*/ 3881 h 10051"/>
                <a:gd name="connsiteX504" fmla="*/ 985 w 10000"/>
                <a:gd name="connsiteY504" fmla="*/ 3863 h 10051"/>
                <a:gd name="connsiteX505" fmla="*/ 947 w 10000"/>
                <a:gd name="connsiteY505" fmla="*/ 3839 h 10051"/>
                <a:gd name="connsiteX506" fmla="*/ 910 w 10000"/>
                <a:gd name="connsiteY506" fmla="*/ 3803 h 10051"/>
                <a:gd name="connsiteX507" fmla="*/ 822 w 10000"/>
                <a:gd name="connsiteY507" fmla="*/ 3731 h 10051"/>
                <a:gd name="connsiteX508" fmla="*/ 740 w 10000"/>
                <a:gd name="connsiteY508" fmla="*/ 3647 h 10051"/>
                <a:gd name="connsiteX509" fmla="*/ 665 w 10000"/>
                <a:gd name="connsiteY509" fmla="*/ 3556 h 10051"/>
                <a:gd name="connsiteX510" fmla="*/ 596 w 10000"/>
                <a:gd name="connsiteY510" fmla="*/ 3460 h 10051"/>
                <a:gd name="connsiteX511" fmla="*/ 577 w 10000"/>
                <a:gd name="connsiteY511" fmla="*/ 3418 h 10051"/>
                <a:gd name="connsiteX512" fmla="*/ 558 w 10000"/>
                <a:gd name="connsiteY512" fmla="*/ 3376 h 10051"/>
                <a:gd name="connsiteX513" fmla="*/ 540 w 10000"/>
                <a:gd name="connsiteY513" fmla="*/ 3333 h 10051"/>
                <a:gd name="connsiteX514" fmla="*/ 533 w 10000"/>
                <a:gd name="connsiteY514" fmla="*/ 3297 h 10051"/>
                <a:gd name="connsiteX515" fmla="*/ 508 w 10000"/>
                <a:gd name="connsiteY515" fmla="*/ 3291 h 10051"/>
                <a:gd name="connsiteX516" fmla="*/ 483 w 10000"/>
                <a:gd name="connsiteY516" fmla="*/ 3285 h 10051"/>
                <a:gd name="connsiteX517" fmla="*/ 458 w 10000"/>
                <a:gd name="connsiteY517" fmla="*/ 3273 h 10051"/>
                <a:gd name="connsiteX518" fmla="*/ 439 w 10000"/>
                <a:gd name="connsiteY518" fmla="*/ 3250 h 10051"/>
                <a:gd name="connsiteX519" fmla="*/ 402 w 10000"/>
                <a:gd name="connsiteY519" fmla="*/ 3207 h 10051"/>
                <a:gd name="connsiteX520" fmla="*/ 370 w 10000"/>
                <a:gd name="connsiteY520" fmla="*/ 3147 h 10051"/>
                <a:gd name="connsiteX521" fmla="*/ 370 w 10000"/>
                <a:gd name="connsiteY521" fmla="*/ 3002 h 10051"/>
                <a:gd name="connsiteX522" fmla="*/ 458 w 10000"/>
                <a:gd name="connsiteY522" fmla="*/ 2996 h 10051"/>
                <a:gd name="connsiteX523" fmla="*/ 540 w 10000"/>
                <a:gd name="connsiteY523" fmla="*/ 2990 h 10051"/>
                <a:gd name="connsiteX524" fmla="*/ 615 w 10000"/>
                <a:gd name="connsiteY524" fmla="*/ 2978 h 10051"/>
                <a:gd name="connsiteX525" fmla="*/ 684 w 10000"/>
                <a:gd name="connsiteY525" fmla="*/ 2954 h 10051"/>
                <a:gd name="connsiteX526" fmla="*/ 747 w 10000"/>
                <a:gd name="connsiteY526" fmla="*/ 2936 h 10051"/>
                <a:gd name="connsiteX527" fmla="*/ 809 w 10000"/>
                <a:gd name="connsiteY527" fmla="*/ 2905 h 10051"/>
                <a:gd name="connsiteX528" fmla="*/ 866 w 10000"/>
                <a:gd name="connsiteY528" fmla="*/ 2875 h 10051"/>
                <a:gd name="connsiteX529" fmla="*/ 922 w 10000"/>
                <a:gd name="connsiteY529" fmla="*/ 2839 h 10051"/>
                <a:gd name="connsiteX530" fmla="*/ 966 w 10000"/>
                <a:gd name="connsiteY530" fmla="*/ 2797 h 10051"/>
                <a:gd name="connsiteX531" fmla="*/ 1016 w 10000"/>
                <a:gd name="connsiteY531" fmla="*/ 2756 h 10051"/>
                <a:gd name="connsiteX532" fmla="*/ 1060 w 10000"/>
                <a:gd name="connsiteY532" fmla="*/ 2714 h 10051"/>
                <a:gd name="connsiteX533" fmla="*/ 1098 w 10000"/>
                <a:gd name="connsiteY533" fmla="*/ 2665 h 10051"/>
                <a:gd name="connsiteX534" fmla="*/ 1167 w 10000"/>
                <a:gd name="connsiteY534" fmla="*/ 2569 h 10051"/>
                <a:gd name="connsiteX535" fmla="*/ 1236 w 10000"/>
                <a:gd name="connsiteY535" fmla="*/ 2459 h 10051"/>
                <a:gd name="connsiteX536" fmla="*/ 1355 w 10000"/>
                <a:gd name="connsiteY536" fmla="*/ 2243 h 10051"/>
                <a:gd name="connsiteX537" fmla="*/ 1474 w 10000"/>
                <a:gd name="connsiteY537" fmla="*/ 2026 h 10051"/>
                <a:gd name="connsiteX538" fmla="*/ 1543 w 10000"/>
                <a:gd name="connsiteY538" fmla="*/ 1930 h 10051"/>
                <a:gd name="connsiteX539" fmla="*/ 1612 w 10000"/>
                <a:gd name="connsiteY539" fmla="*/ 1845 h 10051"/>
                <a:gd name="connsiteX540" fmla="*/ 1650 w 10000"/>
                <a:gd name="connsiteY540" fmla="*/ 1796 h 10051"/>
                <a:gd name="connsiteX541" fmla="*/ 1694 w 10000"/>
                <a:gd name="connsiteY541" fmla="*/ 1760 h 10051"/>
                <a:gd name="connsiteX542" fmla="*/ 1738 w 10000"/>
                <a:gd name="connsiteY542" fmla="*/ 1731 h 10051"/>
                <a:gd name="connsiteX543" fmla="*/ 1788 w 10000"/>
                <a:gd name="connsiteY543" fmla="*/ 1701 h 10051"/>
                <a:gd name="connsiteX544" fmla="*/ 1750 w 10000"/>
                <a:gd name="connsiteY544" fmla="*/ 1628 h 10051"/>
                <a:gd name="connsiteX545" fmla="*/ 1719 w 10000"/>
                <a:gd name="connsiteY545" fmla="*/ 1562 h 10051"/>
                <a:gd name="connsiteX546" fmla="*/ 1713 w 10000"/>
                <a:gd name="connsiteY546" fmla="*/ 1532 h 10051"/>
                <a:gd name="connsiteX547" fmla="*/ 1706 w 10000"/>
                <a:gd name="connsiteY547" fmla="*/ 1502 h 10051"/>
                <a:gd name="connsiteX548" fmla="*/ 1706 w 10000"/>
                <a:gd name="connsiteY548" fmla="*/ 1466 h 10051"/>
                <a:gd name="connsiteX549" fmla="*/ 1706 w 10000"/>
                <a:gd name="connsiteY549" fmla="*/ 1436 h 10051"/>
                <a:gd name="connsiteX550" fmla="*/ 1713 w 10000"/>
                <a:gd name="connsiteY550" fmla="*/ 1405 h 10051"/>
                <a:gd name="connsiteX551" fmla="*/ 1719 w 10000"/>
                <a:gd name="connsiteY551" fmla="*/ 1375 h 10051"/>
                <a:gd name="connsiteX552" fmla="*/ 1731 w 10000"/>
                <a:gd name="connsiteY552" fmla="*/ 1351 h 10051"/>
                <a:gd name="connsiteX553" fmla="*/ 1757 w 10000"/>
                <a:gd name="connsiteY553" fmla="*/ 1327 h 10051"/>
                <a:gd name="connsiteX554" fmla="*/ 1775 w 10000"/>
                <a:gd name="connsiteY554" fmla="*/ 1309 h 10051"/>
                <a:gd name="connsiteX555" fmla="*/ 1801 w 10000"/>
                <a:gd name="connsiteY555" fmla="*/ 1291 h 10051"/>
                <a:gd name="connsiteX556" fmla="*/ 1838 w 10000"/>
                <a:gd name="connsiteY556" fmla="*/ 1273 h 10051"/>
                <a:gd name="connsiteX557" fmla="*/ 1870 w 10000"/>
                <a:gd name="connsiteY557" fmla="*/ 1255 h 10051"/>
                <a:gd name="connsiteX558" fmla="*/ 1688 w 10000"/>
                <a:gd name="connsiteY558" fmla="*/ 1093 h 10051"/>
                <a:gd name="connsiteX559" fmla="*/ 1550 w 10000"/>
                <a:gd name="connsiteY559" fmla="*/ 971 h 10051"/>
                <a:gd name="connsiteX560" fmla="*/ 1487 w 10000"/>
                <a:gd name="connsiteY560" fmla="*/ 911 h 10051"/>
                <a:gd name="connsiteX561" fmla="*/ 1424 w 10000"/>
                <a:gd name="connsiteY561" fmla="*/ 845 h 10051"/>
                <a:gd name="connsiteX562" fmla="*/ 1361 w 10000"/>
                <a:gd name="connsiteY562" fmla="*/ 760 h 10051"/>
                <a:gd name="connsiteX563" fmla="*/ 1286 w 10000"/>
                <a:gd name="connsiteY563" fmla="*/ 659 h 10051"/>
                <a:gd name="connsiteX564" fmla="*/ 1286 w 10000"/>
                <a:gd name="connsiteY564" fmla="*/ 400 h 10051"/>
                <a:gd name="connsiteX565" fmla="*/ 1437 w 10000"/>
                <a:gd name="connsiteY565" fmla="*/ 400 h 10051"/>
                <a:gd name="connsiteX566" fmla="*/ 1606 w 10000"/>
                <a:gd name="connsiteY566" fmla="*/ 388 h 10051"/>
                <a:gd name="connsiteX567" fmla="*/ 1694 w 10000"/>
                <a:gd name="connsiteY567" fmla="*/ 382 h 10051"/>
                <a:gd name="connsiteX568" fmla="*/ 1775 w 10000"/>
                <a:gd name="connsiteY568" fmla="*/ 369 h 10051"/>
                <a:gd name="connsiteX569" fmla="*/ 1863 w 10000"/>
                <a:gd name="connsiteY569" fmla="*/ 350 h 10051"/>
                <a:gd name="connsiteX570" fmla="*/ 1945 w 10000"/>
                <a:gd name="connsiteY570" fmla="*/ 332 h 10051"/>
                <a:gd name="connsiteX571" fmla="*/ 2020 w 10000"/>
                <a:gd name="connsiteY571" fmla="*/ 314 h 10051"/>
                <a:gd name="connsiteX572" fmla="*/ 2102 w 10000"/>
                <a:gd name="connsiteY572" fmla="*/ 284 h 10051"/>
                <a:gd name="connsiteX573" fmla="*/ 2177 w 10000"/>
                <a:gd name="connsiteY573" fmla="*/ 254 h 10051"/>
                <a:gd name="connsiteX574" fmla="*/ 2240 w 10000"/>
                <a:gd name="connsiteY574" fmla="*/ 213 h 10051"/>
                <a:gd name="connsiteX575" fmla="*/ 2296 w 10000"/>
                <a:gd name="connsiteY575" fmla="*/ 171 h 10051"/>
                <a:gd name="connsiteX576" fmla="*/ 2621 w 10000"/>
                <a:gd name="connsiteY576" fmla="*/ 62 h 10051"/>
                <a:gd name="connsiteX577" fmla="*/ 2631 w 10000"/>
                <a:gd name="connsiteY577" fmla="*/ 1 h 10051"/>
                <a:gd name="connsiteX578" fmla="*/ 2415 w 10000"/>
                <a:gd name="connsiteY578" fmla="*/ 126 h 10051"/>
                <a:gd name="connsiteX0" fmla="*/ 2690 w 10000"/>
                <a:gd name="connsiteY0" fmla="*/ 97 h 10022"/>
                <a:gd name="connsiteX1" fmla="*/ 2509 w 10000"/>
                <a:gd name="connsiteY1" fmla="*/ 57 h 10022"/>
                <a:gd name="connsiteX2" fmla="*/ 2818 w 10000"/>
                <a:gd name="connsiteY2" fmla="*/ 23 h 10022"/>
                <a:gd name="connsiteX3" fmla="*/ 2776 w 10000"/>
                <a:gd name="connsiteY3" fmla="*/ 105 h 10022"/>
                <a:gd name="connsiteX4" fmla="*/ 2851 w 10000"/>
                <a:gd name="connsiteY4" fmla="*/ 58 h 10022"/>
                <a:gd name="connsiteX5" fmla="*/ 2880 w 10000"/>
                <a:gd name="connsiteY5" fmla="*/ 11 h 10022"/>
                <a:gd name="connsiteX6" fmla="*/ 3155 w 10000"/>
                <a:gd name="connsiteY6" fmla="*/ 88 h 10022"/>
                <a:gd name="connsiteX7" fmla="*/ 3162 w 10000"/>
                <a:gd name="connsiteY7" fmla="*/ 242 h 10022"/>
                <a:gd name="connsiteX8" fmla="*/ 3120 w 10000"/>
                <a:gd name="connsiteY8" fmla="*/ 367 h 10022"/>
                <a:gd name="connsiteX9" fmla="*/ 3152 w 10000"/>
                <a:gd name="connsiteY9" fmla="*/ 430 h 10022"/>
                <a:gd name="connsiteX10" fmla="*/ 3093 w 10000"/>
                <a:gd name="connsiteY10" fmla="*/ 515 h 10022"/>
                <a:gd name="connsiteX11" fmla="*/ 2992 w 10000"/>
                <a:gd name="connsiteY11" fmla="*/ 606 h 10022"/>
                <a:gd name="connsiteX12" fmla="*/ 3043 w 10000"/>
                <a:gd name="connsiteY12" fmla="*/ 630 h 10022"/>
                <a:gd name="connsiteX13" fmla="*/ 3087 w 10000"/>
                <a:gd name="connsiteY13" fmla="*/ 672 h 10022"/>
                <a:gd name="connsiteX14" fmla="*/ 3130 w 10000"/>
                <a:gd name="connsiteY14" fmla="*/ 719 h 10022"/>
                <a:gd name="connsiteX15" fmla="*/ 3174 w 10000"/>
                <a:gd name="connsiteY15" fmla="*/ 768 h 10022"/>
                <a:gd name="connsiteX16" fmla="*/ 3212 w 10000"/>
                <a:gd name="connsiteY16" fmla="*/ 828 h 10022"/>
                <a:gd name="connsiteX17" fmla="*/ 3256 w 10000"/>
                <a:gd name="connsiteY17" fmla="*/ 882 h 10022"/>
                <a:gd name="connsiteX18" fmla="*/ 3281 w 10000"/>
                <a:gd name="connsiteY18" fmla="*/ 942 h 10022"/>
                <a:gd name="connsiteX19" fmla="*/ 3312 w 10000"/>
                <a:gd name="connsiteY19" fmla="*/ 1009 h 10022"/>
                <a:gd name="connsiteX20" fmla="*/ 3331 w 10000"/>
                <a:gd name="connsiteY20" fmla="*/ 1076 h 10022"/>
                <a:gd name="connsiteX21" fmla="*/ 3043 w 10000"/>
                <a:gd name="connsiteY21" fmla="*/ 1076 h 10022"/>
                <a:gd name="connsiteX22" fmla="*/ 3043 w 10000"/>
                <a:gd name="connsiteY22" fmla="*/ 1262 h 10022"/>
                <a:gd name="connsiteX23" fmla="*/ 3074 w 10000"/>
                <a:gd name="connsiteY23" fmla="*/ 1340 h 10022"/>
                <a:gd name="connsiteX24" fmla="*/ 3118 w 10000"/>
                <a:gd name="connsiteY24" fmla="*/ 1407 h 10022"/>
                <a:gd name="connsiteX25" fmla="*/ 3168 w 10000"/>
                <a:gd name="connsiteY25" fmla="*/ 1467 h 10022"/>
                <a:gd name="connsiteX26" fmla="*/ 3225 w 10000"/>
                <a:gd name="connsiteY26" fmla="*/ 1509 h 10022"/>
                <a:gd name="connsiteX27" fmla="*/ 3281 w 10000"/>
                <a:gd name="connsiteY27" fmla="*/ 1551 h 10022"/>
                <a:gd name="connsiteX28" fmla="*/ 3350 w 10000"/>
                <a:gd name="connsiteY28" fmla="*/ 1581 h 10022"/>
                <a:gd name="connsiteX29" fmla="*/ 3413 w 10000"/>
                <a:gd name="connsiteY29" fmla="*/ 1611 h 10022"/>
                <a:gd name="connsiteX30" fmla="*/ 3488 w 10000"/>
                <a:gd name="connsiteY30" fmla="*/ 1636 h 10022"/>
                <a:gd name="connsiteX31" fmla="*/ 3626 w 10000"/>
                <a:gd name="connsiteY31" fmla="*/ 1690 h 10022"/>
                <a:gd name="connsiteX32" fmla="*/ 3764 w 10000"/>
                <a:gd name="connsiteY32" fmla="*/ 1743 h 10022"/>
                <a:gd name="connsiteX33" fmla="*/ 3827 w 10000"/>
                <a:gd name="connsiteY33" fmla="*/ 1780 h 10022"/>
                <a:gd name="connsiteX34" fmla="*/ 3890 w 10000"/>
                <a:gd name="connsiteY34" fmla="*/ 1828 h 10022"/>
                <a:gd name="connsiteX35" fmla="*/ 3946 w 10000"/>
                <a:gd name="connsiteY35" fmla="*/ 1877 h 10022"/>
                <a:gd name="connsiteX36" fmla="*/ 4003 w 10000"/>
                <a:gd name="connsiteY36" fmla="*/ 1931 h 10022"/>
                <a:gd name="connsiteX37" fmla="*/ 3959 w 10000"/>
                <a:gd name="connsiteY37" fmla="*/ 2492 h 10022"/>
                <a:gd name="connsiteX38" fmla="*/ 4034 w 10000"/>
                <a:gd name="connsiteY38" fmla="*/ 2546 h 10022"/>
                <a:gd name="connsiteX39" fmla="*/ 4141 w 10000"/>
                <a:gd name="connsiteY39" fmla="*/ 2612 h 10022"/>
                <a:gd name="connsiteX40" fmla="*/ 4260 w 10000"/>
                <a:gd name="connsiteY40" fmla="*/ 2672 h 10022"/>
                <a:gd name="connsiteX41" fmla="*/ 4398 w 10000"/>
                <a:gd name="connsiteY41" fmla="*/ 2727 h 10022"/>
                <a:gd name="connsiteX42" fmla="*/ 4536 w 10000"/>
                <a:gd name="connsiteY42" fmla="*/ 2780 h 10022"/>
                <a:gd name="connsiteX43" fmla="*/ 4668 w 10000"/>
                <a:gd name="connsiteY43" fmla="*/ 2822 h 10022"/>
                <a:gd name="connsiteX44" fmla="*/ 4724 w 10000"/>
                <a:gd name="connsiteY44" fmla="*/ 2840 h 10022"/>
                <a:gd name="connsiteX45" fmla="*/ 4780 w 10000"/>
                <a:gd name="connsiteY45" fmla="*/ 2852 h 10022"/>
                <a:gd name="connsiteX46" fmla="*/ 4831 w 10000"/>
                <a:gd name="connsiteY46" fmla="*/ 2858 h 10022"/>
                <a:gd name="connsiteX47" fmla="*/ 4875 w 10000"/>
                <a:gd name="connsiteY47" fmla="*/ 2858 h 10022"/>
                <a:gd name="connsiteX48" fmla="*/ 4887 w 10000"/>
                <a:gd name="connsiteY48" fmla="*/ 2901 h 10022"/>
                <a:gd name="connsiteX49" fmla="*/ 4918 w 10000"/>
                <a:gd name="connsiteY49" fmla="*/ 2937 h 10022"/>
                <a:gd name="connsiteX50" fmla="*/ 4950 w 10000"/>
                <a:gd name="connsiteY50" fmla="*/ 2955 h 10022"/>
                <a:gd name="connsiteX51" fmla="*/ 4987 w 10000"/>
                <a:gd name="connsiteY51" fmla="*/ 2967 h 10022"/>
                <a:gd name="connsiteX52" fmla="*/ 5019 w 10000"/>
                <a:gd name="connsiteY52" fmla="*/ 2979 h 10022"/>
                <a:gd name="connsiteX53" fmla="*/ 5063 w 10000"/>
                <a:gd name="connsiteY53" fmla="*/ 2979 h 10022"/>
                <a:gd name="connsiteX54" fmla="*/ 5107 w 10000"/>
                <a:gd name="connsiteY54" fmla="*/ 2973 h 10022"/>
                <a:gd name="connsiteX55" fmla="*/ 5157 w 10000"/>
                <a:gd name="connsiteY55" fmla="*/ 2967 h 10022"/>
                <a:gd name="connsiteX56" fmla="*/ 5245 w 10000"/>
                <a:gd name="connsiteY56" fmla="*/ 2949 h 10022"/>
                <a:gd name="connsiteX57" fmla="*/ 5345 w 10000"/>
                <a:gd name="connsiteY57" fmla="*/ 2925 h 10022"/>
                <a:gd name="connsiteX58" fmla="*/ 5383 w 10000"/>
                <a:gd name="connsiteY58" fmla="*/ 2925 h 10022"/>
                <a:gd name="connsiteX59" fmla="*/ 5427 w 10000"/>
                <a:gd name="connsiteY59" fmla="*/ 2919 h 10022"/>
                <a:gd name="connsiteX60" fmla="*/ 5464 w 10000"/>
                <a:gd name="connsiteY60" fmla="*/ 2925 h 10022"/>
                <a:gd name="connsiteX61" fmla="*/ 5502 w 10000"/>
                <a:gd name="connsiteY61" fmla="*/ 2931 h 10022"/>
                <a:gd name="connsiteX62" fmla="*/ 5558 w 10000"/>
                <a:gd name="connsiteY62" fmla="*/ 2967 h 10022"/>
                <a:gd name="connsiteX63" fmla="*/ 5596 w 10000"/>
                <a:gd name="connsiteY63" fmla="*/ 2997 h 10022"/>
                <a:gd name="connsiteX64" fmla="*/ 5634 w 10000"/>
                <a:gd name="connsiteY64" fmla="*/ 3039 h 10022"/>
                <a:gd name="connsiteX65" fmla="*/ 5665 w 10000"/>
                <a:gd name="connsiteY65" fmla="*/ 3075 h 10022"/>
                <a:gd name="connsiteX66" fmla="*/ 5696 w 10000"/>
                <a:gd name="connsiteY66" fmla="*/ 3112 h 10022"/>
                <a:gd name="connsiteX67" fmla="*/ 5734 w 10000"/>
                <a:gd name="connsiteY67" fmla="*/ 3148 h 10022"/>
                <a:gd name="connsiteX68" fmla="*/ 5759 w 10000"/>
                <a:gd name="connsiteY68" fmla="*/ 3166 h 10022"/>
                <a:gd name="connsiteX69" fmla="*/ 5778 w 10000"/>
                <a:gd name="connsiteY69" fmla="*/ 3178 h 10022"/>
                <a:gd name="connsiteX70" fmla="*/ 5803 w 10000"/>
                <a:gd name="connsiteY70" fmla="*/ 3190 h 10022"/>
                <a:gd name="connsiteX71" fmla="*/ 5834 w 10000"/>
                <a:gd name="connsiteY71" fmla="*/ 3196 h 10022"/>
                <a:gd name="connsiteX72" fmla="*/ 5935 w 10000"/>
                <a:gd name="connsiteY72" fmla="*/ 3215 h 10022"/>
                <a:gd name="connsiteX73" fmla="*/ 6073 w 10000"/>
                <a:gd name="connsiteY73" fmla="*/ 3250 h 10022"/>
                <a:gd name="connsiteX74" fmla="*/ 6230 w 10000"/>
                <a:gd name="connsiteY74" fmla="*/ 3286 h 10022"/>
                <a:gd name="connsiteX75" fmla="*/ 6405 w 10000"/>
                <a:gd name="connsiteY75" fmla="*/ 3329 h 10022"/>
                <a:gd name="connsiteX76" fmla="*/ 6568 w 10000"/>
                <a:gd name="connsiteY76" fmla="*/ 3359 h 10022"/>
                <a:gd name="connsiteX77" fmla="*/ 6719 w 10000"/>
                <a:gd name="connsiteY77" fmla="*/ 3383 h 10022"/>
                <a:gd name="connsiteX78" fmla="*/ 6788 w 10000"/>
                <a:gd name="connsiteY78" fmla="*/ 3389 h 10022"/>
                <a:gd name="connsiteX79" fmla="*/ 6838 w 10000"/>
                <a:gd name="connsiteY79" fmla="*/ 3395 h 10022"/>
                <a:gd name="connsiteX80" fmla="*/ 6888 w 10000"/>
                <a:gd name="connsiteY80" fmla="*/ 3389 h 10022"/>
                <a:gd name="connsiteX81" fmla="*/ 6913 w 10000"/>
                <a:gd name="connsiteY81" fmla="*/ 3377 h 10022"/>
                <a:gd name="connsiteX82" fmla="*/ 6888 w 10000"/>
                <a:gd name="connsiteY82" fmla="*/ 3335 h 10022"/>
                <a:gd name="connsiteX83" fmla="*/ 6857 w 10000"/>
                <a:gd name="connsiteY83" fmla="*/ 3286 h 10022"/>
                <a:gd name="connsiteX84" fmla="*/ 6838 w 10000"/>
                <a:gd name="connsiteY84" fmla="*/ 3238 h 10022"/>
                <a:gd name="connsiteX85" fmla="*/ 6826 w 10000"/>
                <a:gd name="connsiteY85" fmla="*/ 3184 h 10022"/>
                <a:gd name="connsiteX86" fmla="*/ 6794 w 10000"/>
                <a:gd name="connsiteY86" fmla="*/ 3093 h 10022"/>
                <a:gd name="connsiteX87" fmla="*/ 6788 w 10000"/>
                <a:gd name="connsiteY87" fmla="*/ 3045 h 10022"/>
                <a:gd name="connsiteX88" fmla="*/ 6788 w 10000"/>
                <a:gd name="connsiteY88" fmla="*/ 2858 h 10022"/>
                <a:gd name="connsiteX89" fmla="*/ 6788 w 10000"/>
                <a:gd name="connsiteY89" fmla="*/ 2672 h 10022"/>
                <a:gd name="connsiteX90" fmla="*/ 6995 w 10000"/>
                <a:gd name="connsiteY90" fmla="*/ 2672 h 10022"/>
                <a:gd name="connsiteX91" fmla="*/ 7033 w 10000"/>
                <a:gd name="connsiteY91" fmla="*/ 2738 h 10022"/>
                <a:gd name="connsiteX92" fmla="*/ 7058 w 10000"/>
                <a:gd name="connsiteY92" fmla="*/ 2780 h 10022"/>
                <a:gd name="connsiteX93" fmla="*/ 7095 w 10000"/>
                <a:gd name="connsiteY93" fmla="*/ 2816 h 10022"/>
                <a:gd name="connsiteX94" fmla="*/ 7127 w 10000"/>
                <a:gd name="connsiteY94" fmla="*/ 2858 h 10022"/>
                <a:gd name="connsiteX95" fmla="*/ 7120 w 10000"/>
                <a:gd name="connsiteY95" fmla="*/ 2955 h 10022"/>
                <a:gd name="connsiteX96" fmla="*/ 7102 w 10000"/>
                <a:gd name="connsiteY96" fmla="*/ 3015 h 10022"/>
                <a:gd name="connsiteX97" fmla="*/ 7089 w 10000"/>
                <a:gd name="connsiteY97" fmla="*/ 3063 h 10022"/>
                <a:gd name="connsiteX98" fmla="*/ 7077 w 10000"/>
                <a:gd name="connsiteY98" fmla="*/ 3118 h 10022"/>
                <a:gd name="connsiteX99" fmla="*/ 7208 w 10000"/>
                <a:gd name="connsiteY99" fmla="*/ 3154 h 10022"/>
                <a:gd name="connsiteX100" fmla="*/ 7334 w 10000"/>
                <a:gd name="connsiteY100" fmla="*/ 3190 h 10022"/>
                <a:gd name="connsiteX101" fmla="*/ 7396 w 10000"/>
                <a:gd name="connsiteY101" fmla="*/ 3209 h 10022"/>
                <a:gd name="connsiteX102" fmla="*/ 7459 w 10000"/>
                <a:gd name="connsiteY102" fmla="*/ 3221 h 10022"/>
                <a:gd name="connsiteX103" fmla="*/ 7522 w 10000"/>
                <a:gd name="connsiteY103" fmla="*/ 3227 h 10022"/>
                <a:gd name="connsiteX104" fmla="*/ 7585 w 10000"/>
                <a:gd name="connsiteY104" fmla="*/ 3232 h 10022"/>
                <a:gd name="connsiteX105" fmla="*/ 7591 w 10000"/>
                <a:gd name="connsiteY105" fmla="*/ 3256 h 10022"/>
                <a:gd name="connsiteX106" fmla="*/ 7604 w 10000"/>
                <a:gd name="connsiteY106" fmla="*/ 3280 h 10022"/>
                <a:gd name="connsiteX107" fmla="*/ 7622 w 10000"/>
                <a:gd name="connsiteY107" fmla="*/ 3298 h 10022"/>
                <a:gd name="connsiteX108" fmla="*/ 7654 w 10000"/>
                <a:gd name="connsiteY108" fmla="*/ 3316 h 10022"/>
                <a:gd name="connsiteX109" fmla="*/ 7704 w 10000"/>
                <a:gd name="connsiteY109" fmla="*/ 3335 h 10022"/>
                <a:gd name="connsiteX110" fmla="*/ 7748 w 10000"/>
                <a:gd name="connsiteY110" fmla="*/ 3341 h 10022"/>
                <a:gd name="connsiteX111" fmla="*/ 7798 w 10000"/>
                <a:gd name="connsiteY111" fmla="*/ 3341 h 10022"/>
                <a:gd name="connsiteX112" fmla="*/ 7836 w 10000"/>
                <a:gd name="connsiteY112" fmla="*/ 3329 h 10022"/>
                <a:gd name="connsiteX113" fmla="*/ 7880 w 10000"/>
                <a:gd name="connsiteY113" fmla="*/ 3310 h 10022"/>
                <a:gd name="connsiteX114" fmla="*/ 7911 w 10000"/>
                <a:gd name="connsiteY114" fmla="*/ 3292 h 10022"/>
                <a:gd name="connsiteX115" fmla="*/ 7949 w 10000"/>
                <a:gd name="connsiteY115" fmla="*/ 3268 h 10022"/>
                <a:gd name="connsiteX116" fmla="*/ 7980 w 10000"/>
                <a:gd name="connsiteY116" fmla="*/ 3238 h 10022"/>
                <a:gd name="connsiteX117" fmla="*/ 8011 w 10000"/>
                <a:gd name="connsiteY117" fmla="*/ 3209 h 10022"/>
                <a:gd name="connsiteX118" fmla="*/ 8036 w 10000"/>
                <a:gd name="connsiteY118" fmla="*/ 3178 h 10022"/>
                <a:gd name="connsiteX119" fmla="*/ 8087 w 10000"/>
                <a:gd name="connsiteY119" fmla="*/ 3099 h 10022"/>
                <a:gd name="connsiteX120" fmla="*/ 8118 w 10000"/>
                <a:gd name="connsiteY120" fmla="*/ 3027 h 10022"/>
                <a:gd name="connsiteX121" fmla="*/ 8149 w 10000"/>
                <a:gd name="connsiteY121" fmla="*/ 2961 h 10022"/>
                <a:gd name="connsiteX122" fmla="*/ 8168 w 10000"/>
                <a:gd name="connsiteY122" fmla="*/ 2895 h 10022"/>
                <a:gd name="connsiteX123" fmla="*/ 8231 w 10000"/>
                <a:gd name="connsiteY123" fmla="*/ 2828 h 10022"/>
                <a:gd name="connsiteX124" fmla="*/ 8294 w 10000"/>
                <a:gd name="connsiteY124" fmla="*/ 2762 h 10022"/>
                <a:gd name="connsiteX125" fmla="*/ 8363 w 10000"/>
                <a:gd name="connsiteY125" fmla="*/ 2709 h 10022"/>
                <a:gd name="connsiteX126" fmla="*/ 8432 w 10000"/>
                <a:gd name="connsiteY126" fmla="*/ 2648 h 10022"/>
                <a:gd name="connsiteX127" fmla="*/ 8507 w 10000"/>
                <a:gd name="connsiteY127" fmla="*/ 2600 h 10022"/>
                <a:gd name="connsiteX128" fmla="*/ 8576 w 10000"/>
                <a:gd name="connsiteY128" fmla="*/ 2552 h 10022"/>
                <a:gd name="connsiteX129" fmla="*/ 8651 w 10000"/>
                <a:gd name="connsiteY129" fmla="*/ 2510 h 10022"/>
                <a:gd name="connsiteX130" fmla="*/ 8726 w 10000"/>
                <a:gd name="connsiteY130" fmla="*/ 2466 h 10022"/>
                <a:gd name="connsiteX131" fmla="*/ 8808 w 10000"/>
                <a:gd name="connsiteY131" fmla="*/ 2424 h 10022"/>
                <a:gd name="connsiteX132" fmla="*/ 8890 w 10000"/>
                <a:gd name="connsiteY132" fmla="*/ 2388 h 10022"/>
                <a:gd name="connsiteX133" fmla="*/ 8971 w 10000"/>
                <a:gd name="connsiteY133" fmla="*/ 2358 h 10022"/>
                <a:gd name="connsiteX134" fmla="*/ 9059 w 10000"/>
                <a:gd name="connsiteY134" fmla="*/ 2328 h 10022"/>
                <a:gd name="connsiteX135" fmla="*/ 9235 w 10000"/>
                <a:gd name="connsiteY135" fmla="*/ 2274 h 10022"/>
                <a:gd name="connsiteX136" fmla="*/ 9417 w 10000"/>
                <a:gd name="connsiteY136" fmla="*/ 2231 h 10022"/>
                <a:gd name="connsiteX137" fmla="*/ 9454 w 10000"/>
                <a:gd name="connsiteY137" fmla="*/ 2280 h 10022"/>
                <a:gd name="connsiteX138" fmla="*/ 9504 w 10000"/>
                <a:gd name="connsiteY138" fmla="*/ 2340 h 10022"/>
                <a:gd name="connsiteX139" fmla="*/ 9573 w 10000"/>
                <a:gd name="connsiteY139" fmla="*/ 2406 h 10022"/>
                <a:gd name="connsiteX140" fmla="*/ 9642 w 10000"/>
                <a:gd name="connsiteY140" fmla="*/ 2479 h 10022"/>
                <a:gd name="connsiteX141" fmla="*/ 9718 w 10000"/>
                <a:gd name="connsiteY141" fmla="*/ 2540 h 10022"/>
                <a:gd name="connsiteX142" fmla="*/ 9799 w 10000"/>
                <a:gd name="connsiteY142" fmla="*/ 2588 h 10022"/>
                <a:gd name="connsiteX143" fmla="*/ 9837 w 10000"/>
                <a:gd name="connsiteY143" fmla="*/ 2612 h 10022"/>
                <a:gd name="connsiteX144" fmla="*/ 9875 w 10000"/>
                <a:gd name="connsiteY144" fmla="*/ 2624 h 10022"/>
                <a:gd name="connsiteX145" fmla="*/ 9918 w 10000"/>
                <a:gd name="connsiteY145" fmla="*/ 2636 h 10022"/>
                <a:gd name="connsiteX146" fmla="*/ 9956 w 10000"/>
                <a:gd name="connsiteY146" fmla="*/ 2636 h 10022"/>
                <a:gd name="connsiteX147" fmla="*/ 10000 w 10000"/>
                <a:gd name="connsiteY147" fmla="*/ 2564 h 10022"/>
                <a:gd name="connsiteX148" fmla="*/ 9975 w 10000"/>
                <a:gd name="connsiteY148" fmla="*/ 2691 h 10022"/>
                <a:gd name="connsiteX149" fmla="*/ 9944 w 10000"/>
                <a:gd name="connsiteY149" fmla="*/ 2834 h 10022"/>
                <a:gd name="connsiteX150" fmla="*/ 9931 w 10000"/>
                <a:gd name="connsiteY150" fmla="*/ 2901 h 10022"/>
                <a:gd name="connsiteX151" fmla="*/ 9906 w 10000"/>
                <a:gd name="connsiteY151" fmla="*/ 2961 h 10022"/>
                <a:gd name="connsiteX152" fmla="*/ 9887 w 10000"/>
                <a:gd name="connsiteY152" fmla="*/ 2985 h 10022"/>
                <a:gd name="connsiteX153" fmla="*/ 9875 w 10000"/>
                <a:gd name="connsiteY153" fmla="*/ 3009 h 10022"/>
                <a:gd name="connsiteX154" fmla="*/ 9856 w 10000"/>
                <a:gd name="connsiteY154" fmla="*/ 3027 h 10022"/>
                <a:gd name="connsiteX155" fmla="*/ 9837 w 10000"/>
                <a:gd name="connsiteY155" fmla="*/ 3045 h 10022"/>
                <a:gd name="connsiteX156" fmla="*/ 9749 w 10000"/>
                <a:gd name="connsiteY156" fmla="*/ 3063 h 10022"/>
                <a:gd name="connsiteX157" fmla="*/ 9605 w 10000"/>
                <a:gd name="connsiteY157" fmla="*/ 3112 h 10022"/>
                <a:gd name="connsiteX158" fmla="*/ 9536 w 10000"/>
                <a:gd name="connsiteY158" fmla="*/ 3154 h 10022"/>
                <a:gd name="connsiteX159" fmla="*/ 9479 w 10000"/>
                <a:gd name="connsiteY159" fmla="*/ 3190 h 10022"/>
                <a:gd name="connsiteX160" fmla="*/ 9448 w 10000"/>
                <a:gd name="connsiteY160" fmla="*/ 3209 h 10022"/>
                <a:gd name="connsiteX161" fmla="*/ 9435 w 10000"/>
                <a:gd name="connsiteY161" fmla="*/ 3227 h 10022"/>
                <a:gd name="connsiteX162" fmla="*/ 9423 w 10000"/>
                <a:gd name="connsiteY162" fmla="*/ 3250 h 10022"/>
                <a:gd name="connsiteX163" fmla="*/ 9417 w 10000"/>
                <a:gd name="connsiteY163" fmla="*/ 3268 h 10022"/>
                <a:gd name="connsiteX164" fmla="*/ 9423 w 10000"/>
                <a:gd name="connsiteY164" fmla="*/ 3479 h 10022"/>
                <a:gd name="connsiteX165" fmla="*/ 9417 w 10000"/>
                <a:gd name="connsiteY165" fmla="*/ 3720 h 10022"/>
                <a:gd name="connsiteX166" fmla="*/ 9398 w 10000"/>
                <a:gd name="connsiteY166" fmla="*/ 3780 h 10022"/>
                <a:gd name="connsiteX167" fmla="*/ 9391 w 10000"/>
                <a:gd name="connsiteY167" fmla="*/ 3846 h 10022"/>
                <a:gd name="connsiteX168" fmla="*/ 9379 w 10000"/>
                <a:gd name="connsiteY168" fmla="*/ 3900 h 10022"/>
                <a:gd name="connsiteX169" fmla="*/ 9366 w 10000"/>
                <a:gd name="connsiteY169" fmla="*/ 3955 h 10022"/>
                <a:gd name="connsiteX170" fmla="*/ 9348 w 10000"/>
                <a:gd name="connsiteY170" fmla="*/ 4004 h 10022"/>
                <a:gd name="connsiteX171" fmla="*/ 9316 w 10000"/>
                <a:gd name="connsiteY171" fmla="*/ 4052 h 10022"/>
                <a:gd name="connsiteX172" fmla="*/ 9285 w 10000"/>
                <a:gd name="connsiteY172" fmla="*/ 4088 h 10022"/>
                <a:gd name="connsiteX173" fmla="*/ 9247 w 10000"/>
                <a:gd name="connsiteY173" fmla="*/ 4118 h 10022"/>
                <a:gd name="connsiteX174" fmla="*/ 9228 w 10000"/>
                <a:gd name="connsiteY174" fmla="*/ 4136 h 10022"/>
                <a:gd name="connsiteX175" fmla="*/ 9184 w 10000"/>
                <a:gd name="connsiteY175" fmla="*/ 4142 h 10022"/>
                <a:gd name="connsiteX176" fmla="*/ 9141 w 10000"/>
                <a:gd name="connsiteY176" fmla="*/ 4148 h 10022"/>
                <a:gd name="connsiteX177" fmla="*/ 9090 w 10000"/>
                <a:gd name="connsiteY177" fmla="*/ 4154 h 10022"/>
                <a:gd name="connsiteX178" fmla="*/ 9040 w 10000"/>
                <a:gd name="connsiteY178" fmla="*/ 4160 h 10022"/>
                <a:gd name="connsiteX179" fmla="*/ 8996 w 10000"/>
                <a:gd name="connsiteY179" fmla="*/ 4179 h 10022"/>
                <a:gd name="connsiteX180" fmla="*/ 8977 w 10000"/>
                <a:gd name="connsiteY180" fmla="*/ 4185 h 10022"/>
                <a:gd name="connsiteX181" fmla="*/ 8965 w 10000"/>
                <a:gd name="connsiteY181" fmla="*/ 4203 h 10022"/>
                <a:gd name="connsiteX182" fmla="*/ 8959 w 10000"/>
                <a:gd name="connsiteY182" fmla="*/ 4215 h 10022"/>
                <a:gd name="connsiteX183" fmla="*/ 8959 w 10000"/>
                <a:gd name="connsiteY183" fmla="*/ 4233 h 10022"/>
                <a:gd name="connsiteX184" fmla="*/ 8952 w 10000"/>
                <a:gd name="connsiteY184" fmla="*/ 4304 h 10022"/>
                <a:gd name="connsiteX185" fmla="*/ 8952 w 10000"/>
                <a:gd name="connsiteY185" fmla="*/ 4389 h 10022"/>
                <a:gd name="connsiteX186" fmla="*/ 8940 w 10000"/>
                <a:gd name="connsiteY186" fmla="*/ 4479 h 10022"/>
                <a:gd name="connsiteX187" fmla="*/ 8927 w 10000"/>
                <a:gd name="connsiteY187" fmla="*/ 4563 h 10022"/>
                <a:gd name="connsiteX188" fmla="*/ 8908 w 10000"/>
                <a:gd name="connsiteY188" fmla="*/ 4649 h 10022"/>
                <a:gd name="connsiteX189" fmla="*/ 8890 w 10000"/>
                <a:gd name="connsiteY189" fmla="*/ 4727 h 10022"/>
                <a:gd name="connsiteX190" fmla="*/ 8864 w 10000"/>
                <a:gd name="connsiteY190" fmla="*/ 4798 h 10022"/>
                <a:gd name="connsiteX191" fmla="*/ 8833 w 10000"/>
                <a:gd name="connsiteY191" fmla="*/ 4865 h 10022"/>
                <a:gd name="connsiteX192" fmla="*/ 8538 w 10000"/>
                <a:gd name="connsiteY192" fmla="*/ 4376 h 10022"/>
                <a:gd name="connsiteX193" fmla="*/ 8526 w 10000"/>
                <a:gd name="connsiteY193" fmla="*/ 4401 h 10022"/>
                <a:gd name="connsiteX194" fmla="*/ 8494 w 10000"/>
                <a:gd name="connsiteY194" fmla="*/ 4455 h 10022"/>
                <a:gd name="connsiteX195" fmla="*/ 8463 w 10000"/>
                <a:gd name="connsiteY195" fmla="*/ 4485 h 10022"/>
                <a:gd name="connsiteX196" fmla="*/ 8438 w 10000"/>
                <a:gd name="connsiteY196" fmla="*/ 4509 h 10022"/>
                <a:gd name="connsiteX197" fmla="*/ 8407 w 10000"/>
                <a:gd name="connsiteY197" fmla="*/ 4527 h 10022"/>
                <a:gd name="connsiteX198" fmla="*/ 8375 w 10000"/>
                <a:gd name="connsiteY198" fmla="*/ 4533 h 10022"/>
                <a:gd name="connsiteX199" fmla="*/ 8338 w 10000"/>
                <a:gd name="connsiteY199" fmla="*/ 4527 h 10022"/>
                <a:gd name="connsiteX200" fmla="*/ 8312 w 10000"/>
                <a:gd name="connsiteY200" fmla="*/ 4521 h 10022"/>
                <a:gd name="connsiteX201" fmla="*/ 8287 w 10000"/>
                <a:gd name="connsiteY201" fmla="*/ 4503 h 10022"/>
                <a:gd name="connsiteX202" fmla="*/ 8256 w 10000"/>
                <a:gd name="connsiteY202" fmla="*/ 4485 h 10022"/>
                <a:gd name="connsiteX203" fmla="*/ 8237 w 10000"/>
                <a:gd name="connsiteY203" fmla="*/ 4455 h 10022"/>
                <a:gd name="connsiteX204" fmla="*/ 8225 w 10000"/>
                <a:gd name="connsiteY204" fmla="*/ 4431 h 10022"/>
                <a:gd name="connsiteX205" fmla="*/ 8206 w 10000"/>
                <a:gd name="connsiteY205" fmla="*/ 4407 h 10022"/>
                <a:gd name="connsiteX206" fmla="*/ 8206 w 10000"/>
                <a:gd name="connsiteY206" fmla="*/ 4376 h 10022"/>
                <a:gd name="connsiteX207" fmla="*/ 8206 w 10000"/>
                <a:gd name="connsiteY207" fmla="*/ 4340 h 10022"/>
                <a:gd name="connsiteX208" fmla="*/ 8225 w 10000"/>
                <a:gd name="connsiteY208" fmla="*/ 4304 h 10022"/>
                <a:gd name="connsiteX209" fmla="*/ 8237 w 10000"/>
                <a:gd name="connsiteY209" fmla="*/ 4268 h 10022"/>
                <a:gd name="connsiteX210" fmla="*/ 8250 w 10000"/>
                <a:gd name="connsiteY210" fmla="*/ 4233 h 10022"/>
                <a:gd name="connsiteX211" fmla="*/ 8300 w 10000"/>
                <a:gd name="connsiteY211" fmla="*/ 4166 h 10022"/>
                <a:gd name="connsiteX212" fmla="*/ 8356 w 10000"/>
                <a:gd name="connsiteY212" fmla="*/ 4100 h 10022"/>
                <a:gd name="connsiteX213" fmla="*/ 8407 w 10000"/>
                <a:gd name="connsiteY213" fmla="*/ 4040 h 10022"/>
                <a:gd name="connsiteX214" fmla="*/ 8457 w 10000"/>
                <a:gd name="connsiteY214" fmla="*/ 3974 h 10022"/>
                <a:gd name="connsiteX215" fmla="*/ 8469 w 10000"/>
                <a:gd name="connsiteY215" fmla="*/ 3937 h 10022"/>
                <a:gd name="connsiteX216" fmla="*/ 8482 w 10000"/>
                <a:gd name="connsiteY216" fmla="*/ 3906 h 10022"/>
                <a:gd name="connsiteX217" fmla="*/ 8501 w 10000"/>
                <a:gd name="connsiteY217" fmla="*/ 3864 h 10022"/>
                <a:gd name="connsiteX218" fmla="*/ 8501 w 10000"/>
                <a:gd name="connsiteY218" fmla="*/ 3828 h 10022"/>
                <a:gd name="connsiteX219" fmla="*/ 7748 w 10000"/>
                <a:gd name="connsiteY219" fmla="*/ 3828 h 10022"/>
                <a:gd name="connsiteX220" fmla="*/ 7723 w 10000"/>
                <a:gd name="connsiteY220" fmla="*/ 3822 h 10022"/>
                <a:gd name="connsiteX221" fmla="*/ 7685 w 10000"/>
                <a:gd name="connsiteY221" fmla="*/ 3804 h 10022"/>
                <a:gd name="connsiteX222" fmla="*/ 7660 w 10000"/>
                <a:gd name="connsiteY222" fmla="*/ 3768 h 10022"/>
                <a:gd name="connsiteX223" fmla="*/ 7635 w 10000"/>
                <a:gd name="connsiteY223" fmla="*/ 3732 h 10022"/>
                <a:gd name="connsiteX224" fmla="*/ 7616 w 10000"/>
                <a:gd name="connsiteY224" fmla="*/ 3684 h 10022"/>
                <a:gd name="connsiteX225" fmla="*/ 7597 w 10000"/>
                <a:gd name="connsiteY225" fmla="*/ 3636 h 10022"/>
                <a:gd name="connsiteX226" fmla="*/ 7591 w 10000"/>
                <a:gd name="connsiteY226" fmla="*/ 3582 h 10022"/>
                <a:gd name="connsiteX227" fmla="*/ 7585 w 10000"/>
                <a:gd name="connsiteY227" fmla="*/ 3527 h 10022"/>
                <a:gd name="connsiteX228" fmla="*/ 7547 w 10000"/>
                <a:gd name="connsiteY228" fmla="*/ 3527 h 10022"/>
                <a:gd name="connsiteX229" fmla="*/ 7516 w 10000"/>
                <a:gd name="connsiteY229" fmla="*/ 3521 h 10022"/>
                <a:gd name="connsiteX230" fmla="*/ 7478 w 10000"/>
                <a:gd name="connsiteY230" fmla="*/ 3515 h 10022"/>
                <a:gd name="connsiteX231" fmla="*/ 7447 w 10000"/>
                <a:gd name="connsiteY231" fmla="*/ 3503 h 10022"/>
                <a:gd name="connsiteX232" fmla="*/ 7415 w 10000"/>
                <a:gd name="connsiteY232" fmla="*/ 3485 h 10022"/>
                <a:gd name="connsiteX233" fmla="*/ 7396 w 10000"/>
                <a:gd name="connsiteY233" fmla="*/ 3467 h 10022"/>
                <a:gd name="connsiteX234" fmla="*/ 7384 w 10000"/>
                <a:gd name="connsiteY234" fmla="*/ 3437 h 10022"/>
                <a:gd name="connsiteX235" fmla="*/ 7378 w 10000"/>
                <a:gd name="connsiteY235" fmla="*/ 3413 h 10022"/>
                <a:gd name="connsiteX236" fmla="*/ 7321 w 10000"/>
                <a:gd name="connsiteY236" fmla="*/ 3413 h 10022"/>
                <a:gd name="connsiteX237" fmla="*/ 7271 w 10000"/>
                <a:gd name="connsiteY237" fmla="*/ 3413 h 10022"/>
                <a:gd name="connsiteX238" fmla="*/ 7221 w 10000"/>
                <a:gd name="connsiteY238" fmla="*/ 3413 h 10022"/>
                <a:gd name="connsiteX239" fmla="*/ 7171 w 10000"/>
                <a:gd name="connsiteY239" fmla="*/ 3413 h 10022"/>
                <a:gd name="connsiteX240" fmla="*/ 7127 w 10000"/>
                <a:gd name="connsiteY240" fmla="*/ 3419 h 10022"/>
                <a:gd name="connsiteX241" fmla="*/ 7095 w 10000"/>
                <a:gd name="connsiteY241" fmla="*/ 3425 h 10022"/>
                <a:gd name="connsiteX242" fmla="*/ 7051 w 10000"/>
                <a:gd name="connsiteY242" fmla="*/ 3443 h 10022"/>
                <a:gd name="connsiteX243" fmla="*/ 7008 w 10000"/>
                <a:gd name="connsiteY243" fmla="*/ 3467 h 10022"/>
                <a:gd name="connsiteX244" fmla="*/ 6976 w 10000"/>
                <a:gd name="connsiteY244" fmla="*/ 3497 h 10022"/>
                <a:gd name="connsiteX245" fmla="*/ 6939 w 10000"/>
                <a:gd name="connsiteY245" fmla="*/ 3527 h 10022"/>
                <a:gd name="connsiteX246" fmla="*/ 6920 w 10000"/>
                <a:gd name="connsiteY246" fmla="*/ 3564 h 10022"/>
                <a:gd name="connsiteX247" fmla="*/ 6913 w 10000"/>
                <a:gd name="connsiteY247" fmla="*/ 3600 h 10022"/>
                <a:gd name="connsiteX248" fmla="*/ 6926 w 10000"/>
                <a:gd name="connsiteY248" fmla="*/ 3624 h 10022"/>
                <a:gd name="connsiteX249" fmla="*/ 6964 w 10000"/>
                <a:gd name="connsiteY249" fmla="*/ 3654 h 10022"/>
                <a:gd name="connsiteX250" fmla="*/ 7008 w 10000"/>
                <a:gd name="connsiteY250" fmla="*/ 3690 h 10022"/>
                <a:gd name="connsiteX251" fmla="*/ 7070 w 10000"/>
                <a:gd name="connsiteY251" fmla="*/ 3726 h 10022"/>
                <a:gd name="connsiteX252" fmla="*/ 7133 w 10000"/>
                <a:gd name="connsiteY252" fmla="*/ 3762 h 10022"/>
                <a:gd name="connsiteX253" fmla="*/ 7196 w 10000"/>
                <a:gd name="connsiteY253" fmla="*/ 3792 h 10022"/>
                <a:gd name="connsiteX254" fmla="*/ 7252 w 10000"/>
                <a:gd name="connsiteY254" fmla="*/ 3816 h 10022"/>
                <a:gd name="connsiteX255" fmla="*/ 7290 w 10000"/>
                <a:gd name="connsiteY255" fmla="*/ 3828 h 10022"/>
                <a:gd name="connsiteX256" fmla="*/ 7208 w 10000"/>
                <a:gd name="connsiteY256" fmla="*/ 3888 h 10022"/>
                <a:gd name="connsiteX257" fmla="*/ 7114 w 10000"/>
                <a:gd name="connsiteY257" fmla="*/ 3962 h 10022"/>
                <a:gd name="connsiteX258" fmla="*/ 7070 w 10000"/>
                <a:gd name="connsiteY258" fmla="*/ 3998 h 10022"/>
                <a:gd name="connsiteX259" fmla="*/ 7033 w 10000"/>
                <a:gd name="connsiteY259" fmla="*/ 4040 h 10022"/>
                <a:gd name="connsiteX260" fmla="*/ 7020 w 10000"/>
                <a:gd name="connsiteY260" fmla="*/ 4058 h 10022"/>
                <a:gd name="connsiteX261" fmla="*/ 7008 w 10000"/>
                <a:gd name="connsiteY261" fmla="*/ 4076 h 10022"/>
                <a:gd name="connsiteX262" fmla="*/ 7001 w 10000"/>
                <a:gd name="connsiteY262" fmla="*/ 4100 h 10022"/>
                <a:gd name="connsiteX263" fmla="*/ 6995 w 10000"/>
                <a:gd name="connsiteY263" fmla="*/ 4118 h 10022"/>
                <a:gd name="connsiteX264" fmla="*/ 7001 w 10000"/>
                <a:gd name="connsiteY264" fmla="*/ 4148 h 10022"/>
                <a:gd name="connsiteX265" fmla="*/ 7008 w 10000"/>
                <a:gd name="connsiteY265" fmla="*/ 4166 h 10022"/>
                <a:gd name="connsiteX266" fmla="*/ 7026 w 10000"/>
                <a:gd name="connsiteY266" fmla="*/ 4191 h 10022"/>
                <a:gd name="connsiteX267" fmla="*/ 7039 w 10000"/>
                <a:gd name="connsiteY267" fmla="*/ 4215 h 10022"/>
                <a:gd name="connsiteX268" fmla="*/ 7089 w 10000"/>
                <a:gd name="connsiteY268" fmla="*/ 4262 h 10022"/>
                <a:gd name="connsiteX269" fmla="*/ 7146 w 10000"/>
                <a:gd name="connsiteY269" fmla="*/ 4310 h 10022"/>
                <a:gd name="connsiteX270" fmla="*/ 7208 w 10000"/>
                <a:gd name="connsiteY270" fmla="*/ 4352 h 10022"/>
                <a:gd name="connsiteX271" fmla="*/ 7277 w 10000"/>
                <a:gd name="connsiteY271" fmla="*/ 4389 h 10022"/>
                <a:gd name="connsiteX272" fmla="*/ 7315 w 10000"/>
                <a:gd name="connsiteY272" fmla="*/ 4401 h 10022"/>
                <a:gd name="connsiteX273" fmla="*/ 7346 w 10000"/>
                <a:gd name="connsiteY273" fmla="*/ 4407 h 10022"/>
                <a:gd name="connsiteX274" fmla="*/ 7384 w 10000"/>
                <a:gd name="connsiteY274" fmla="*/ 4413 h 10022"/>
                <a:gd name="connsiteX275" fmla="*/ 7415 w 10000"/>
                <a:gd name="connsiteY275" fmla="*/ 4419 h 10022"/>
                <a:gd name="connsiteX276" fmla="*/ 7585 w 10000"/>
                <a:gd name="connsiteY276" fmla="*/ 5046 h 10022"/>
                <a:gd name="connsiteX277" fmla="*/ 7491 w 10000"/>
                <a:gd name="connsiteY277" fmla="*/ 5046 h 10022"/>
                <a:gd name="connsiteX278" fmla="*/ 7403 w 10000"/>
                <a:gd name="connsiteY278" fmla="*/ 5046 h 10022"/>
                <a:gd name="connsiteX279" fmla="*/ 7321 w 10000"/>
                <a:gd name="connsiteY279" fmla="*/ 5046 h 10022"/>
                <a:gd name="connsiteX280" fmla="*/ 7252 w 10000"/>
                <a:gd name="connsiteY280" fmla="*/ 5046 h 10022"/>
                <a:gd name="connsiteX281" fmla="*/ 7208 w 10000"/>
                <a:gd name="connsiteY281" fmla="*/ 5040 h 10022"/>
                <a:gd name="connsiteX282" fmla="*/ 7164 w 10000"/>
                <a:gd name="connsiteY282" fmla="*/ 5009 h 10022"/>
                <a:gd name="connsiteX283" fmla="*/ 7133 w 10000"/>
                <a:gd name="connsiteY283" fmla="*/ 4997 h 10022"/>
                <a:gd name="connsiteX284" fmla="*/ 7102 w 10000"/>
                <a:gd name="connsiteY284" fmla="*/ 4985 h 10022"/>
                <a:gd name="connsiteX285" fmla="*/ 7070 w 10000"/>
                <a:gd name="connsiteY285" fmla="*/ 4979 h 10022"/>
                <a:gd name="connsiteX286" fmla="*/ 7039 w 10000"/>
                <a:gd name="connsiteY286" fmla="*/ 4973 h 10022"/>
                <a:gd name="connsiteX287" fmla="*/ 7008 w 10000"/>
                <a:gd name="connsiteY287" fmla="*/ 4985 h 10022"/>
                <a:gd name="connsiteX288" fmla="*/ 6957 w 10000"/>
                <a:gd name="connsiteY288" fmla="*/ 5015 h 10022"/>
                <a:gd name="connsiteX289" fmla="*/ 6895 w 10000"/>
                <a:gd name="connsiteY289" fmla="*/ 5058 h 10022"/>
                <a:gd name="connsiteX290" fmla="*/ 6819 w 10000"/>
                <a:gd name="connsiteY290" fmla="*/ 5106 h 10022"/>
                <a:gd name="connsiteX291" fmla="*/ 6744 w 10000"/>
                <a:gd name="connsiteY291" fmla="*/ 5166 h 10022"/>
                <a:gd name="connsiteX292" fmla="*/ 6681 w 10000"/>
                <a:gd name="connsiteY292" fmla="*/ 5214 h 10022"/>
                <a:gd name="connsiteX293" fmla="*/ 6637 w 10000"/>
                <a:gd name="connsiteY293" fmla="*/ 5250 h 10022"/>
                <a:gd name="connsiteX294" fmla="*/ 6625 w 10000"/>
                <a:gd name="connsiteY294" fmla="*/ 5274 h 10022"/>
                <a:gd name="connsiteX295" fmla="*/ 6750 w 10000"/>
                <a:gd name="connsiteY295" fmla="*/ 5346 h 10022"/>
                <a:gd name="connsiteX296" fmla="*/ 6744 w 10000"/>
                <a:gd name="connsiteY296" fmla="*/ 5383 h 10022"/>
                <a:gd name="connsiteX297" fmla="*/ 6725 w 10000"/>
                <a:gd name="connsiteY297" fmla="*/ 5425 h 10022"/>
                <a:gd name="connsiteX298" fmla="*/ 6706 w 10000"/>
                <a:gd name="connsiteY298" fmla="*/ 5456 h 10022"/>
                <a:gd name="connsiteX299" fmla="*/ 6688 w 10000"/>
                <a:gd name="connsiteY299" fmla="*/ 5498 h 10022"/>
                <a:gd name="connsiteX300" fmla="*/ 6637 w 10000"/>
                <a:gd name="connsiteY300" fmla="*/ 5552 h 10022"/>
                <a:gd name="connsiteX301" fmla="*/ 6581 w 10000"/>
                <a:gd name="connsiteY301" fmla="*/ 5606 h 10022"/>
                <a:gd name="connsiteX302" fmla="*/ 6518 w 10000"/>
                <a:gd name="connsiteY302" fmla="*/ 5654 h 10022"/>
                <a:gd name="connsiteX303" fmla="*/ 6443 w 10000"/>
                <a:gd name="connsiteY303" fmla="*/ 5697 h 10022"/>
                <a:gd name="connsiteX304" fmla="*/ 6374 w 10000"/>
                <a:gd name="connsiteY304" fmla="*/ 5733 h 10022"/>
                <a:gd name="connsiteX305" fmla="*/ 6299 w 10000"/>
                <a:gd name="connsiteY305" fmla="*/ 5768 h 10022"/>
                <a:gd name="connsiteX306" fmla="*/ 6223 w 10000"/>
                <a:gd name="connsiteY306" fmla="*/ 5816 h 10022"/>
                <a:gd name="connsiteX307" fmla="*/ 6154 w 10000"/>
                <a:gd name="connsiteY307" fmla="*/ 5852 h 10022"/>
                <a:gd name="connsiteX308" fmla="*/ 6092 w 10000"/>
                <a:gd name="connsiteY308" fmla="*/ 5895 h 10022"/>
                <a:gd name="connsiteX309" fmla="*/ 6035 w 10000"/>
                <a:gd name="connsiteY309" fmla="*/ 5943 h 10022"/>
                <a:gd name="connsiteX310" fmla="*/ 6004 w 10000"/>
                <a:gd name="connsiteY310" fmla="*/ 5967 h 10022"/>
                <a:gd name="connsiteX311" fmla="*/ 5985 w 10000"/>
                <a:gd name="connsiteY311" fmla="*/ 5991 h 10022"/>
                <a:gd name="connsiteX312" fmla="*/ 5966 w 10000"/>
                <a:gd name="connsiteY312" fmla="*/ 6021 h 10022"/>
                <a:gd name="connsiteX313" fmla="*/ 5947 w 10000"/>
                <a:gd name="connsiteY313" fmla="*/ 6051 h 10022"/>
                <a:gd name="connsiteX314" fmla="*/ 5935 w 10000"/>
                <a:gd name="connsiteY314" fmla="*/ 6089 h 10022"/>
                <a:gd name="connsiteX315" fmla="*/ 5922 w 10000"/>
                <a:gd name="connsiteY315" fmla="*/ 6119 h 10022"/>
                <a:gd name="connsiteX316" fmla="*/ 5916 w 10000"/>
                <a:gd name="connsiteY316" fmla="*/ 6161 h 10022"/>
                <a:gd name="connsiteX317" fmla="*/ 5916 w 10000"/>
                <a:gd name="connsiteY317" fmla="*/ 6203 h 10022"/>
                <a:gd name="connsiteX318" fmla="*/ 5859 w 10000"/>
                <a:gd name="connsiteY318" fmla="*/ 6221 h 10022"/>
                <a:gd name="connsiteX319" fmla="*/ 5809 w 10000"/>
                <a:gd name="connsiteY319" fmla="*/ 6239 h 10022"/>
                <a:gd name="connsiteX320" fmla="*/ 5765 w 10000"/>
                <a:gd name="connsiteY320" fmla="*/ 6262 h 10022"/>
                <a:gd name="connsiteX321" fmla="*/ 5721 w 10000"/>
                <a:gd name="connsiteY321" fmla="*/ 6286 h 10022"/>
                <a:gd name="connsiteX322" fmla="*/ 5634 w 10000"/>
                <a:gd name="connsiteY322" fmla="*/ 6347 h 10022"/>
                <a:gd name="connsiteX323" fmla="*/ 5558 w 10000"/>
                <a:gd name="connsiteY323" fmla="*/ 6419 h 10022"/>
                <a:gd name="connsiteX324" fmla="*/ 5420 w 10000"/>
                <a:gd name="connsiteY324" fmla="*/ 6582 h 10022"/>
                <a:gd name="connsiteX325" fmla="*/ 5289 w 10000"/>
                <a:gd name="connsiteY325" fmla="*/ 6756 h 10022"/>
                <a:gd name="connsiteX326" fmla="*/ 5220 w 10000"/>
                <a:gd name="connsiteY326" fmla="*/ 6847 h 10022"/>
                <a:gd name="connsiteX327" fmla="*/ 5151 w 10000"/>
                <a:gd name="connsiteY327" fmla="*/ 6925 h 10022"/>
                <a:gd name="connsiteX328" fmla="*/ 5075 w 10000"/>
                <a:gd name="connsiteY328" fmla="*/ 6998 h 10022"/>
                <a:gd name="connsiteX329" fmla="*/ 4994 w 10000"/>
                <a:gd name="connsiteY329" fmla="*/ 7064 h 10022"/>
                <a:gd name="connsiteX330" fmla="*/ 4944 w 10000"/>
                <a:gd name="connsiteY330" fmla="*/ 7094 h 10022"/>
                <a:gd name="connsiteX331" fmla="*/ 4893 w 10000"/>
                <a:gd name="connsiteY331" fmla="*/ 7118 h 10022"/>
                <a:gd name="connsiteX332" fmla="*/ 4849 w 10000"/>
                <a:gd name="connsiteY332" fmla="*/ 7142 h 10022"/>
                <a:gd name="connsiteX333" fmla="*/ 4793 w 10000"/>
                <a:gd name="connsiteY333" fmla="*/ 7167 h 10022"/>
                <a:gd name="connsiteX334" fmla="*/ 4730 w 10000"/>
                <a:gd name="connsiteY334" fmla="*/ 7185 h 10022"/>
                <a:gd name="connsiteX335" fmla="*/ 4674 w 10000"/>
                <a:gd name="connsiteY335" fmla="*/ 7197 h 10022"/>
                <a:gd name="connsiteX336" fmla="*/ 4605 w 10000"/>
                <a:gd name="connsiteY336" fmla="*/ 7203 h 10022"/>
                <a:gd name="connsiteX337" fmla="*/ 4536 w 10000"/>
                <a:gd name="connsiteY337" fmla="*/ 7203 h 10022"/>
                <a:gd name="connsiteX338" fmla="*/ 4536 w 10000"/>
                <a:gd name="connsiteY338" fmla="*/ 7256 h 10022"/>
                <a:gd name="connsiteX339" fmla="*/ 4536 w 10000"/>
                <a:gd name="connsiteY339" fmla="*/ 7310 h 10022"/>
                <a:gd name="connsiteX340" fmla="*/ 4536 w 10000"/>
                <a:gd name="connsiteY340" fmla="*/ 7352 h 10022"/>
                <a:gd name="connsiteX341" fmla="*/ 4536 w 10000"/>
                <a:gd name="connsiteY341" fmla="*/ 7389 h 10022"/>
                <a:gd name="connsiteX342" fmla="*/ 4536 w 10000"/>
                <a:gd name="connsiteY342" fmla="*/ 7455 h 10022"/>
                <a:gd name="connsiteX343" fmla="*/ 4536 w 10000"/>
                <a:gd name="connsiteY343" fmla="*/ 7558 h 10022"/>
                <a:gd name="connsiteX344" fmla="*/ 4536 w 10000"/>
                <a:gd name="connsiteY344" fmla="*/ 7667 h 10022"/>
                <a:gd name="connsiteX345" fmla="*/ 4548 w 10000"/>
                <a:gd name="connsiteY345" fmla="*/ 7780 h 10022"/>
                <a:gd name="connsiteX346" fmla="*/ 4561 w 10000"/>
                <a:gd name="connsiteY346" fmla="*/ 7841 h 10022"/>
                <a:gd name="connsiteX347" fmla="*/ 4573 w 10000"/>
                <a:gd name="connsiteY347" fmla="*/ 7895 h 10022"/>
                <a:gd name="connsiteX348" fmla="*/ 4586 w 10000"/>
                <a:gd name="connsiteY348" fmla="*/ 7943 h 10022"/>
                <a:gd name="connsiteX349" fmla="*/ 4611 w 10000"/>
                <a:gd name="connsiteY349" fmla="*/ 7985 h 10022"/>
                <a:gd name="connsiteX350" fmla="*/ 4636 w 10000"/>
                <a:gd name="connsiteY350" fmla="*/ 8028 h 10022"/>
                <a:gd name="connsiteX351" fmla="*/ 4668 w 10000"/>
                <a:gd name="connsiteY351" fmla="*/ 8058 h 10022"/>
                <a:gd name="connsiteX352" fmla="*/ 4705 w 10000"/>
                <a:gd name="connsiteY352" fmla="*/ 8082 h 10022"/>
                <a:gd name="connsiteX353" fmla="*/ 4749 w 10000"/>
                <a:gd name="connsiteY353" fmla="*/ 8094 h 10022"/>
                <a:gd name="connsiteX354" fmla="*/ 4711 w 10000"/>
                <a:gd name="connsiteY354" fmla="*/ 8190 h 10022"/>
                <a:gd name="connsiteX355" fmla="*/ 4668 w 10000"/>
                <a:gd name="connsiteY355" fmla="*/ 8275 h 10022"/>
                <a:gd name="connsiteX356" fmla="*/ 4617 w 10000"/>
                <a:gd name="connsiteY356" fmla="*/ 8353 h 10022"/>
                <a:gd name="connsiteX357" fmla="*/ 4573 w 10000"/>
                <a:gd name="connsiteY357" fmla="*/ 8425 h 10022"/>
                <a:gd name="connsiteX358" fmla="*/ 4523 w 10000"/>
                <a:gd name="connsiteY358" fmla="*/ 8510 h 10022"/>
                <a:gd name="connsiteX359" fmla="*/ 4492 w 10000"/>
                <a:gd name="connsiteY359" fmla="*/ 8588 h 10022"/>
                <a:gd name="connsiteX360" fmla="*/ 4473 w 10000"/>
                <a:gd name="connsiteY360" fmla="*/ 8624 h 10022"/>
                <a:gd name="connsiteX361" fmla="*/ 4467 w 10000"/>
                <a:gd name="connsiteY361" fmla="*/ 8667 h 10022"/>
                <a:gd name="connsiteX362" fmla="*/ 4460 w 10000"/>
                <a:gd name="connsiteY362" fmla="*/ 8715 h 10022"/>
                <a:gd name="connsiteX363" fmla="*/ 4454 w 10000"/>
                <a:gd name="connsiteY363" fmla="*/ 8757 h 10022"/>
                <a:gd name="connsiteX364" fmla="*/ 4460 w 10000"/>
                <a:gd name="connsiteY364" fmla="*/ 8774 h 10022"/>
                <a:gd name="connsiteX365" fmla="*/ 4467 w 10000"/>
                <a:gd name="connsiteY365" fmla="*/ 8786 h 10022"/>
                <a:gd name="connsiteX366" fmla="*/ 4479 w 10000"/>
                <a:gd name="connsiteY366" fmla="*/ 8798 h 10022"/>
                <a:gd name="connsiteX367" fmla="*/ 4504 w 10000"/>
                <a:gd name="connsiteY367" fmla="*/ 8810 h 10022"/>
                <a:gd name="connsiteX368" fmla="*/ 4542 w 10000"/>
                <a:gd name="connsiteY368" fmla="*/ 8834 h 10022"/>
                <a:gd name="connsiteX369" fmla="*/ 4580 w 10000"/>
                <a:gd name="connsiteY369" fmla="*/ 8840 h 10022"/>
                <a:gd name="connsiteX370" fmla="*/ 4580 w 10000"/>
                <a:gd name="connsiteY370" fmla="*/ 9058 h 10022"/>
                <a:gd name="connsiteX371" fmla="*/ 4529 w 10000"/>
                <a:gd name="connsiteY371" fmla="*/ 9143 h 10022"/>
                <a:gd name="connsiteX372" fmla="*/ 4492 w 10000"/>
                <a:gd name="connsiteY372" fmla="*/ 9233 h 10022"/>
                <a:gd name="connsiteX373" fmla="*/ 4460 w 10000"/>
                <a:gd name="connsiteY373" fmla="*/ 9268 h 10022"/>
                <a:gd name="connsiteX374" fmla="*/ 4429 w 10000"/>
                <a:gd name="connsiteY374" fmla="*/ 9293 h 10022"/>
                <a:gd name="connsiteX375" fmla="*/ 4404 w 10000"/>
                <a:gd name="connsiteY375" fmla="*/ 9305 h 10022"/>
                <a:gd name="connsiteX376" fmla="*/ 4385 w 10000"/>
                <a:gd name="connsiteY376" fmla="*/ 9311 h 10022"/>
                <a:gd name="connsiteX377" fmla="*/ 4360 w 10000"/>
                <a:gd name="connsiteY377" fmla="*/ 9317 h 10022"/>
                <a:gd name="connsiteX378" fmla="*/ 4329 w 10000"/>
                <a:gd name="connsiteY378" fmla="*/ 9317 h 10022"/>
                <a:gd name="connsiteX379" fmla="*/ 4329 w 10000"/>
                <a:gd name="connsiteY379" fmla="*/ 9365 h 10022"/>
                <a:gd name="connsiteX380" fmla="*/ 4335 w 10000"/>
                <a:gd name="connsiteY380" fmla="*/ 9425 h 10022"/>
                <a:gd name="connsiteX381" fmla="*/ 4348 w 10000"/>
                <a:gd name="connsiteY381" fmla="*/ 9455 h 10022"/>
                <a:gd name="connsiteX382" fmla="*/ 4354 w 10000"/>
                <a:gd name="connsiteY382" fmla="*/ 9479 h 10022"/>
                <a:gd name="connsiteX383" fmla="*/ 4360 w 10000"/>
                <a:gd name="connsiteY383" fmla="*/ 9498 h 10022"/>
                <a:gd name="connsiteX384" fmla="*/ 4373 w 10000"/>
                <a:gd name="connsiteY384" fmla="*/ 9504 h 10022"/>
                <a:gd name="connsiteX385" fmla="*/ 4210 w 10000"/>
                <a:gd name="connsiteY385" fmla="*/ 9630 h 10022"/>
                <a:gd name="connsiteX386" fmla="*/ 4072 w 10000"/>
                <a:gd name="connsiteY386" fmla="*/ 9734 h 10022"/>
                <a:gd name="connsiteX387" fmla="*/ 4009 w 10000"/>
                <a:gd name="connsiteY387" fmla="*/ 9793 h 10022"/>
                <a:gd name="connsiteX388" fmla="*/ 3952 w 10000"/>
                <a:gd name="connsiteY388" fmla="*/ 9859 h 10022"/>
                <a:gd name="connsiteX389" fmla="*/ 3890 w 10000"/>
                <a:gd name="connsiteY389" fmla="*/ 9938 h 10022"/>
                <a:gd name="connsiteX390" fmla="*/ 3833 w 10000"/>
                <a:gd name="connsiteY390" fmla="*/ 10022 h 10022"/>
                <a:gd name="connsiteX391" fmla="*/ 3733 w 10000"/>
                <a:gd name="connsiteY391" fmla="*/ 9980 h 10022"/>
                <a:gd name="connsiteX392" fmla="*/ 3664 w 10000"/>
                <a:gd name="connsiteY392" fmla="*/ 9938 h 10022"/>
                <a:gd name="connsiteX393" fmla="*/ 3607 w 10000"/>
                <a:gd name="connsiteY393" fmla="*/ 9895 h 10022"/>
                <a:gd name="connsiteX394" fmla="*/ 3563 w 10000"/>
                <a:gd name="connsiteY394" fmla="*/ 9847 h 10022"/>
                <a:gd name="connsiteX395" fmla="*/ 3532 w 10000"/>
                <a:gd name="connsiteY395" fmla="*/ 9787 h 10022"/>
                <a:gd name="connsiteX396" fmla="*/ 3513 w 10000"/>
                <a:gd name="connsiteY396" fmla="*/ 9728 h 10022"/>
                <a:gd name="connsiteX397" fmla="*/ 3482 w 10000"/>
                <a:gd name="connsiteY397" fmla="*/ 9654 h 10022"/>
                <a:gd name="connsiteX398" fmla="*/ 3457 w 10000"/>
                <a:gd name="connsiteY398" fmla="*/ 9582 h 10022"/>
                <a:gd name="connsiteX399" fmla="*/ 3400 w 10000"/>
                <a:gd name="connsiteY399" fmla="*/ 9443 h 10022"/>
                <a:gd name="connsiteX400" fmla="*/ 3325 w 10000"/>
                <a:gd name="connsiteY400" fmla="*/ 9311 h 10022"/>
                <a:gd name="connsiteX401" fmla="*/ 3237 w 10000"/>
                <a:gd name="connsiteY401" fmla="*/ 9173 h 10022"/>
                <a:gd name="connsiteX402" fmla="*/ 3143 w 10000"/>
                <a:gd name="connsiteY402" fmla="*/ 9028 h 10022"/>
                <a:gd name="connsiteX403" fmla="*/ 3049 w 10000"/>
                <a:gd name="connsiteY403" fmla="*/ 8895 h 10022"/>
                <a:gd name="connsiteX404" fmla="*/ 2967 w 10000"/>
                <a:gd name="connsiteY404" fmla="*/ 8763 h 10022"/>
                <a:gd name="connsiteX405" fmla="*/ 2892 w 10000"/>
                <a:gd name="connsiteY405" fmla="*/ 8643 h 10022"/>
                <a:gd name="connsiteX406" fmla="*/ 2829 w 10000"/>
                <a:gd name="connsiteY406" fmla="*/ 8540 h 10022"/>
                <a:gd name="connsiteX407" fmla="*/ 2773 w 10000"/>
                <a:gd name="connsiteY407" fmla="*/ 8425 h 10022"/>
                <a:gd name="connsiteX408" fmla="*/ 2735 w 10000"/>
                <a:gd name="connsiteY408" fmla="*/ 8323 h 10022"/>
                <a:gd name="connsiteX409" fmla="*/ 2698 w 10000"/>
                <a:gd name="connsiteY409" fmla="*/ 8215 h 10022"/>
                <a:gd name="connsiteX410" fmla="*/ 2666 w 10000"/>
                <a:gd name="connsiteY410" fmla="*/ 8106 h 10022"/>
                <a:gd name="connsiteX411" fmla="*/ 2629 w 10000"/>
                <a:gd name="connsiteY411" fmla="*/ 7997 h 10022"/>
                <a:gd name="connsiteX412" fmla="*/ 2597 w 10000"/>
                <a:gd name="connsiteY412" fmla="*/ 7889 h 10022"/>
                <a:gd name="connsiteX413" fmla="*/ 2553 w 10000"/>
                <a:gd name="connsiteY413" fmla="*/ 7768 h 10022"/>
                <a:gd name="connsiteX414" fmla="*/ 2497 w 10000"/>
                <a:gd name="connsiteY414" fmla="*/ 7649 h 10022"/>
                <a:gd name="connsiteX415" fmla="*/ 2359 w 10000"/>
                <a:gd name="connsiteY415" fmla="*/ 7455 h 10022"/>
                <a:gd name="connsiteX416" fmla="*/ 2208 w 10000"/>
                <a:gd name="connsiteY416" fmla="*/ 7274 h 10022"/>
                <a:gd name="connsiteX417" fmla="*/ 2139 w 10000"/>
                <a:gd name="connsiteY417" fmla="*/ 7191 h 10022"/>
                <a:gd name="connsiteX418" fmla="*/ 2070 w 10000"/>
                <a:gd name="connsiteY418" fmla="*/ 7094 h 10022"/>
                <a:gd name="connsiteX419" fmla="*/ 2008 w 10000"/>
                <a:gd name="connsiteY419" fmla="*/ 7004 h 10022"/>
                <a:gd name="connsiteX420" fmla="*/ 1957 w 10000"/>
                <a:gd name="connsiteY420" fmla="*/ 6907 h 10022"/>
                <a:gd name="connsiteX421" fmla="*/ 1888 w 10000"/>
                <a:gd name="connsiteY421" fmla="*/ 6672 h 10022"/>
                <a:gd name="connsiteX422" fmla="*/ 1832 w 10000"/>
                <a:gd name="connsiteY422" fmla="*/ 6455 h 10022"/>
                <a:gd name="connsiteX423" fmla="*/ 1782 w 10000"/>
                <a:gd name="connsiteY423" fmla="*/ 6245 h 10022"/>
                <a:gd name="connsiteX424" fmla="*/ 1757 w 10000"/>
                <a:gd name="connsiteY424" fmla="*/ 6033 h 10022"/>
                <a:gd name="connsiteX425" fmla="*/ 1725 w 10000"/>
                <a:gd name="connsiteY425" fmla="*/ 5828 h 10022"/>
                <a:gd name="connsiteX426" fmla="*/ 1713 w 10000"/>
                <a:gd name="connsiteY426" fmla="*/ 5612 h 10022"/>
                <a:gd name="connsiteX427" fmla="*/ 1706 w 10000"/>
                <a:gd name="connsiteY427" fmla="*/ 5389 h 10022"/>
                <a:gd name="connsiteX428" fmla="*/ 1706 w 10000"/>
                <a:gd name="connsiteY428" fmla="*/ 5166 h 10022"/>
                <a:gd name="connsiteX429" fmla="*/ 1681 w 10000"/>
                <a:gd name="connsiteY429" fmla="*/ 5160 h 10022"/>
                <a:gd name="connsiteX430" fmla="*/ 1650 w 10000"/>
                <a:gd name="connsiteY430" fmla="*/ 5154 h 10022"/>
                <a:gd name="connsiteX431" fmla="*/ 1625 w 10000"/>
                <a:gd name="connsiteY431" fmla="*/ 5148 h 10022"/>
                <a:gd name="connsiteX432" fmla="*/ 1606 w 10000"/>
                <a:gd name="connsiteY432" fmla="*/ 5124 h 10022"/>
                <a:gd name="connsiteX433" fmla="*/ 1581 w 10000"/>
                <a:gd name="connsiteY433" fmla="*/ 5112 h 10022"/>
                <a:gd name="connsiteX434" fmla="*/ 1568 w 10000"/>
                <a:gd name="connsiteY434" fmla="*/ 5094 h 10022"/>
                <a:gd name="connsiteX435" fmla="*/ 1550 w 10000"/>
                <a:gd name="connsiteY435" fmla="*/ 5070 h 10022"/>
                <a:gd name="connsiteX436" fmla="*/ 1543 w 10000"/>
                <a:gd name="connsiteY436" fmla="*/ 5046 h 10022"/>
                <a:gd name="connsiteX437" fmla="*/ 1518 w 10000"/>
                <a:gd name="connsiteY437" fmla="*/ 4997 h 10022"/>
                <a:gd name="connsiteX438" fmla="*/ 1506 w 10000"/>
                <a:gd name="connsiteY438" fmla="*/ 4943 h 10022"/>
                <a:gd name="connsiteX439" fmla="*/ 1499 w 10000"/>
                <a:gd name="connsiteY439" fmla="*/ 4883 h 10022"/>
                <a:gd name="connsiteX440" fmla="*/ 1499 w 10000"/>
                <a:gd name="connsiteY440" fmla="*/ 4829 h 10022"/>
                <a:gd name="connsiteX441" fmla="*/ 1443 w 10000"/>
                <a:gd name="connsiteY441" fmla="*/ 4865 h 10022"/>
                <a:gd name="connsiteX442" fmla="*/ 1405 w 10000"/>
                <a:gd name="connsiteY442" fmla="*/ 4907 h 10022"/>
                <a:gd name="connsiteX443" fmla="*/ 1361 w 10000"/>
                <a:gd name="connsiteY443" fmla="*/ 4949 h 10022"/>
                <a:gd name="connsiteX444" fmla="*/ 1317 w 10000"/>
                <a:gd name="connsiteY444" fmla="*/ 4997 h 10022"/>
                <a:gd name="connsiteX445" fmla="*/ 1261 w 10000"/>
                <a:gd name="connsiteY445" fmla="*/ 5094 h 10022"/>
                <a:gd name="connsiteX446" fmla="*/ 1205 w 10000"/>
                <a:gd name="connsiteY446" fmla="*/ 5196 h 10022"/>
                <a:gd name="connsiteX447" fmla="*/ 1167 w 10000"/>
                <a:gd name="connsiteY447" fmla="*/ 5239 h 10022"/>
                <a:gd name="connsiteX448" fmla="*/ 1142 w 10000"/>
                <a:gd name="connsiteY448" fmla="*/ 5280 h 10022"/>
                <a:gd name="connsiteX449" fmla="*/ 1104 w 10000"/>
                <a:gd name="connsiteY449" fmla="*/ 5322 h 10022"/>
                <a:gd name="connsiteX450" fmla="*/ 1073 w 10000"/>
                <a:gd name="connsiteY450" fmla="*/ 5352 h 10022"/>
                <a:gd name="connsiteX451" fmla="*/ 1029 w 10000"/>
                <a:gd name="connsiteY451" fmla="*/ 5383 h 10022"/>
                <a:gd name="connsiteX452" fmla="*/ 985 w 10000"/>
                <a:gd name="connsiteY452" fmla="*/ 5401 h 10022"/>
                <a:gd name="connsiteX453" fmla="*/ 928 w 10000"/>
                <a:gd name="connsiteY453" fmla="*/ 5413 h 10022"/>
                <a:gd name="connsiteX454" fmla="*/ 872 w 10000"/>
                <a:gd name="connsiteY454" fmla="*/ 5419 h 10022"/>
                <a:gd name="connsiteX455" fmla="*/ 841 w 10000"/>
                <a:gd name="connsiteY455" fmla="*/ 5413 h 10022"/>
                <a:gd name="connsiteX456" fmla="*/ 797 w 10000"/>
                <a:gd name="connsiteY456" fmla="*/ 5401 h 10022"/>
                <a:gd name="connsiteX457" fmla="*/ 753 w 10000"/>
                <a:gd name="connsiteY457" fmla="*/ 5383 h 10022"/>
                <a:gd name="connsiteX458" fmla="*/ 709 w 10000"/>
                <a:gd name="connsiteY458" fmla="*/ 5352 h 10022"/>
                <a:gd name="connsiteX459" fmla="*/ 659 w 10000"/>
                <a:gd name="connsiteY459" fmla="*/ 5316 h 10022"/>
                <a:gd name="connsiteX460" fmla="*/ 609 w 10000"/>
                <a:gd name="connsiteY460" fmla="*/ 5280 h 10022"/>
                <a:gd name="connsiteX461" fmla="*/ 565 w 10000"/>
                <a:gd name="connsiteY461" fmla="*/ 5239 h 10022"/>
                <a:gd name="connsiteX462" fmla="*/ 514 w 10000"/>
                <a:gd name="connsiteY462" fmla="*/ 5190 h 10022"/>
                <a:gd name="connsiteX463" fmla="*/ 471 w 10000"/>
                <a:gd name="connsiteY463" fmla="*/ 5142 h 10022"/>
                <a:gd name="connsiteX464" fmla="*/ 433 w 10000"/>
                <a:gd name="connsiteY464" fmla="*/ 5088 h 10022"/>
                <a:gd name="connsiteX465" fmla="*/ 389 w 10000"/>
                <a:gd name="connsiteY465" fmla="*/ 5034 h 10022"/>
                <a:gd name="connsiteX466" fmla="*/ 358 w 10000"/>
                <a:gd name="connsiteY466" fmla="*/ 4979 h 10022"/>
                <a:gd name="connsiteX467" fmla="*/ 326 w 10000"/>
                <a:gd name="connsiteY467" fmla="*/ 4931 h 10022"/>
                <a:gd name="connsiteX468" fmla="*/ 307 w 10000"/>
                <a:gd name="connsiteY468" fmla="*/ 4883 h 10022"/>
                <a:gd name="connsiteX469" fmla="*/ 295 w 10000"/>
                <a:gd name="connsiteY469" fmla="*/ 4835 h 10022"/>
                <a:gd name="connsiteX470" fmla="*/ 289 w 10000"/>
                <a:gd name="connsiteY470" fmla="*/ 4786 h 10022"/>
                <a:gd name="connsiteX471" fmla="*/ 320 w 10000"/>
                <a:gd name="connsiteY471" fmla="*/ 4768 h 10022"/>
                <a:gd name="connsiteX472" fmla="*/ 395 w 10000"/>
                <a:gd name="connsiteY472" fmla="*/ 4733 h 10022"/>
                <a:gd name="connsiteX473" fmla="*/ 483 w 10000"/>
                <a:gd name="connsiteY473" fmla="*/ 4697 h 10022"/>
                <a:gd name="connsiteX474" fmla="*/ 533 w 10000"/>
                <a:gd name="connsiteY474" fmla="*/ 4679 h 10022"/>
                <a:gd name="connsiteX475" fmla="*/ 483 w 10000"/>
                <a:gd name="connsiteY475" fmla="*/ 4679 h 10022"/>
                <a:gd name="connsiteX476" fmla="*/ 420 w 10000"/>
                <a:gd name="connsiteY476" fmla="*/ 4673 h 10022"/>
                <a:gd name="connsiteX477" fmla="*/ 370 w 10000"/>
                <a:gd name="connsiteY477" fmla="*/ 4661 h 10022"/>
                <a:gd name="connsiteX478" fmla="*/ 320 w 10000"/>
                <a:gd name="connsiteY478" fmla="*/ 4655 h 10022"/>
                <a:gd name="connsiteX479" fmla="*/ 276 w 10000"/>
                <a:gd name="connsiteY479" fmla="*/ 4636 h 10022"/>
                <a:gd name="connsiteX480" fmla="*/ 232 w 10000"/>
                <a:gd name="connsiteY480" fmla="*/ 4624 h 10022"/>
                <a:gd name="connsiteX481" fmla="*/ 188 w 10000"/>
                <a:gd name="connsiteY481" fmla="*/ 4606 h 10022"/>
                <a:gd name="connsiteX482" fmla="*/ 157 w 10000"/>
                <a:gd name="connsiteY482" fmla="*/ 4581 h 10022"/>
                <a:gd name="connsiteX483" fmla="*/ 132 w 10000"/>
                <a:gd name="connsiteY483" fmla="*/ 4557 h 10022"/>
                <a:gd name="connsiteX484" fmla="*/ 100 w 10000"/>
                <a:gd name="connsiteY484" fmla="*/ 4533 h 10022"/>
                <a:gd name="connsiteX485" fmla="*/ 75 w 10000"/>
                <a:gd name="connsiteY485" fmla="*/ 4503 h 10022"/>
                <a:gd name="connsiteX486" fmla="*/ 50 w 10000"/>
                <a:gd name="connsiteY486" fmla="*/ 4479 h 10022"/>
                <a:gd name="connsiteX487" fmla="*/ 19 w 10000"/>
                <a:gd name="connsiteY487" fmla="*/ 4407 h 10022"/>
                <a:gd name="connsiteX488" fmla="*/ 0 w 10000"/>
                <a:gd name="connsiteY488" fmla="*/ 4340 h 10022"/>
                <a:gd name="connsiteX489" fmla="*/ 63 w 10000"/>
                <a:gd name="connsiteY489" fmla="*/ 4292 h 10022"/>
                <a:gd name="connsiteX490" fmla="*/ 132 w 10000"/>
                <a:gd name="connsiteY490" fmla="*/ 4256 h 10022"/>
                <a:gd name="connsiteX491" fmla="*/ 201 w 10000"/>
                <a:gd name="connsiteY491" fmla="*/ 4227 h 10022"/>
                <a:gd name="connsiteX492" fmla="*/ 276 w 10000"/>
                <a:gd name="connsiteY492" fmla="*/ 4203 h 10022"/>
                <a:gd name="connsiteX493" fmla="*/ 420 w 10000"/>
                <a:gd name="connsiteY493" fmla="*/ 4173 h 10022"/>
                <a:gd name="connsiteX494" fmla="*/ 565 w 10000"/>
                <a:gd name="connsiteY494" fmla="*/ 4148 h 10022"/>
                <a:gd name="connsiteX495" fmla="*/ 640 w 10000"/>
                <a:gd name="connsiteY495" fmla="*/ 4136 h 10022"/>
                <a:gd name="connsiteX496" fmla="*/ 709 w 10000"/>
                <a:gd name="connsiteY496" fmla="*/ 4112 h 10022"/>
                <a:gd name="connsiteX497" fmla="*/ 772 w 10000"/>
                <a:gd name="connsiteY497" fmla="*/ 4094 h 10022"/>
                <a:gd name="connsiteX498" fmla="*/ 834 w 10000"/>
                <a:gd name="connsiteY498" fmla="*/ 4064 h 10022"/>
                <a:gd name="connsiteX499" fmla="*/ 891 w 10000"/>
                <a:gd name="connsiteY499" fmla="*/ 4034 h 10022"/>
                <a:gd name="connsiteX500" fmla="*/ 947 w 10000"/>
                <a:gd name="connsiteY500" fmla="*/ 3986 h 10022"/>
                <a:gd name="connsiteX501" fmla="*/ 997 w 10000"/>
                <a:gd name="connsiteY501" fmla="*/ 3931 h 10022"/>
                <a:gd name="connsiteX502" fmla="*/ 1035 w 10000"/>
                <a:gd name="connsiteY502" fmla="*/ 3864 h 10022"/>
                <a:gd name="connsiteX503" fmla="*/ 1010 w 10000"/>
                <a:gd name="connsiteY503" fmla="*/ 3852 h 10022"/>
                <a:gd name="connsiteX504" fmla="*/ 985 w 10000"/>
                <a:gd name="connsiteY504" fmla="*/ 3834 h 10022"/>
                <a:gd name="connsiteX505" fmla="*/ 947 w 10000"/>
                <a:gd name="connsiteY505" fmla="*/ 3810 h 10022"/>
                <a:gd name="connsiteX506" fmla="*/ 910 w 10000"/>
                <a:gd name="connsiteY506" fmla="*/ 3774 h 10022"/>
                <a:gd name="connsiteX507" fmla="*/ 822 w 10000"/>
                <a:gd name="connsiteY507" fmla="*/ 3702 h 10022"/>
                <a:gd name="connsiteX508" fmla="*/ 740 w 10000"/>
                <a:gd name="connsiteY508" fmla="*/ 3618 h 10022"/>
                <a:gd name="connsiteX509" fmla="*/ 665 w 10000"/>
                <a:gd name="connsiteY509" fmla="*/ 3527 h 10022"/>
                <a:gd name="connsiteX510" fmla="*/ 596 w 10000"/>
                <a:gd name="connsiteY510" fmla="*/ 3431 h 10022"/>
                <a:gd name="connsiteX511" fmla="*/ 577 w 10000"/>
                <a:gd name="connsiteY511" fmla="*/ 3389 h 10022"/>
                <a:gd name="connsiteX512" fmla="*/ 558 w 10000"/>
                <a:gd name="connsiteY512" fmla="*/ 3347 h 10022"/>
                <a:gd name="connsiteX513" fmla="*/ 540 w 10000"/>
                <a:gd name="connsiteY513" fmla="*/ 3304 h 10022"/>
                <a:gd name="connsiteX514" fmla="*/ 533 w 10000"/>
                <a:gd name="connsiteY514" fmla="*/ 3268 h 10022"/>
                <a:gd name="connsiteX515" fmla="*/ 508 w 10000"/>
                <a:gd name="connsiteY515" fmla="*/ 3262 h 10022"/>
                <a:gd name="connsiteX516" fmla="*/ 483 w 10000"/>
                <a:gd name="connsiteY516" fmla="*/ 3256 h 10022"/>
                <a:gd name="connsiteX517" fmla="*/ 458 w 10000"/>
                <a:gd name="connsiteY517" fmla="*/ 3244 h 10022"/>
                <a:gd name="connsiteX518" fmla="*/ 439 w 10000"/>
                <a:gd name="connsiteY518" fmla="*/ 3221 h 10022"/>
                <a:gd name="connsiteX519" fmla="*/ 402 w 10000"/>
                <a:gd name="connsiteY519" fmla="*/ 3178 h 10022"/>
                <a:gd name="connsiteX520" fmla="*/ 370 w 10000"/>
                <a:gd name="connsiteY520" fmla="*/ 3118 h 10022"/>
                <a:gd name="connsiteX521" fmla="*/ 370 w 10000"/>
                <a:gd name="connsiteY521" fmla="*/ 2973 h 10022"/>
                <a:gd name="connsiteX522" fmla="*/ 458 w 10000"/>
                <a:gd name="connsiteY522" fmla="*/ 2967 h 10022"/>
                <a:gd name="connsiteX523" fmla="*/ 540 w 10000"/>
                <a:gd name="connsiteY523" fmla="*/ 2961 h 10022"/>
                <a:gd name="connsiteX524" fmla="*/ 615 w 10000"/>
                <a:gd name="connsiteY524" fmla="*/ 2949 h 10022"/>
                <a:gd name="connsiteX525" fmla="*/ 684 w 10000"/>
                <a:gd name="connsiteY525" fmla="*/ 2925 h 10022"/>
                <a:gd name="connsiteX526" fmla="*/ 747 w 10000"/>
                <a:gd name="connsiteY526" fmla="*/ 2907 h 10022"/>
                <a:gd name="connsiteX527" fmla="*/ 809 w 10000"/>
                <a:gd name="connsiteY527" fmla="*/ 2876 h 10022"/>
                <a:gd name="connsiteX528" fmla="*/ 866 w 10000"/>
                <a:gd name="connsiteY528" fmla="*/ 2846 h 10022"/>
                <a:gd name="connsiteX529" fmla="*/ 922 w 10000"/>
                <a:gd name="connsiteY529" fmla="*/ 2810 h 10022"/>
                <a:gd name="connsiteX530" fmla="*/ 966 w 10000"/>
                <a:gd name="connsiteY530" fmla="*/ 2768 h 10022"/>
                <a:gd name="connsiteX531" fmla="*/ 1016 w 10000"/>
                <a:gd name="connsiteY531" fmla="*/ 2727 h 10022"/>
                <a:gd name="connsiteX532" fmla="*/ 1060 w 10000"/>
                <a:gd name="connsiteY532" fmla="*/ 2685 h 10022"/>
                <a:gd name="connsiteX533" fmla="*/ 1098 w 10000"/>
                <a:gd name="connsiteY533" fmla="*/ 2636 h 10022"/>
                <a:gd name="connsiteX534" fmla="*/ 1167 w 10000"/>
                <a:gd name="connsiteY534" fmla="*/ 2540 h 10022"/>
                <a:gd name="connsiteX535" fmla="*/ 1236 w 10000"/>
                <a:gd name="connsiteY535" fmla="*/ 2430 h 10022"/>
                <a:gd name="connsiteX536" fmla="*/ 1355 w 10000"/>
                <a:gd name="connsiteY536" fmla="*/ 2214 h 10022"/>
                <a:gd name="connsiteX537" fmla="*/ 1474 w 10000"/>
                <a:gd name="connsiteY537" fmla="*/ 1997 h 10022"/>
                <a:gd name="connsiteX538" fmla="*/ 1543 w 10000"/>
                <a:gd name="connsiteY538" fmla="*/ 1901 h 10022"/>
                <a:gd name="connsiteX539" fmla="*/ 1612 w 10000"/>
                <a:gd name="connsiteY539" fmla="*/ 1816 h 10022"/>
                <a:gd name="connsiteX540" fmla="*/ 1650 w 10000"/>
                <a:gd name="connsiteY540" fmla="*/ 1767 h 10022"/>
                <a:gd name="connsiteX541" fmla="*/ 1694 w 10000"/>
                <a:gd name="connsiteY541" fmla="*/ 1731 h 10022"/>
                <a:gd name="connsiteX542" fmla="*/ 1738 w 10000"/>
                <a:gd name="connsiteY542" fmla="*/ 1702 h 10022"/>
                <a:gd name="connsiteX543" fmla="*/ 1788 w 10000"/>
                <a:gd name="connsiteY543" fmla="*/ 1672 h 10022"/>
                <a:gd name="connsiteX544" fmla="*/ 1750 w 10000"/>
                <a:gd name="connsiteY544" fmla="*/ 1599 h 10022"/>
                <a:gd name="connsiteX545" fmla="*/ 1719 w 10000"/>
                <a:gd name="connsiteY545" fmla="*/ 1533 h 10022"/>
                <a:gd name="connsiteX546" fmla="*/ 1713 w 10000"/>
                <a:gd name="connsiteY546" fmla="*/ 1503 h 10022"/>
                <a:gd name="connsiteX547" fmla="*/ 1706 w 10000"/>
                <a:gd name="connsiteY547" fmla="*/ 1473 h 10022"/>
                <a:gd name="connsiteX548" fmla="*/ 1706 w 10000"/>
                <a:gd name="connsiteY548" fmla="*/ 1437 h 10022"/>
                <a:gd name="connsiteX549" fmla="*/ 1706 w 10000"/>
                <a:gd name="connsiteY549" fmla="*/ 1407 h 10022"/>
                <a:gd name="connsiteX550" fmla="*/ 1713 w 10000"/>
                <a:gd name="connsiteY550" fmla="*/ 1376 h 10022"/>
                <a:gd name="connsiteX551" fmla="*/ 1719 w 10000"/>
                <a:gd name="connsiteY551" fmla="*/ 1346 h 10022"/>
                <a:gd name="connsiteX552" fmla="*/ 1731 w 10000"/>
                <a:gd name="connsiteY552" fmla="*/ 1322 h 10022"/>
                <a:gd name="connsiteX553" fmla="*/ 1757 w 10000"/>
                <a:gd name="connsiteY553" fmla="*/ 1298 h 10022"/>
                <a:gd name="connsiteX554" fmla="*/ 1775 w 10000"/>
                <a:gd name="connsiteY554" fmla="*/ 1280 h 10022"/>
                <a:gd name="connsiteX555" fmla="*/ 1801 w 10000"/>
                <a:gd name="connsiteY555" fmla="*/ 1262 h 10022"/>
                <a:gd name="connsiteX556" fmla="*/ 1838 w 10000"/>
                <a:gd name="connsiteY556" fmla="*/ 1244 h 10022"/>
                <a:gd name="connsiteX557" fmla="*/ 1870 w 10000"/>
                <a:gd name="connsiteY557" fmla="*/ 1226 h 10022"/>
                <a:gd name="connsiteX558" fmla="*/ 1688 w 10000"/>
                <a:gd name="connsiteY558" fmla="*/ 1064 h 10022"/>
                <a:gd name="connsiteX559" fmla="*/ 1550 w 10000"/>
                <a:gd name="connsiteY559" fmla="*/ 942 h 10022"/>
                <a:gd name="connsiteX560" fmla="*/ 1487 w 10000"/>
                <a:gd name="connsiteY560" fmla="*/ 882 h 10022"/>
                <a:gd name="connsiteX561" fmla="*/ 1424 w 10000"/>
                <a:gd name="connsiteY561" fmla="*/ 816 h 10022"/>
                <a:gd name="connsiteX562" fmla="*/ 1361 w 10000"/>
                <a:gd name="connsiteY562" fmla="*/ 731 h 10022"/>
                <a:gd name="connsiteX563" fmla="*/ 1286 w 10000"/>
                <a:gd name="connsiteY563" fmla="*/ 630 h 10022"/>
                <a:gd name="connsiteX564" fmla="*/ 1286 w 10000"/>
                <a:gd name="connsiteY564" fmla="*/ 371 h 10022"/>
                <a:gd name="connsiteX565" fmla="*/ 1437 w 10000"/>
                <a:gd name="connsiteY565" fmla="*/ 371 h 10022"/>
                <a:gd name="connsiteX566" fmla="*/ 1606 w 10000"/>
                <a:gd name="connsiteY566" fmla="*/ 359 h 10022"/>
                <a:gd name="connsiteX567" fmla="*/ 1694 w 10000"/>
                <a:gd name="connsiteY567" fmla="*/ 353 h 10022"/>
                <a:gd name="connsiteX568" fmla="*/ 1775 w 10000"/>
                <a:gd name="connsiteY568" fmla="*/ 340 h 10022"/>
                <a:gd name="connsiteX569" fmla="*/ 1863 w 10000"/>
                <a:gd name="connsiteY569" fmla="*/ 321 h 10022"/>
                <a:gd name="connsiteX570" fmla="*/ 1945 w 10000"/>
                <a:gd name="connsiteY570" fmla="*/ 303 h 10022"/>
                <a:gd name="connsiteX571" fmla="*/ 2020 w 10000"/>
                <a:gd name="connsiteY571" fmla="*/ 285 h 10022"/>
                <a:gd name="connsiteX572" fmla="*/ 2102 w 10000"/>
                <a:gd name="connsiteY572" fmla="*/ 255 h 10022"/>
                <a:gd name="connsiteX573" fmla="*/ 2177 w 10000"/>
                <a:gd name="connsiteY573" fmla="*/ 225 h 10022"/>
                <a:gd name="connsiteX574" fmla="*/ 2240 w 10000"/>
                <a:gd name="connsiteY574" fmla="*/ 184 h 10022"/>
                <a:gd name="connsiteX575" fmla="*/ 2296 w 10000"/>
                <a:gd name="connsiteY575" fmla="*/ 142 h 10022"/>
                <a:gd name="connsiteX576" fmla="*/ 2621 w 10000"/>
                <a:gd name="connsiteY576" fmla="*/ 33 h 10022"/>
                <a:gd name="connsiteX577" fmla="*/ 2444 w 10000"/>
                <a:gd name="connsiteY577" fmla="*/ 56 h 10022"/>
                <a:gd name="connsiteX578" fmla="*/ 2415 w 10000"/>
                <a:gd name="connsiteY578" fmla="*/ 97 h 10022"/>
                <a:gd name="connsiteX0" fmla="*/ 2690 w 10000"/>
                <a:gd name="connsiteY0" fmla="*/ 97 h 10022"/>
                <a:gd name="connsiteX1" fmla="*/ 2509 w 10000"/>
                <a:gd name="connsiteY1" fmla="*/ 57 h 10022"/>
                <a:gd name="connsiteX2" fmla="*/ 2818 w 10000"/>
                <a:gd name="connsiteY2" fmla="*/ 23 h 10022"/>
                <a:gd name="connsiteX3" fmla="*/ 2776 w 10000"/>
                <a:gd name="connsiteY3" fmla="*/ 105 h 10022"/>
                <a:gd name="connsiteX4" fmla="*/ 2851 w 10000"/>
                <a:gd name="connsiteY4" fmla="*/ 58 h 10022"/>
                <a:gd name="connsiteX5" fmla="*/ 2880 w 10000"/>
                <a:gd name="connsiteY5" fmla="*/ 11 h 10022"/>
                <a:gd name="connsiteX6" fmla="*/ 3155 w 10000"/>
                <a:gd name="connsiteY6" fmla="*/ 88 h 10022"/>
                <a:gd name="connsiteX7" fmla="*/ 3162 w 10000"/>
                <a:gd name="connsiteY7" fmla="*/ 242 h 10022"/>
                <a:gd name="connsiteX8" fmla="*/ 3120 w 10000"/>
                <a:gd name="connsiteY8" fmla="*/ 367 h 10022"/>
                <a:gd name="connsiteX9" fmla="*/ 3152 w 10000"/>
                <a:gd name="connsiteY9" fmla="*/ 430 h 10022"/>
                <a:gd name="connsiteX10" fmla="*/ 3093 w 10000"/>
                <a:gd name="connsiteY10" fmla="*/ 515 h 10022"/>
                <a:gd name="connsiteX11" fmla="*/ 2992 w 10000"/>
                <a:gd name="connsiteY11" fmla="*/ 606 h 10022"/>
                <a:gd name="connsiteX12" fmla="*/ 3043 w 10000"/>
                <a:gd name="connsiteY12" fmla="*/ 630 h 10022"/>
                <a:gd name="connsiteX13" fmla="*/ 3087 w 10000"/>
                <a:gd name="connsiteY13" fmla="*/ 672 h 10022"/>
                <a:gd name="connsiteX14" fmla="*/ 3130 w 10000"/>
                <a:gd name="connsiteY14" fmla="*/ 719 h 10022"/>
                <a:gd name="connsiteX15" fmla="*/ 3174 w 10000"/>
                <a:gd name="connsiteY15" fmla="*/ 768 h 10022"/>
                <a:gd name="connsiteX16" fmla="*/ 3212 w 10000"/>
                <a:gd name="connsiteY16" fmla="*/ 828 h 10022"/>
                <a:gd name="connsiteX17" fmla="*/ 3256 w 10000"/>
                <a:gd name="connsiteY17" fmla="*/ 882 h 10022"/>
                <a:gd name="connsiteX18" fmla="*/ 3281 w 10000"/>
                <a:gd name="connsiteY18" fmla="*/ 942 h 10022"/>
                <a:gd name="connsiteX19" fmla="*/ 3312 w 10000"/>
                <a:gd name="connsiteY19" fmla="*/ 1009 h 10022"/>
                <a:gd name="connsiteX20" fmla="*/ 3331 w 10000"/>
                <a:gd name="connsiteY20" fmla="*/ 1076 h 10022"/>
                <a:gd name="connsiteX21" fmla="*/ 3043 w 10000"/>
                <a:gd name="connsiteY21" fmla="*/ 1076 h 10022"/>
                <a:gd name="connsiteX22" fmla="*/ 3043 w 10000"/>
                <a:gd name="connsiteY22" fmla="*/ 1262 h 10022"/>
                <a:gd name="connsiteX23" fmla="*/ 3074 w 10000"/>
                <a:gd name="connsiteY23" fmla="*/ 1340 h 10022"/>
                <a:gd name="connsiteX24" fmla="*/ 3118 w 10000"/>
                <a:gd name="connsiteY24" fmla="*/ 1407 h 10022"/>
                <a:gd name="connsiteX25" fmla="*/ 3168 w 10000"/>
                <a:gd name="connsiteY25" fmla="*/ 1467 h 10022"/>
                <a:gd name="connsiteX26" fmla="*/ 3225 w 10000"/>
                <a:gd name="connsiteY26" fmla="*/ 1509 h 10022"/>
                <a:gd name="connsiteX27" fmla="*/ 3281 w 10000"/>
                <a:gd name="connsiteY27" fmla="*/ 1551 h 10022"/>
                <a:gd name="connsiteX28" fmla="*/ 3350 w 10000"/>
                <a:gd name="connsiteY28" fmla="*/ 1581 h 10022"/>
                <a:gd name="connsiteX29" fmla="*/ 3413 w 10000"/>
                <a:gd name="connsiteY29" fmla="*/ 1611 h 10022"/>
                <a:gd name="connsiteX30" fmla="*/ 3488 w 10000"/>
                <a:gd name="connsiteY30" fmla="*/ 1636 h 10022"/>
                <a:gd name="connsiteX31" fmla="*/ 3626 w 10000"/>
                <a:gd name="connsiteY31" fmla="*/ 1690 h 10022"/>
                <a:gd name="connsiteX32" fmla="*/ 3764 w 10000"/>
                <a:gd name="connsiteY32" fmla="*/ 1743 h 10022"/>
                <a:gd name="connsiteX33" fmla="*/ 3827 w 10000"/>
                <a:gd name="connsiteY33" fmla="*/ 1780 h 10022"/>
                <a:gd name="connsiteX34" fmla="*/ 3890 w 10000"/>
                <a:gd name="connsiteY34" fmla="*/ 1828 h 10022"/>
                <a:gd name="connsiteX35" fmla="*/ 3946 w 10000"/>
                <a:gd name="connsiteY35" fmla="*/ 1877 h 10022"/>
                <a:gd name="connsiteX36" fmla="*/ 4003 w 10000"/>
                <a:gd name="connsiteY36" fmla="*/ 1931 h 10022"/>
                <a:gd name="connsiteX37" fmla="*/ 3959 w 10000"/>
                <a:gd name="connsiteY37" fmla="*/ 2492 h 10022"/>
                <a:gd name="connsiteX38" fmla="*/ 4034 w 10000"/>
                <a:gd name="connsiteY38" fmla="*/ 2546 h 10022"/>
                <a:gd name="connsiteX39" fmla="*/ 4141 w 10000"/>
                <a:gd name="connsiteY39" fmla="*/ 2612 h 10022"/>
                <a:gd name="connsiteX40" fmla="*/ 4260 w 10000"/>
                <a:gd name="connsiteY40" fmla="*/ 2672 h 10022"/>
                <a:gd name="connsiteX41" fmla="*/ 4398 w 10000"/>
                <a:gd name="connsiteY41" fmla="*/ 2727 h 10022"/>
                <a:gd name="connsiteX42" fmla="*/ 4536 w 10000"/>
                <a:gd name="connsiteY42" fmla="*/ 2780 h 10022"/>
                <a:gd name="connsiteX43" fmla="*/ 4668 w 10000"/>
                <a:gd name="connsiteY43" fmla="*/ 2822 h 10022"/>
                <a:gd name="connsiteX44" fmla="*/ 4724 w 10000"/>
                <a:gd name="connsiteY44" fmla="*/ 2840 h 10022"/>
                <a:gd name="connsiteX45" fmla="*/ 4780 w 10000"/>
                <a:gd name="connsiteY45" fmla="*/ 2852 h 10022"/>
                <a:gd name="connsiteX46" fmla="*/ 4831 w 10000"/>
                <a:gd name="connsiteY46" fmla="*/ 2858 h 10022"/>
                <a:gd name="connsiteX47" fmla="*/ 4875 w 10000"/>
                <a:gd name="connsiteY47" fmla="*/ 2858 h 10022"/>
                <a:gd name="connsiteX48" fmla="*/ 4887 w 10000"/>
                <a:gd name="connsiteY48" fmla="*/ 2901 h 10022"/>
                <a:gd name="connsiteX49" fmla="*/ 4918 w 10000"/>
                <a:gd name="connsiteY49" fmla="*/ 2937 h 10022"/>
                <a:gd name="connsiteX50" fmla="*/ 4950 w 10000"/>
                <a:gd name="connsiteY50" fmla="*/ 2955 h 10022"/>
                <a:gd name="connsiteX51" fmla="*/ 4987 w 10000"/>
                <a:gd name="connsiteY51" fmla="*/ 2967 h 10022"/>
                <a:gd name="connsiteX52" fmla="*/ 5019 w 10000"/>
                <a:gd name="connsiteY52" fmla="*/ 2979 h 10022"/>
                <a:gd name="connsiteX53" fmla="*/ 5063 w 10000"/>
                <a:gd name="connsiteY53" fmla="*/ 2979 h 10022"/>
                <a:gd name="connsiteX54" fmla="*/ 5107 w 10000"/>
                <a:gd name="connsiteY54" fmla="*/ 2973 h 10022"/>
                <a:gd name="connsiteX55" fmla="*/ 5157 w 10000"/>
                <a:gd name="connsiteY55" fmla="*/ 2967 h 10022"/>
                <a:gd name="connsiteX56" fmla="*/ 5245 w 10000"/>
                <a:gd name="connsiteY56" fmla="*/ 2949 h 10022"/>
                <a:gd name="connsiteX57" fmla="*/ 5345 w 10000"/>
                <a:gd name="connsiteY57" fmla="*/ 2925 h 10022"/>
                <a:gd name="connsiteX58" fmla="*/ 5383 w 10000"/>
                <a:gd name="connsiteY58" fmla="*/ 2925 h 10022"/>
                <a:gd name="connsiteX59" fmla="*/ 5427 w 10000"/>
                <a:gd name="connsiteY59" fmla="*/ 2919 h 10022"/>
                <a:gd name="connsiteX60" fmla="*/ 5464 w 10000"/>
                <a:gd name="connsiteY60" fmla="*/ 2925 h 10022"/>
                <a:gd name="connsiteX61" fmla="*/ 5502 w 10000"/>
                <a:gd name="connsiteY61" fmla="*/ 2931 h 10022"/>
                <a:gd name="connsiteX62" fmla="*/ 5558 w 10000"/>
                <a:gd name="connsiteY62" fmla="*/ 2967 h 10022"/>
                <a:gd name="connsiteX63" fmla="*/ 5596 w 10000"/>
                <a:gd name="connsiteY63" fmla="*/ 2997 h 10022"/>
                <a:gd name="connsiteX64" fmla="*/ 5634 w 10000"/>
                <a:gd name="connsiteY64" fmla="*/ 3039 h 10022"/>
                <a:gd name="connsiteX65" fmla="*/ 5665 w 10000"/>
                <a:gd name="connsiteY65" fmla="*/ 3075 h 10022"/>
                <a:gd name="connsiteX66" fmla="*/ 5696 w 10000"/>
                <a:gd name="connsiteY66" fmla="*/ 3112 h 10022"/>
                <a:gd name="connsiteX67" fmla="*/ 5734 w 10000"/>
                <a:gd name="connsiteY67" fmla="*/ 3148 h 10022"/>
                <a:gd name="connsiteX68" fmla="*/ 5759 w 10000"/>
                <a:gd name="connsiteY68" fmla="*/ 3166 h 10022"/>
                <a:gd name="connsiteX69" fmla="*/ 5778 w 10000"/>
                <a:gd name="connsiteY69" fmla="*/ 3178 h 10022"/>
                <a:gd name="connsiteX70" fmla="*/ 5803 w 10000"/>
                <a:gd name="connsiteY70" fmla="*/ 3190 h 10022"/>
                <a:gd name="connsiteX71" fmla="*/ 5834 w 10000"/>
                <a:gd name="connsiteY71" fmla="*/ 3196 h 10022"/>
                <a:gd name="connsiteX72" fmla="*/ 5935 w 10000"/>
                <a:gd name="connsiteY72" fmla="*/ 3215 h 10022"/>
                <a:gd name="connsiteX73" fmla="*/ 6073 w 10000"/>
                <a:gd name="connsiteY73" fmla="*/ 3250 h 10022"/>
                <a:gd name="connsiteX74" fmla="*/ 6230 w 10000"/>
                <a:gd name="connsiteY74" fmla="*/ 3286 h 10022"/>
                <a:gd name="connsiteX75" fmla="*/ 6405 w 10000"/>
                <a:gd name="connsiteY75" fmla="*/ 3329 h 10022"/>
                <a:gd name="connsiteX76" fmla="*/ 6568 w 10000"/>
                <a:gd name="connsiteY76" fmla="*/ 3359 h 10022"/>
                <a:gd name="connsiteX77" fmla="*/ 6719 w 10000"/>
                <a:gd name="connsiteY77" fmla="*/ 3383 h 10022"/>
                <a:gd name="connsiteX78" fmla="*/ 6788 w 10000"/>
                <a:gd name="connsiteY78" fmla="*/ 3389 h 10022"/>
                <a:gd name="connsiteX79" fmla="*/ 6838 w 10000"/>
                <a:gd name="connsiteY79" fmla="*/ 3395 h 10022"/>
                <a:gd name="connsiteX80" fmla="*/ 6888 w 10000"/>
                <a:gd name="connsiteY80" fmla="*/ 3389 h 10022"/>
                <a:gd name="connsiteX81" fmla="*/ 6913 w 10000"/>
                <a:gd name="connsiteY81" fmla="*/ 3377 h 10022"/>
                <a:gd name="connsiteX82" fmla="*/ 6888 w 10000"/>
                <a:gd name="connsiteY82" fmla="*/ 3335 h 10022"/>
                <a:gd name="connsiteX83" fmla="*/ 6857 w 10000"/>
                <a:gd name="connsiteY83" fmla="*/ 3286 h 10022"/>
                <a:gd name="connsiteX84" fmla="*/ 6838 w 10000"/>
                <a:gd name="connsiteY84" fmla="*/ 3238 h 10022"/>
                <a:gd name="connsiteX85" fmla="*/ 6826 w 10000"/>
                <a:gd name="connsiteY85" fmla="*/ 3184 h 10022"/>
                <a:gd name="connsiteX86" fmla="*/ 6794 w 10000"/>
                <a:gd name="connsiteY86" fmla="*/ 3093 h 10022"/>
                <a:gd name="connsiteX87" fmla="*/ 6788 w 10000"/>
                <a:gd name="connsiteY87" fmla="*/ 3045 h 10022"/>
                <a:gd name="connsiteX88" fmla="*/ 6788 w 10000"/>
                <a:gd name="connsiteY88" fmla="*/ 2858 h 10022"/>
                <a:gd name="connsiteX89" fmla="*/ 6788 w 10000"/>
                <a:gd name="connsiteY89" fmla="*/ 2672 h 10022"/>
                <a:gd name="connsiteX90" fmla="*/ 6995 w 10000"/>
                <a:gd name="connsiteY90" fmla="*/ 2672 h 10022"/>
                <a:gd name="connsiteX91" fmla="*/ 7033 w 10000"/>
                <a:gd name="connsiteY91" fmla="*/ 2738 h 10022"/>
                <a:gd name="connsiteX92" fmla="*/ 7058 w 10000"/>
                <a:gd name="connsiteY92" fmla="*/ 2780 h 10022"/>
                <a:gd name="connsiteX93" fmla="*/ 7095 w 10000"/>
                <a:gd name="connsiteY93" fmla="*/ 2816 h 10022"/>
                <a:gd name="connsiteX94" fmla="*/ 7127 w 10000"/>
                <a:gd name="connsiteY94" fmla="*/ 2858 h 10022"/>
                <a:gd name="connsiteX95" fmla="*/ 7120 w 10000"/>
                <a:gd name="connsiteY95" fmla="*/ 2955 h 10022"/>
                <a:gd name="connsiteX96" fmla="*/ 7102 w 10000"/>
                <a:gd name="connsiteY96" fmla="*/ 3015 h 10022"/>
                <a:gd name="connsiteX97" fmla="*/ 7089 w 10000"/>
                <a:gd name="connsiteY97" fmla="*/ 3063 h 10022"/>
                <a:gd name="connsiteX98" fmla="*/ 7077 w 10000"/>
                <a:gd name="connsiteY98" fmla="*/ 3118 h 10022"/>
                <a:gd name="connsiteX99" fmla="*/ 7208 w 10000"/>
                <a:gd name="connsiteY99" fmla="*/ 3154 h 10022"/>
                <a:gd name="connsiteX100" fmla="*/ 7334 w 10000"/>
                <a:gd name="connsiteY100" fmla="*/ 3190 h 10022"/>
                <a:gd name="connsiteX101" fmla="*/ 7396 w 10000"/>
                <a:gd name="connsiteY101" fmla="*/ 3209 h 10022"/>
                <a:gd name="connsiteX102" fmla="*/ 7459 w 10000"/>
                <a:gd name="connsiteY102" fmla="*/ 3221 h 10022"/>
                <a:gd name="connsiteX103" fmla="*/ 7522 w 10000"/>
                <a:gd name="connsiteY103" fmla="*/ 3227 h 10022"/>
                <a:gd name="connsiteX104" fmla="*/ 7585 w 10000"/>
                <a:gd name="connsiteY104" fmla="*/ 3232 h 10022"/>
                <a:gd name="connsiteX105" fmla="*/ 7591 w 10000"/>
                <a:gd name="connsiteY105" fmla="*/ 3256 h 10022"/>
                <a:gd name="connsiteX106" fmla="*/ 7604 w 10000"/>
                <a:gd name="connsiteY106" fmla="*/ 3280 h 10022"/>
                <a:gd name="connsiteX107" fmla="*/ 7622 w 10000"/>
                <a:gd name="connsiteY107" fmla="*/ 3298 h 10022"/>
                <a:gd name="connsiteX108" fmla="*/ 7654 w 10000"/>
                <a:gd name="connsiteY108" fmla="*/ 3316 h 10022"/>
                <a:gd name="connsiteX109" fmla="*/ 7704 w 10000"/>
                <a:gd name="connsiteY109" fmla="*/ 3335 h 10022"/>
                <a:gd name="connsiteX110" fmla="*/ 7748 w 10000"/>
                <a:gd name="connsiteY110" fmla="*/ 3341 h 10022"/>
                <a:gd name="connsiteX111" fmla="*/ 7798 w 10000"/>
                <a:gd name="connsiteY111" fmla="*/ 3341 h 10022"/>
                <a:gd name="connsiteX112" fmla="*/ 7836 w 10000"/>
                <a:gd name="connsiteY112" fmla="*/ 3329 h 10022"/>
                <a:gd name="connsiteX113" fmla="*/ 7880 w 10000"/>
                <a:gd name="connsiteY113" fmla="*/ 3310 h 10022"/>
                <a:gd name="connsiteX114" fmla="*/ 7911 w 10000"/>
                <a:gd name="connsiteY114" fmla="*/ 3292 h 10022"/>
                <a:gd name="connsiteX115" fmla="*/ 7949 w 10000"/>
                <a:gd name="connsiteY115" fmla="*/ 3268 h 10022"/>
                <a:gd name="connsiteX116" fmla="*/ 7980 w 10000"/>
                <a:gd name="connsiteY116" fmla="*/ 3238 h 10022"/>
                <a:gd name="connsiteX117" fmla="*/ 8011 w 10000"/>
                <a:gd name="connsiteY117" fmla="*/ 3209 h 10022"/>
                <a:gd name="connsiteX118" fmla="*/ 8036 w 10000"/>
                <a:gd name="connsiteY118" fmla="*/ 3178 h 10022"/>
                <a:gd name="connsiteX119" fmla="*/ 8087 w 10000"/>
                <a:gd name="connsiteY119" fmla="*/ 3099 h 10022"/>
                <a:gd name="connsiteX120" fmla="*/ 8118 w 10000"/>
                <a:gd name="connsiteY120" fmla="*/ 3027 h 10022"/>
                <a:gd name="connsiteX121" fmla="*/ 8149 w 10000"/>
                <a:gd name="connsiteY121" fmla="*/ 2961 h 10022"/>
                <a:gd name="connsiteX122" fmla="*/ 8168 w 10000"/>
                <a:gd name="connsiteY122" fmla="*/ 2895 h 10022"/>
                <a:gd name="connsiteX123" fmla="*/ 8231 w 10000"/>
                <a:gd name="connsiteY123" fmla="*/ 2828 h 10022"/>
                <a:gd name="connsiteX124" fmla="*/ 8294 w 10000"/>
                <a:gd name="connsiteY124" fmla="*/ 2762 h 10022"/>
                <a:gd name="connsiteX125" fmla="*/ 8363 w 10000"/>
                <a:gd name="connsiteY125" fmla="*/ 2709 h 10022"/>
                <a:gd name="connsiteX126" fmla="*/ 8432 w 10000"/>
                <a:gd name="connsiteY126" fmla="*/ 2648 h 10022"/>
                <a:gd name="connsiteX127" fmla="*/ 8507 w 10000"/>
                <a:gd name="connsiteY127" fmla="*/ 2600 h 10022"/>
                <a:gd name="connsiteX128" fmla="*/ 8576 w 10000"/>
                <a:gd name="connsiteY128" fmla="*/ 2552 h 10022"/>
                <a:gd name="connsiteX129" fmla="*/ 8651 w 10000"/>
                <a:gd name="connsiteY129" fmla="*/ 2510 h 10022"/>
                <a:gd name="connsiteX130" fmla="*/ 8726 w 10000"/>
                <a:gd name="connsiteY130" fmla="*/ 2466 h 10022"/>
                <a:gd name="connsiteX131" fmla="*/ 8808 w 10000"/>
                <a:gd name="connsiteY131" fmla="*/ 2424 h 10022"/>
                <a:gd name="connsiteX132" fmla="*/ 8890 w 10000"/>
                <a:gd name="connsiteY132" fmla="*/ 2388 h 10022"/>
                <a:gd name="connsiteX133" fmla="*/ 8971 w 10000"/>
                <a:gd name="connsiteY133" fmla="*/ 2358 h 10022"/>
                <a:gd name="connsiteX134" fmla="*/ 9059 w 10000"/>
                <a:gd name="connsiteY134" fmla="*/ 2328 h 10022"/>
                <a:gd name="connsiteX135" fmla="*/ 9235 w 10000"/>
                <a:gd name="connsiteY135" fmla="*/ 2274 h 10022"/>
                <a:gd name="connsiteX136" fmla="*/ 9417 w 10000"/>
                <a:gd name="connsiteY136" fmla="*/ 2231 h 10022"/>
                <a:gd name="connsiteX137" fmla="*/ 9454 w 10000"/>
                <a:gd name="connsiteY137" fmla="*/ 2280 h 10022"/>
                <a:gd name="connsiteX138" fmla="*/ 9504 w 10000"/>
                <a:gd name="connsiteY138" fmla="*/ 2340 h 10022"/>
                <a:gd name="connsiteX139" fmla="*/ 9573 w 10000"/>
                <a:gd name="connsiteY139" fmla="*/ 2406 h 10022"/>
                <a:gd name="connsiteX140" fmla="*/ 9642 w 10000"/>
                <a:gd name="connsiteY140" fmla="*/ 2479 h 10022"/>
                <a:gd name="connsiteX141" fmla="*/ 9718 w 10000"/>
                <a:gd name="connsiteY141" fmla="*/ 2540 h 10022"/>
                <a:gd name="connsiteX142" fmla="*/ 9799 w 10000"/>
                <a:gd name="connsiteY142" fmla="*/ 2588 h 10022"/>
                <a:gd name="connsiteX143" fmla="*/ 9837 w 10000"/>
                <a:gd name="connsiteY143" fmla="*/ 2612 h 10022"/>
                <a:gd name="connsiteX144" fmla="*/ 9875 w 10000"/>
                <a:gd name="connsiteY144" fmla="*/ 2624 h 10022"/>
                <a:gd name="connsiteX145" fmla="*/ 9918 w 10000"/>
                <a:gd name="connsiteY145" fmla="*/ 2636 h 10022"/>
                <a:gd name="connsiteX146" fmla="*/ 9956 w 10000"/>
                <a:gd name="connsiteY146" fmla="*/ 2636 h 10022"/>
                <a:gd name="connsiteX147" fmla="*/ 10000 w 10000"/>
                <a:gd name="connsiteY147" fmla="*/ 2564 h 10022"/>
                <a:gd name="connsiteX148" fmla="*/ 9975 w 10000"/>
                <a:gd name="connsiteY148" fmla="*/ 2691 h 10022"/>
                <a:gd name="connsiteX149" fmla="*/ 9944 w 10000"/>
                <a:gd name="connsiteY149" fmla="*/ 2834 h 10022"/>
                <a:gd name="connsiteX150" fmla="*/ 9931 w 10000"/>
                <a:gd name="connsiteY150" fmla="*/ 2901 h 10022"/>
                <a:gd name="connsiteX151" fmla="*/ 9906 w 10000"/>
                <a:gd name="connsiteY151" fmla="*/ 2961 h 10022"/>
                <a:gd name="connsiteX152" fmla="*/ 9887 w 10000"/>
                <a:gd name="connsiteY152" fmla="*/ 2985 h 10022"/>
                <a:gd name="connsiteX153" fmla="*/ 9875 w 10000"/>
                <a:gd name="connsiteY153" fmla="*/ 3009 h 10022"/>
                <a:gd name="connsiteX154" fmla="*/ 9856 w 10000"/>
                <a:gd name="connsiteY154" fmla="*/ 3027 h 10022"/>
                <a:gd name="connsiteX155" fmla="*/ 9837 w 10000"/>
                <a:gd name="connsiteY155" fmla="*/ 3045 h 10022"/>
                <a:gd name="connsiteX156" fmla="*/ 9749 w 10000"/>
                <a:gd name="connsiteY156" fmla="*/ 3063 h 10022"/>
                <a:gd name="connsiteX157" fmla="*/ 9605 w 10000"/>
                <a:gd name="connsiteY157" fmla="*/ 3112 h 10022"/>
                <a:gd name="connsiteX158" fmla="*/ 9536 w 10000"/>
                <a:gd name="connsiteY158" fmla="*/ 3154 h 10022"/>
                <a:gd name="connsiteX159" fmla="*/ 9479 w 10000"/>
                <a:gd name="connsiteY159" fmla="*/ 3190 h 10022"/>
                <a:gd name="connsiteX160" fmla="*/ 9448 w 10000"/>
                <a:gd name="connsiteY160" fmla="*/ 3209 h 10022"/>
                <a:gd name="connsiteX161" fmla="*/ 9435 w 10000"/>
                <a:gd name="connsiteY161" fmla="*/ 3227 h 10022"/>
                <a:gd name="connsiteX162" fmla="*/ 9423 w 10000"/>
                <a:gd name="connsiteY162" fmla="*/ 3250 h 10022"/>
                <a:gd name="connsiteX163" fmla="*/ 9417 w 10000"/>
                <a:gd name="connsiteY163" fmla="*/ 3268 h 10022"/>
                <a:gd name="connsiteX164" fmla="*/ 9423 w 10000"/>
                <a:gd name="connsiteY164" fmla="*/ 3479 h 10022"/>
                <a:gd name="connsiteX165" fmla="*/ 9417 w 10000"/>
                <a:gd name="connsiteY165" fmla="*/ 3720 h 10022"/>
                <a:gd name="connsiteX166" fmla="*/ 9398 w 10000"/>
                <a:gd name="connsiteY166" fmla="*/ 3780 h 10022"/>
                <a:gd name="connsiteX167" fmla="*/ 9391 w 10000"/>
                <a:gd name="connsiteY167" fmla="*/ 3846 h 10022"/>
                <a:gd name="connsiteX168" fmla="*/ 9379 w 10000"/>
                <a:gd name="connsiteY168" fmla="*/ 3900 h 10022"/>
                <a:gd name="connsiteX169" fmla="*/ 9366 w 10000"/>
                <a:gd name="connsiteY169" fmla="*/ 3955 h 10022"/>
                <a:gd name="connsiteX170" fmla="*/ 9348 w 10000"/>
                <a:gd name="connsiteY170" fmla="*/ 4004 h 10022"/>
                <a:gd name="connsiteX171" fmla="*/ 9316 w 10000"/>
                <a:gd name="connsiteY171" fmla="*/ 4052 h 10022"/>
                <a:gd name="connsiteX172" fmla="*/ 9285 w 10000"/>
                <a:gd name="connsiteY172" fmla="*/ 4088 h 10022"/>
                <a:gd name="connsiteX173" fmla="*/ 9247 w 10000"/>
                <a:gd name="connsiteY173" fmla="*/ 4118 h 10022"/>
                <a:gd name="connsiteX174" fmla="*/ 9228 w 10000"/>
                <a:gd name="connsiteY174" fmla="*/ 4136 h 10022"/>
                <a:gd name="connsiteX175" fmla="*/ 9184 w 10000"/>
                <a:gd name="connsiteY175" fmla="*/ 4142 h 10022"/>
                <a:gd name="connsiteX176" fmla="*/ 9141 w 10000"/>
                <a:gd name="connsiteY176" fmla="*/ 4148 h 10022"/>
                <a:gd name="connsiteX177" fmla="*/ 9090 w 10000"/>
                <a:gd name="connsiteY177" fmla="*/ 4154 h 10022"/>
                <a:gd name="connsiteX178" fmla="*/ 9040 w 10000"/>
                <a:gd name="connsiteY178" fmla="*/ 4160 h 10022"/>
                <a:gd name="connsiteX179" fmla="*/ 8996 w 10000"/>
                <a:gd name="connsiteY179" fmla="*/ 4179 h 10022"/>
                <a:gd name="connsiteX180" fmla="*/ 8977 w 10000"/>
                <a:gd name="connsiteY180" fmla="*/ 4185 h 10022"/>
                <a:gd name="connsiteX181" fmla="*/ 8965 w 10000"/>
                <a:gd name="connsiteY181" fmla="*/ 4203 h 10022"/>
                <a:gd name="connsiteX182" fmla="*/ 8959 w 10000"/>
                <a:gd name="connsiteY182" fmla="*/ 4215 h 10022"/>
                <a:gd name="connsiteX183" fmla="*/ 8959 w 10000"/>
                <a:gd name="connsiteY183" fmla="*/ 4233 h 10022"/>
                <a:gd name="connsiteX184" fmla="*/ 8952 w 10000"/>
                <a:gd name="connsiteY184" fmla="*/ 4304 h 10022"/>
                <a:gd name="connsiteX185" fmla="*/ 8952 w 10000"/>
                <a:gd name="connsiteY185" fmla="*/ 4389 h 10022"/>
                <a:gd name="connsiteX186" fmla="*/ 8940 w 10000"/>
                <a:gd name="connsiteY186" fmla="*/ 4479 h 10022"/>
                <a:gd name="connsiteX187" fmla="*/ 8927 w 10000"/>
                <a:gd name="connsiteY187" fmla="*/ 4563 h 10022"/>
                <a:gd name="connsiteX188" fmla="*/ 8908 w 10000"/>
                <a:gd name="connsiteY188" fmla="*/ 4649 h 10022"/>
                <a:gd name="connsiteX189" fmla="*/ 8890 w 10000"/>
                <a:gd name="connsiteY189" fmla="*/ 4727 h 10022"/>
                <a:gd name="connsiteX190" fmla="*/ 8864 w 10000"/>
                <a:gd name="connsiteY190" fmla="*/ 4798 h 10022"/>
                <a:gd name="connsiteX191" fmla="*/ 8833 w 10000"/>
                <a:gd name="connsiteY191" fmla="*/ 4865 h 10022"/>
                <a:gd name="connsiteX192" fmla="*/ 8538 w 10000"/>
                <a:gd name="connsiteY192" fmla="*/ 4376 h 10022"/>
                <a:gd name="connsiteX193" fmla="*/ 8526 w 10000"/>
                <a:gd name="connsiteY193" fmla="*/ 4401 h 10022"/>
                <a:gd name="connsiteX194" fmla="*/ 8494 w 10000"/>
                <a:gd name="connsiteY194" fmla="*/ 4455 h 10022"/>
                <a:gd name="connsiteX195" fmla="*/ 8463 w 10000"/>
                <a:gd name="connsiteY195" fmla="*/ 4485 h 10022"/>
                <a:gd name="connsiteX196" fmla="*/ 8438 w 10000"/>
                <a:gd name="connsiteY196" fmla="*/ 4509 h 10022"/>
                <a:gd name="connsiteX197" fmla="*/ 8407 w 10000"/>
                <a:gd name="connsiteY197" fmla="*/ 4527 h 10022"/>
                <a:gd name="connsiteX198" fmla="*/ 8375 w 10000"/>
                <a:gd name="connsiteY198" fmla="*/ 4533 h 10022"/>
                <a:gd name="connsiteX199" fmla="*/ 8338 w 10000"/>
                <a:gd name="connsiteY199" fmla="*/ 4527 h 10022"/>
                <a:gd name="connsiteX200" fmla="*/ 8312 w 10000"/>
                <a:gd name="connsiteY200" fmla="*/ 4521 h 10022"/>
                <a:gd name="connsiteX201" fmla="*/ 8287 w 10000"/>
                <a:gd name="connsiteY201" fmla="*/ 4503 h 10022"/>
                <a:gd name="connsiteX202" fmla="*/ 8256 w 10000"/>
                <a:gd name="connsiteY202" fmla="*/ 4485 h 10022"/>
                <a:gd name="connsiteX203" fmla="*/ 8237 w 10000"/>
                <a:gd name="connsiteY203" fmla="*/ 4455 h 10022"/>
                <a:gd name="connsiteX204" fmla="*/ 8225 w 10000"/>
                <a:gd name="connsiteY204" fmla="*/ 4431 h 10022"/>
                <a:gd name="connsiteX205" fmla="*/ 8206 w 10000"/>
                <a:gd name="connsiteY205" fmla="*/ 4407 h 10022"/>
                <a:gd name="connsiteX206" fmla="*/ 8206 w 10000"/>
                <a:gd name="connsiteY206" fmla="*/ 4376 h 10022"/>
                <a:gd name="connsiteX207" fmla="*/ 8206 w 10000"/>
                <a:gd name="connsiteY207" fmla="*/ 4340 h 10022"/>
                <a:gd name="connsiteX208" fmla="*/ 8225 w 10000"/>
                <a:gd name="connsiteY208" fmla="*/ 4304 h 10022"/>
                <a:gd name="connsiteX209" fmla="*/ 8237 w 10000"/>
                <a:gd name="connsiteY209" fmla="*/ 4268 h 10022"/>
                <a:gd name="connsiteX210" fmla="*/ 8250 w 10000"/>
                <a:gd name="connsiteY210" fmla="*/ 4233 h 10022"/>
                <a:gd name="connsiteX211" fmla="*/ 8300 w 10000"/>
                <a:gd name="connsiteY211" fmla="*/ 4166 h 10022"/>
                <a:gd name="connsiteX212" fmla="*/ 8356 w 10000"/>
                <a:gd name="connsiteY212" fmla="*/ 4100 h 10022"/>
                <a:gd name="connsiteX213" fmla="*/ 8407 w 10000"/>
                <a:gd name="connsiteY213" fmla="*/ 4040 h 10022"/>
                <a:gd name="connsiteX214" fmla="*/ 8457 w 10000"/>
                <a:gd name="connsiteY214" fmla="*/ 3974 h 10022"/>
                <a:gd name="connsiteX215" fmla="*/ 8469 w 10000"/>
                <a:gd name="connsiteY215" fmla="*/ 3937 h 10022"/>
                <a:gd name="connsiteX216" fmla="*/ 8482 w 10000"/>
                <a:gd name="connsiteY216" fmla="*/ 3906 h 10022"/>
                <a:gd name="connsiteX217" fmla="*/ 8501 w 10000"/>
                <a:gd name="connsiteY217" fmla="*/ 3864 h 10022"/>
                <a:gd name="connsiteX218" fmla="*/ 8501 w 10000"/>
                <a:gd name="connsiteY218" fmla="*/ 3828 h 10022"/>
                <a:gd name="connsiteX219" fmla="*/ 7748 w 10000"/>
                <a:gd name="connsiteY219" fmla="*/ 3828 h 10022"/>
                <a:gd name="connsiteX220" fmla="*/ 7723 w 10000"/>
                <a:gd name="connsiteY220" fmla="*/ 3822 h 10022"/>
                <a:gd name="connsiteX221" fmla="*/ 7685 w 10000"/>
                <a:gd name="connsiteY221" fmla="*/ 3804 h 10022"/>
                <a:gd name="connsiteX222" fmla="*/ 7660 w 10000"/>
                <a:gd name="connsiteY222" fmla="*/ 3768 h 10022"/>
                <a:gd name="connsiteX223" fmla="*/ 7635 w 10000"/>
                <a:gd name="connsiteY223" fmla="*/ 3732 h 10022"/>
                <a:gd name="connsiteX224" fmla="*/ 7616 w 10000"/>
                <a:gd name="connsiteY224" fmla="*/ 3684 h 10022"/>
                <a:gd name="connsiteX225" fmla="*/ 7597 w 10000"/>
                <a:gd name="connsiteY225" fmla="*/ 3636 h 10022"/>
                <a:gd name="connsiteX226" fmla="*/ 7591 w 10000"/>
                <a:gd name="connsiteY226" fmla="*/ 3582 h 10022"/>
                <a:gd name="connsiteX227" fmla="*/ 7585 w 10000"/>
                <a:gd name="connsiteY227" fmla="*/ 3527 h 10022"/>
                <a:gd name="connsiteX228" fmla="*/ 7547 w 10000"/>
                <a:gd name="connsiteY228" fmla="*/ 3527 h 10022"/>
                <a:gd name="connsiteX229" fmla="*/ 7516 w 10000"/>
                <a:gd name="connsiteY229" fmla="*/ 3521 h 10022"/>
                <a:gd name="connsiteX230" fmla="*/ 7478 w 10000"/>
                <a:gd name="connsiteY230" fmla="*/ 3515 h 10022"/>
                <a:gd name="connsiteX231" fmla="*/ 7447 w 10000"/>
                <a:gd name="connsiteY231" fmla="*/ 3503 h 10022"/>
                <a:gd name="connsiteX232" fmla="*/ 7415 w 10000"/>
                <a:gd name="connsiteY232" fmla="*/ 3485 h 10022"/>
                <a:gd name="connsiteX233" fmla="*/ 7396 w 10000"/>
                <a:gd name="connsiteY233" fmla="*/ 3467 h 10022"/>
                <a:gd name="connsiteX234" fmla="*/ 7384 w 10000"/>
                <a:gd name="connsiteY234" fmla="*/ 3437 h 10022"/>
                <a:gd name="connsiteX235" fmla="*/ 7378 w 10000"/>
                <a:gd name="connsiteY235" fmla="*/ 3413 h 10022"/>
                <a:gd name="connsiteX236" fmla="*/ 7321 w 10000"/>
                <a:gd name="connsiteY236" fmla="*/ 3413 h 10022"/>
                <a:gd name="connsiteX237" fmla="*/ 7271 w 10000"/>
                <a:gd name="connsiteY237" fmla="*/ 3413 h 10022"/>
                <a:gd name="connsiteX238" fmla="*/ 7221 w 10000"/>
                <a:gd name="connsiteY238" fmla="*/ 3413 h 10022"/>
                <a:gd name="connsiteX239" fmla="*/ 7171 w 10000"/>
                <a:gd name="connsiteY239" fmla="*/ 3413 h 10022"/>
                <a:gd name="connsiteX240" fmla="*/ 7127 w 10000"/>
                <a:gd name="connsiteY240" fmla="*/ 3419 h 10022"/>
                <a:gd name="connsiteX241" fmla="*/ 7095 w 10000"/>
                <a:gd name="connsiteY241" fmla="*/ 3425 h 10022"/>
                <a:gd name="connsiteX242" fmla="*/ 7051 w 10000"/>
                <a:gd name="connsiteY242" fmla="*/ 3443 h 10022"/>
                <a:gd name="connsiteX243" fmla="*/ 7008 w 10000"/>
                <a:gd name="connsiteY243" fmla="*/ 3467 h 10022"/>
                <a:gd name="connsiteX244" fmla="*/ 6976 w 10000"/>
                <a:gd name="connsiteY244" fmla="*/ 3497 h 10022"/>
                <a:gd name="connsiteX245" fmla="*/ 6939 w 10000"/>
                <a:gd name="connsiteY245" fmla="*/ 3527 h 10022"/>
                <a:gd name="connsiteX246" fmla="*/ 6920 w 10000"/>
                <a:gd name="connsiteY246" fmla="*/ 3564 h 10022"/>
                <a:gd name="connsiteX247" fmla="*/ 6913 w 10000"/>
                <a:gd name="connsiteY247" fmla="*/ 3600 h 10022"/>
                <a:gd name="connsiteX248" fmla="*/ 6926 w 10000"/>
                <a:gd name="connsiteY248" fmla="*/ 3624 h 10022"/>
                <a:gd name="connsiteX249" fmla="*/ 6964 w 10000"/>
                <a:gd name="connsiteY249" fmla="*/ 3654 h 10022"/>
                <a:gd name="connsiteX250" fmla="*/ 7008 w 10000"/>
                <a:gd name="connsiteY250" fmla="*/ 3690 h 10022"/>
                <a:gd name="connsiteX251" fmla="*/ 7070 w 10000"/>
                <a:gd name="connsiteY251" fmla="*/ 3726 h 10022"/>
                <a:gd name="connsiteX252" fmla="*/ 7133 w 10000"/>
                <a:gd name="connsiteY252" fmla="*/ 3762 h 10022"/>
                <a:gd name="connsiteX253" fmla="*/ 7196 w 10000"/>
                <a:gd name="connsiteY253" fmla="*/ 3792 h 10022"/>
                <a:gd name="connsiteX254" fmla="*/ 7252 w 10000"/>
                <a:gd name="connsiteY254" fmla="*/ 3816 h 10022"/>
                <a:gd name="connsiteX255" fmla="*/ 7290 w 10000"/>
                <a:gd name="connsiteY255" fmla="*/ 3828 h 10022"/>
                <a:gd name="connsiteX256" fmla="*/ 7208 w 10000"/>
                <a:gd name="connsiteY256" fmla="*/ 3888 h 10022"/>
                <a:gd name="connsiteX257" fmla="*/ 7114 w 10000"/>
                <a:gd name="connsiteY257" fmla="*/ 3962 h 10022"/>
                <a:gd name="connsiteX258" fmla="*/ 7070 w 10000"/>
                <a:gd name="connsiteY258" fmla="*/ 3998 h 10022"/>
                <a:gd name="connsiteX259" fmla="*/ 7033 w 10000"/>
                <a:gd name="connsiteY259" fmla="*/ 4040 h 10022"/>
                <a:gd name="connsiteX260" fmla="*/ 7020 w 10000"/>
                <a:gd name="connsiteY260" fmla="*/ 4058 h 10022"/>
                <a:gd name="connsiteX261" fmla="*/ 7008 w 10000"/>
                <a:gd name="connsiteY261" fmla="*/ 4076 h 10022"/>
                <a:gd name="connsiteX262" fmla="*/ 7001 w 10000"/>
                <a:gd name="connsiteY262" fmla="*/ 4100 h 10022"/>
                <a:gd name="connsiteX263" fmla="*/ 6995 w 10000"/>
                <a:gd name="connsiteY263" fmla="*/ 4118 h 10022"/>
                <a:gd name="connsiteX264" fmla="*/ 7001 w 10000"/>
                <a:gd name="connsiteY264" fmla="*/ 4148 h 10022"/>
                <a:gd name="connsiteX265" fmla="*/ 7008 w 10000"/>
                <a:gd name="connsiteY265" fmla="*/ 4166 h 10022"/>
                <a:gd name="connsiteX266" fmla="*/ 7026 w 10000"/>
                <a:gd name="connsiteY266" fmla="*/ 4191 h 10022"/>
                <a:gd name="connsiteX267" fmla="*/ 7039 w 10000"/>
                <a:gd name="connsiteY267" fmla="*/ 4215 h 10022"/>
                <a:gd name="connsiteX268" fmla="*/ 7089 w 10000"/>
                <a:gd name="connsiteY268" fmla="*/ 4262 h 10022"/>
                <a:gd name="connsiteX269" fmla="*/ 7146 w 10000"/>
                <a:gd name="connsiteY269" fmla="*/ 4310 h 10022"/>
                <a:gd name="connsiteX270" fmla="*/ 7208 w 10000"/>
                <a:gd name="connsiteY270" fmla="*/ 4352 h 10022"/>
                <a:gd name="connsiteX271" fmla="*/ 7277 w 10000"/>
                <a:gd name="connsiteY271" fmla="*/ 4389 h 10022"/>
                <a:gd name="connsiteX272" fmla="*/ 7315 w 10000"/>
                <a:gd name="connsiteY272" fmla="*/ 4401 h 10022"/>
                <a:gd name="connsiteX273" fmla="*/ 7346 w 10000"/>
                <a:gd name="connsiteY273" fmla="*/ 4407 h 10022"/>
                <a:gd name="connsiteX274" fmla="*/ 7384 w 10000"/>
                <a:gd name="connsiteY274" fmla="*/ 4413 h 10022"/>
                <a:gd name="connsiteX275" fmla="*/ 7415 w 10000"/>
                <a:gd name="connsiteY275" fmla="*/ 4419 h 10022"/>
                <a:gd name="connsiteX276" fmla="*/ 7585 w 10000"/>
                <a:gd name="connsiteY276" fmla="*/ 5046 h 10022"/>
                <a:gd name="connsiteX277" fmla="*/ 7491 w 10000"/>
                <a:gd name="connsiteY277" fmla="*/ 5046 h 10022"/>
                <a:gd name="connsiteX278" fmla="*/ 7403 w 10000"/>
                <a:gd name="connsiteY278" fmla="*/ 5046 h 10022"/>
                <a:gd name="connsiteX279" fmla="*/ 7321 w 10000"/>
                <a:gd name="connsiteY279" fmla="*/ 5046 h 10022"/>
                <a:gd name="connsiteX280" fmla="*/ 7252 w 10000"/>
                <a:gd name="connsiteY280" fmla="*/ 5046 h 10022"/>
                <a:gd name="connsiteX281" fmla="*/ 7208 w 10000"/>
                <a:gd name="connsiteY281" fmla="*/ 5040 h 10022"/>
                <a:gd name="connsiteX282" fmla="*/ 7164 w 10000"/>
                <a:gd name="connsiteY282" fmla="*/ 5009 h 10022"/>
                <a:gd name="connsiteX283" fmla="*/ 7133 w 10000"/>
                <a:gd name="connsiteY283" fmla="*/ 4997 h 10022"/>
                <a:gd name="connsiteX284" fmla="*/ 7102 w 10000"/>
                <a:gd name="connsiteY284" fmla="*/ 4985 h 10022"/>
                <a:gd name="connsiteX285" fmla="*/ 7070 w 10000"/>
                <a:gd name="connsiteY285" fmla="*/ 4979 h 10022"/>
                <a:gd name="connsiteX286" fmla="*/ 7039 w 10000"/>
                <a:gd name="connsiteY286" fmla="*/ 4973 h 10022"/>
                <a:gd name="connsiteX287" fmla="*/ 7008 w 10000"/>
                <a:gd name="connsiteY287" fmla="*/ 4985 h 10022"/>
                <a:gd name="connsiteX288" fmla="*/ 6957 w 10000"/>
                <a:gd name="connsiteY288" fmla="*/ 5015 h 10022"/>
                <a:gd name="connsiteX289" fmla="*/ 6895 w 10000"/>
                <a:gd name="connsiteY289" fmla="*/ 5058 h 10022"/>
                <a:gd name="connsiteX290" fmla="*/ 6819 w 10000"/>
                <a:gd name="connsiteY290" fmla="*/ 5106 h 10022"/>
                <a:gd name="connsiteX291" fmla="*/ 6744 w 10000"/>
                <a:gd name="connsiteY291" fmla="*/ 5166 h 10022"/>
                <a:gd name="connsiteX292" fmla="*/ 6681 w 10000"/>
                <a:gd name="connsiteY292" fmla="*/ 5214 h 10022"/>
                <a:gd name="connsiteX293" fmla="*/ 6637 w 10000"/>
                <a:gd name="connsiteY293" fmla="*/ 5250 h 10022"/>
                <a:gd name="connsiteX294" fmla="*/ 6625 w 10000"/>
                <a:gd name="connsiteY294" fmla="*/ 5274 h 10022"/>
                <a:gd name="connsiteX295" fmla="*/ 6750 w 10000"/>
                <a:gd name="connsiteY295" fmla="*/ 5346 h 10022"/>
                <a:gd name="connsiteX296" fmla="*/ 6744 w 10000"/>
                <a:gd name="connsiteY296" fmla="*/ 5383 h 10022"/>
                <a:gd name="connsiteX297" fmla="*/ 6725 w 10000"/>
                <a:gd name="connsiteY297" fmla="*/ 5425 h 10022"/>
                <a:gd name="connsiteX298" fmla="*/ 6706 w 10000"/>
                <a:gd name="connsiteY298" fmla="*/ 5456 h 10022"/>
                <a:gd name="connsiteX299" fmla="*/ 6688 w 10000"/>
                <a:gd name="connsiteY299" fmla="*/ 5498 h 10022"/>
                <a:gd name="connsiteX300" fmla="*/ 6637 w 10000"/>
                <a:gd name="connsiteY300" fmla="*/ 5552 h 10022"/>
                <a:gd name="connsiteX301" fmla="*/ 6581 w 10000"/>
                <a:gd name="connsiteY301" fmla="*/ 5606 h 10022"/>
                <a:gd name="connsiteX302" fmla="*/ 6518 w 10000"/>
                <a:gd name="connsiteY302" fmla="*/ 5654 h 10022"/>
                <a:gd name="connsiteX303" fmla="*/ 6443 w 10000"/>
                <a:gd name="connsiteY303" fmla="*/ 5697 h 10022"/>
                <a:gd name="connsiteX304" fmla="*/ 6374 w 10000"/>
                <a:gd name="connsiteY304" fmla="*/ 5733 h 10022"/>
                <a:gd name="connsiteX305" fmla="*/ 6299 w 10000"/>
                <a:gd name="connsiteY305" fmla="*/ 5768 h 10022"/>
                <a:gd name="connsiteX306" fmla="*/ 6223 w 10000"/>
                <a:gd name="connsiteY306" fmla="*/ 5816 h 10022"/>
                <a:gd name="connsiteX307" fmla="*/ 6154 w 10000"/>
                <a:gd name="connsiteY307" fmla="*/ 5852 h 10022"/>
                <a:gd name="connsiteX308" fmla="*/ 6092 w 10000"/>
                <a:gd name="connsiteY308" fmla="*/ 5895 h 10022"/>
                <a:gd name="connsiteX309" fmla="*/ 6035 w 10000"/>
                <a:gd name="connsiteY309" fmla="*/ 5943 h 10022"/>
                <a:gd name="connsiteX310" fmla="*/ 6004 w 10000"/>
                <a:gd name="connsiteY310" fmla="*/ 5967 h 10022"/>
                <a:gd name="connsiteX311" fmla="*/ 5985 w 10000"/>
                <a:gd name="connsiteY311" fmla="*/ 5991 h 10022"/>
                <a:gd name="connsiteX312" fmla="*/ 5966 w 10000"/>
                <a:gd name="connsiteY312" fmla="*/ 6021 h 10022"/>
                <a:gd name="connsiteX313" fmla="*/ 5947 w 10000"/>
                <a:gd name="connsiteY313" fmla="*/ 6051 h 10022"/>
                <a:gd name="connsiteX314" fmla="*/ 5935 w 10000"/>
                <a:gd name="connsiteY314" fmla="*/ 6089 h 10022"/>
                <a:gd name="connsiteX315" fmla="*/ 5922 w 10000"/>
                <a:gd name="connsiteY315" fmla="*/ 6119 h 10022"/>
                <a:gd name="connsiteX316" fmla="*/ 5916 w 10000"/>
                <a:gd name="connsiteY316" fmla="*/ 6161 h 10022"/>
                <a:gd name="connsiteX317" fmla="*/ 5916 w 10000"/>
                <a:gd name="connsiteY317" fmla="*/ 6203 h 10022"/>
                <a:gd name="connsiteX318" fmla="*/ 5859 w 10000"/>
                <a:gd name="connsiteY318" fmla="*/ 6221 h 10022"/>
                <a:gd name="connsiteX319" fmla="*/ 5809 w 10000"/>
                <a:gd name="connsiteY319" fmla="*/ 6239 h 10022"/>
                <a:gd name="connsiteX320" fmla="*/ 5765 w 10000"/>
                <a:gd name="connsiteY320" fmla="*/ 6262 h 10022"/>
                <a:gd name="connsiteX321" fmla="*/ 5721 w 10000"/>
                <a:gd name="connsiteY321" fmla="*/ 6286 h 10022"/>
                <a:gd name="connsiteX322" fmla="*/ 5634 w 10000"/>
                <a:gd name="connsiteY322" fmla="*/ 6347 h 10022"/>
                <a:gd name="connsiteX323" fmla="*/ 5558 w 10000"/>
                <a:gd name="connsiteY323" fmla="*/ 6419 h 10022"/>
                <a:gd name="connsiteX324" fmla="*/ 5420 w 10000"/>
                <a:gd name="connsiteY324" fmla="*/ 6582 h 10022"/>
                <a:gd name="connsiteX325" fmla="*/ 5289 w 10000"/>
                <a:gd name="connsiteY325" fmla="*/ 6756 h 10022"/>
                <a:gd name="connsiteX326" fmla="*/ 5220 w 10000"/>
                <a:gd name="connsiteY326" fmla="*/ 6847 h 10022"/>
                <a:gd name="connsiteX327" fmla="*/ 5151 w 10000"/>
                <a:gd name="connsiteY327" fmla="*/ 6925 h 10022"/>
                <a:gd name="connsiteX328" fmla="*/ 5075 w 10000"/>
                <a:gd name="connsiteY328" fmla="*/ 6998 h 10022"/>
                <a:gd name="connsiteX329" fmla="*/ 4994 w 10000"/>
                <a:gd name="connsiteY329" fmla="*/ 7064 h 10022"/>
                <a:gd name="connsiteX330" fmla="*/ 4944 w 10000"/>
                <a:gd name="connsiteY330" fmla="*/ 7094 h 10022"/>
                <a:gd name="connsiteX331" fmla="*/ 4893 w 10000"/>
                <a:gd name="connsiteY331" fmla="*/ 7118 h 10022"/>
                <a:gd name="connsiteX332" fmla="*/ 4849 w 10000"/>
                <a:gd name="connsiteY332" fmla="*/ 7142 h 10022"/>
                <a:gd name="connsiteX333" fmla="*/ 4793 w 10000"/>
                <a:gd name="connsiteY333" fmla="*/ 7167 h 10022"/>
                <a:gd name="connsiteX334" fmla="*/ 4730 w 10000"/>
                <a:gd name="connsiteY334" fmla="*/ 7185 h 10022"/>
                <a:gd name="connsiteX335" fmla="*/ 4674 w 10000"/>
                <a:gd name="connsiteY335" fmla="*/ 7197 h 10022"/>
                <a:gd name="connsiteX336" fmla="*/ 4605 w 10000"/>
                <a:gd name="connsiteY336" fmla="*/ 7203 h 10022"/>
                <a:gd name="connsiteX337" fmla="*/ 4536 w 10000"/>
                <a:gd name="connsiteY337" fmla="*/ 7203 h 10022"/>
                <a:gd name="connsiteX338" fmla="*/ 4536 w 10000"/>
                <a:gd name="connsiteY338" fmla="*/ 7256 h 10022"/>
                <a:gd name="connsiteX339" fmla="*/ 4536 w 10000"/>
                <a:gd name="connsiteY339" fmla="*/ 7310 h 10022"/>
                <a:gd name="connsiteX340" fmla="*/ 4536 w 10000"/>
                <a:gd name="connsiteY340" fmla="*/ 7352 h 10022"/>
                <a:gd name="connsiteX341" fmla="*/ 4536 w 10000"/>
                <a:gd name="connsiteY341" fmla="*/ 7389 h 10022"/>
                <a:gd name="connsiteX342" fmla="*/ 4536 w 10000"/>
                <a:gd name="connsiteY342" fmla="*/ 7455 h 10022"/>
                <a:gd name="connsiteX343" fmla="*/ 4536 w 10000"/>
                <a:gd name="connsiteY343" fmla="*/ 7558 h 10022"/>
                <a:gd name="connsiteX344" fmla="*/ 4536 w 10000"/>
                <a:gd name="connsiteY344" fmla="*/ 7667 h 10022"/>
                <a:gd name="connsiteX345" fmla="*/ 4548 w 10000"/>
                <a:gd name="connsiteY345" fmla="*/ 7780 h 10022"/>
                <a:gd name="connsiteX346" fmla="*/ 4561 w 10000"/>
                <a:gd name="connsiteY346" fmla="*/ 7841 h 10022"/>
                <a:gd name="connsiteX347" fmla="*/ 4573 w 10000"/>
                <a:gd name="connsiteY347" fmla="*/ 7895 h 10022"/>
                <a:gd name="connsiteX348" fmla="*/ 4586 w 10000"/>
                <a:gd name="connsiteY348" fmla="*/ 7943 h 10022"/>
                <a:gd name="connsiteX349" fmla="*/ 4611 w 10000"/>
                <a:gd name="connsiteY349" fmla="*/ 7985 h 10022"/>
                <a:gd name="connsiteX350" fmla="*/ 4636 w 10000"/>
                <a:gd name="connsiteY350" fmla="*/ 8028 h 10022"/>
                <a:gd name="connsiteX351" fmla="*/ 4668 w 10000"/>
                <a:gd name="connsiteY351" fmla="*/ 8058 h 10022"/>
                <a:gd name="connsiteX352" fmla="*/ 4705 w 10000"/>
                <a:gd name="connsiteY352" fmla="*/ 8082 h 10022"/>
                <a:gd name="connsiteX353" fmla="*/ 4749 w 10000"/>
                <a:gd name="connsiteY353" fmla="*/ 8094 h 10022"/>
                <a:gd name="connsiteX354" fmla="*/ 4711 w 10000"/>
                <a:gd name="connsiteY354" fmla="*/ 8190 h 10022"/>
                <a:gd name="connsiteX355" fmla="*/ 4668 w 10000"/>
                <a:gd name="connsiteY355" fmla="*/ 8275 h 10022"/>
                <a:gd name="connsiteX356" fmla="*/ 4617 w 10000"/>
                <a:gd name="connsiteY356" fmla="*/ 8353 h 10022"/>
                <a:gd name="connsiteX357" fmla="*/ 4573 w 10000"/>
                <a:gd name="connsiteY357" fmla="*/ 8425 h 10022"/>
                <a:gd name="connsiteX358" fmla="*/ 4523 w 10000"/>
                <a:gd name="connsiteY358" fmla="*/ 8510 h 10022"/>
                <a:gd name="connsiteX359" fmla="*/ 4492 w 10000"/>
                <a:gd name="connsiteY359" fmla="*/ 8588 h 10022"/>
                <a:gd name="connsiteX360" fmla="*/ 4473 w 10000"/>
                <a:gd name="connsiteY360" fmla="*/ 8624 h 10022"/>
                <a:gd name="connsiteX361" fmla="*/ 4467 w 10000"/>
                <a:gd name="connsiteY361" fmla="*/ 8667 h 10022"/>
                <a:gd name="connsiteX362" fmla="*/ 4460 w 10000"/>
                <a:gd name="connsiteY362" fmla="*/ 8715 h 10022"/>
                <a:gd name="connsiteX363" fmla="*/ 4454 w 10000"/>
                <a:gd name="connsiteY363" fmla="*/ 8757 h 10022"/>
                <a:gd name="connsiteX364" fmla="*/ 4460 w 10000"/>
                <a:gd name="connsiteY364" fmla="*/ 8774 h 10022"/>
                <a:gd name="connsiteX365" fmla="*/ 4467 w 10000"/>
                <a:gd name="connsiteY365" fmla="*/ 8786 h 10022"/>
                <a:gd name="connsiteX366" fmla="*/ 4479 w 10000"/>
                <a:gd name="connsiteY366" fmla="*/ 8798 h 10022"/>
                <a:gd name="connsiteX367" fmla="*/ 4504 w 10000"/>
                <a:gd name="connsiteY367" fmla="*/ 8810 h 10022"/>
                <a:gd name="connsiteX368" fmla="*/ 4542 w 10000"/>
                <a:gd name="connsiteY368" fmla="*/ 8834 h 10022"/>
                <a:gd name="connsiteX369" fmla="*/ 4580 w 10000"/>
                <a:gd name="connsiteY369" fmla="*/ 8840 h 10022"/>
                <a:gd name="connsiteX370" fmla="*/ 4580 w 10000"/>
                <a:gd name="connsiteY370" fmla="*/ 9058 h 10022"/>
                <a:gd name="connsiteX371" fmla="*/ 4529 w 10000"/>
                <a:gd name="connsiteY371" fmla="*/ 9143 h 10022"/>
                <a:gd name="connsiteX372" fmla="*/ 4492 w 10000"/>
                <a:gd name="connsiteY372" fmla="*/ 9233 h 10022"/>
                <a:gd name="connsiteX373" fmla="*/ 4460 w 10000"/>
                <a:gd name="connsiteY373" fmla="*/ 9268 h 10022"/>
                <a:gd name="connsiteX374" fmla="*/ 4429 w 10000"/>
                <a:gd name="connsiteY374" fmla="*/ 9293 h 10022"/>
                <a:gd name="connsiteX375" fmla="*/ 4404 w 10000"/>
                <a:gd name="connsiteY375" fmla="*/ 9305 h 10022"/>
                <a:gd name="connsiteX376" fmla="*/ 4385 w 10000"/>
                <a:gd name="connsiteY376" fmla="*/ 9311 h 10022"/>
                <a:gd name="connsiteX377" fmla="*/ 4360 w 10000"/>
                <a:gd name="connsiteY377" fmla="*/ 9317 h 10022"/>
                <a:gd name="connsiteX378" fmla="*/ 4329 w 10000"/>
                <a:gd name="connsiteY378" fmla="*/ 9317 h 10022"/>
                <a:gd name="connsiteX379" fmla="*/ 4329 w 10000"/>
                <a:gd name="connsiteY379" fmla="*/ 9365 h 10022"/>
                <a:gd name="connsiteX380" fmla="*/ 4335 w 10000"/>
                <a:gd name="connsiteY380" fmla="*/ 9425 h 10022"/>
                <a:gd name="connsiteX381" fmla="*/ 4348 w 10000"/>
                <a:gd name="connsiteY381" fmla="*/ 9455 h 10022"/>
                <a:gd name="connsiteX382" fmla="*/ 4354 w 10000"/>
                <a:gd name="connsiteY382" fmla="*/ 9479 h 10022"/>
                <a:gd name="connsiteX383" fmla="*/ 4360 w 10000"/>
                <a:gd name="connsiteY383" fmla="*/ 9498 h 10022"/>
                <a:gd name="connsiteX384" fmla="*/ 4373 w 10000"/>
                <a:gd name="connsiteY384" fmla="*/ 9504 h 10022"/>
                <a:gd name="connsiteX385" fmla="*/ 4210 w 10000"/>
                <a:gd name="connsiteY385" fmla="*/ 9630 h 10022"/>
                <a:gd name="connsiteX386" fmla="*/ 4072 w 10000"/>
                <a:gd name="connsiteY386" fmla="*/ 9734 h 10022"/>
                <a:gd name="connsiteX387" fmla="*/ 4009 w 10000"/>
                <a:gd name="connsiteY387" fmla="*/ 9793 h 10022"/>
                <a:gd name="connsiteX388" fmla="*/ 3952 w 10000"/>
                <a:gd name="connsiteY388" fmla="*/ 9859 h 10022"/>
                <a:gd name="connsiteX389" fmla="*/ 3890 w 10000"/>
                <a:gd name="connsiteY389" fmla="*/ 9938 h 10022"/>
                <a:gd name="connsiteX390" fmla="*/ 3833 w 10000"/>
                <a:gd name="connsiteY390" fmla="*/ 10022 h 10022"/>
                <a:gd name="connsiteX391" fmla="*/ 3733 w 10000"/>
                <a:gd name="connsiteY391" fmla="*/ 9980 h 10022"/>
                <a:gd name="connsiteX392" fmla="*/ 3664 w 10000"/>
                <a:gd name="connsiteY392" fmla="*/ 9938 h 10022"/>
                <a:gd name="connsiteX393" fmla="*/ 3607 w 10000"/>
                <a:gd name="connsiteY393" fmla="*/ 9895 h 10022"/>
                <a:gd name="connsiteX394" fmla="*/ 3563 w 10000"/>
                <a:gd name="connsiteY394" fmla="*/ 9847 h 10022"/>
                <a:gd name="connsiteX395" fmla="*/ 3532 w 10000"/>
                <a:gd name="connsiteY395" fmla="*/ 9787 h 10022"/>
                <a:gd name="connsiteX396" fmla="*/ 3513 w 10000"/>
                <a:gd name="connsiteY396" fmla="*/ 9728 h 10022"/>
                <a:gd name="connsiteX397" fmla="*/ 3482 w 10000"/>
                <a:gd name="connsiteY397" fmla="*/ 9654 h 10022"/>
                <a:gd name="connsiteX398" fmla="*/ 3457 w 10000"/>
                <a:gd name="connsiteY398" fmla="*/ 9582 h 10022"/>
                <a:gd name="connsiteX399" fmla="*/ 3400 w 10000"/>
                <a:gd name="connsiteY399" fmla="*/ 9443 h 10022"/>
                <a:gd name="connsiteX400" fmla="*/ 3325 w 10000"/>
                <a:gd name="connsiteY400" fmla="*/ 9311 h 10022"/>
                <a:gd name="connsiteX401" fmla="*/ 3237 w 10000"/>
                <a:gd name="connsiteY401" fmla="*/ 9173 h 10022"/>
                <a:gd name="connsiteX402" fmla="*/ 3143 w 10000"/>
                <a:gd name="connsiteY402" fmla="*/ 9028 h 10022"/>
                <a:gd name="connsiteX403" fmla="*/ 3049 w 10000"/>
                <a:gd name="connsiteY403" fmla="*/ 8895 h 10022"/>
                <a:gd name="connsiteX404" fmla="*/ 2967 w 10000"/>
                <a:gd name="connsiteY404" fmla="*/ 8763 h 10022"/>
                <a:gd name="connsiteX405" fmla="*/ 2892 w 10000"/>
                <a:gd name="connsiteY405" fmla="*/ 8643 h 10022"/>
                <a:gd name="connsiteX406" fmla="*/ 2829 w 10000"/>
                <a:gd name="connsiteY406" fmla="*/ 8540 h 10022"/>
                <a:gd name="connsiteX407" fmla="*/ 2773 w 10000"/>
                <a:gd name="connsiteY407" fmla="*/ 8425 h 10022"/>
                <a:gd name="connsiteX408" fmla="*/ 2735 w 10000"/>
                <a:gd name="connsiteY408" fmla="*/ 8323 h 10022"/>
                <a:gd name="connsiteX409" fmla="*/ 2698 w 10000"/>
                <a:gd name="connsiteY409" fmla="*/ 8215 h 10022"/>
                <a:gd name="connsiteX410" fmla="*/ 2666 w 10000"/>
                <a:gd name="connsiteY410" fmla="*/ 8106 h 10022"/>
                <a:gd name="connsiteX411" fmla="*/ 2629 w 10000"/>
                <a:gd name="connsiteY411" fmla="*/ 7997 h 10022"/>
                <a:gd name="connsiteX412" fmla="*/ 2597 w 10000"/>
                <a:gd name="connsiteY412" fmla="*/ 7889 h 10022"/>
                <a:gd name="connsiteX413" fmla="*/ 2553 w 10000"/>
                <a:gd name="connsiteY413" fmla="*/ 7768 h 10022"/>
                <a:gd name="connsiteX414" fmla="*/ 2497 w 10000"/>
                <a:gd name="connsiteY414" fmla="*/ 7649 h 10022"/>
                <a:gd name="connsiteX415" fmla="*/ 2359 w 10000"/>
                <a:gd name="connsiteY415" fmla="*/ 7455 h 10022"/>
                <a:gd name="connsiteX416" fmla="*/ 2208 w 10000"/>
                <a:gd name="connsiteY416" fmla="*/ 7274 h 10022"/>
                <a:gd name="connsiteX417" fmla="*/ 2139 w 10000"/>
                <a:gd name="connsiteY417" fmla="*/ 7191 h 10022"/>
                <a:gd name="connsiteX418" fmla="*/ 2070 w 10000"/>
                <a:gd name="connsiteY418" fmla="*/ 7094 h 10022"/>
                <a:gd name="connsiteX419" fmla="*/ 2008 w 10000"/>
                <a:gd name="connsiteY419" fmla="*/ 7004 h 10022"/>
                <a:gd name="connsiteX420" fmla="*/ 1957 w 10000"/>
                <a:gd name="connsiteY420" fmla="*/ 6907 h 10022"/>
                <a:gd name="connsiteX421" fmla="*/ 1888 w 10000"/>
                <a:gd name="connsiteY421" fmla="*/ 6672 h 10022"/>
                <a:gd name="connsiteX422" fmla="*/ 1832 w 10000"/>
                <a:gd name="connsiteY422" fmla="*/ 6455 h 10022"/>
                <a:gd name="connsiteX423" fmla="*/ 1782 w 10000"/>
                <a:gd name="connsiteY423" fmla="*/ 6245 h 10022"/>
                <a:gd name="connsiteX424" fmla="*/ 1757 w 10000"/>
                <a:gd name="connsiteY424" fmla="*/ 6033 h 10022"/>
                <a:gd name="connsiteX425" fmla="*/ 1725 w 10000"/>
                <a:gd name="connsiteY425" fmla="*/ 5828 h 10022"/>
                <a:gd name="connsiteX426" fmla="*/ 1713 w 10000"/>
                <a:gd name="connsiteY426" fmla="*/ 5612 h 10022"/>
                <a:gd name="connsiteX427" fmla="*/ 1706 w 10000"/>
                <a:gd name="connsiteY427" fmla="*/ 5389 h 10022"/>
                <a:gd name="connsiteX428" fmla="*/ 1706 w 10000"/>
                <a:gd name="connsiteY428" fmla="*/ 5166 h 10022"/>
                <a:gd name="connsiteX429" fmla="*/ 1681 w 10000"/>
                <a:gd name="connsiteY429" fmla="*/ 5160 h 10022"/>
                <a:gd name="connsiteX430" fmla="*/ 1650 w 10000"/>
                <a:gd name="connsiteY430" fmla="*/ 5154 h 10022"/>
                <a:gd name="connsiteX431" fmla="*/ 1625 w 10000"/>
                <a:gd name="connsiteY431" fmla="*/ 5148 h 10022"/>
                <a:gd name="connsiteX432" fmla="*/ 1606 w 10000"/>
                <a:gd name="connsiteY432" fmla="*/ 5124 h 10022"/>
                <a:gd name="connsiteX433" fmla="*/ 1581 w 10000"/>
                <a:gd name="connsiteY433" fmla="*/ 5112 h 10022"/>
                <a:gd name="connsiteX434" fmla="*/ 1568 w 10000"/>
                <a:gd name="connsiteY434" fmla="*/ 5094 h 10022"/>
                <a:gd name="connsiteX435" fmla="*/ 1550 w 10000"/>
                <a:gd name="connsiteY435" fmla="*/ 5070 h 10022"/>
                <a:gd name="connsiteX436" fmla="*/ 1543 w 10000"/>
                <a:gd name="connsiteY436" fmla="*/ 5046 h 10022"/>
                <a:gd name="connsiteX437" fmla="*/ 1518 w 10000"/>
                <a:gd name="connsiteY437" fmla="*/ 4997 h 10022"/>
                <a:gd name="connsiteX438" fmla="*/ 1506 w 10000"/>
                <a:gd name="connsiteY438" fmla="*/ 4943 h 10022"/>
                <a:gd name="connsiteX439" fmla="*/ 1499 w 10000"/>
                <a:gd name="connsiteY439" fmla="*/ 4883 h 10022"/>
                <a:gd name="connsiteX440" fmla="*/ 1499 w 10000"/>
                <a:gd name="connsiteY440" fmla="*/ 4829 h 10022"/>
                <a:gd name="connsiteX441" fmla="*/ 1443 w 10000"/>
                <a:gd name="connsiteY441" fmla="*/ 4865 h 10022"/>
                <a:gd name="connsiteX442" fmla="*/ 1405 w 10000"/>
                <a:gd name="connsiteY442" fmla="*/ 4907 h 10022"/>
                <a:gd name="connsiteX443" fmla="*/ 1361 w 10000"/>
                <a:gd name="connsiteY443" fmla="*/ 4949 h 10022"/>
                <a:gd name="connsiteX444" fmla="*/ 1317 w 10000"/>
                <a:gd name="connsiteY444" fmla="*/ 4997 h 10022"/>
                <a:gd name="connsiteX445" fmla="*/ 1261 w 10000"/>
                <a:gd name="connsiteY445" fmla="*/ 5094 h 10022"/>
                <a:gd name="connsiteX446" fmla="*/ 1205 w 10000"/>
                <a:gd name="connsiteY446" fmla="*/ 5196 h 10022"/>
                <a:gd name="connsiteX447" fmla="*/ 1167 w 10000"/>
                <a:gd name="connsiteY447" fmla="*/ 5239 h 10022"/>
                <a:gd name="connsiteX448" fmla="*/ 1142 w 10000"/>
                <a:gd name="connsiteY448" fmla="*/ 5280 h 10022"/>
                <a:gd name="connsiteX449" fmla="*/ 1104 w 10000"/>
                <a:gd name="connsiteY449" fmla="*/ 5322 h 10022"/>
                <a:gd name="connsiteX450" fmla="*/ 1073 w 10000"/>
                <a:gd name="connsiteY450" fmla="*/ 5352 h 10022"/>
                <a:gd name="connsiteX451" fmla="*/ 1029 w 10000"/>
                <a:gd name="connsiteY451" fmla="*/ 5383 h 10022"/>
                <a:gd name="connsiteX452" fmla="*/ 985 w 10000"/>
                <a:gd name="connsiteY452" fmla="*/ 5401 h 10022"/>
                <a:gd name="connsiteX453" fmla="*/ 928 w 10000"/>
                <a:gd name="connsiteY453" fmla="*/ 5413 h 10022"/>
                <a:gd name="connsiteX454" fmla="*/ 872 w 10000"/>
                <a:gd name="connsiteY454" fmla="*/ 5419 h 10022"/>
                <a:gd name="connsiteX455" fmla="*/ 841 w 10000"/>
                <a:gd name="connsiteY455" fmla="*/ 5413 h 10022"/>
                <a:gd name="connsiteX456" fmla="*/ 797 w 10000"/>
                <a:gd name="connsiteY456" fmla="*/ 5401 h 10022"/>
                <a:gd name="connsiteX457" fmla="*/ 753 w 10000"/>
                <a:gd name="connsiteY457" fmla="*/ 5383 h 10022"/>
                <a:gd name="connsiteX458" fmla="*/ 709 w 10000"/>
                <a:gd name="connsiteY458" fmla="*/ 5352 h 10022"/>
                <a:gd name="connsiteX459" fmla="*/ 659 w 10000"/>
                <a:gd name="connsiteY459" fmla="*/ 5316 h 10022"/>
                <a:gd name="connsiteX460" fmla="*/ 609 w 10000"/>
                <a:gd name="connsiteY460" fmla="*/ 5280 h 10022"/>
                <a:gd name="connsiteX461" fmla="*/ 565 w 10000"/>
                <a:gd name="connsiteY461" fmla="*/ 5239 h 10022"/>
                <a:gd name="connsiteX462" fmla="*/ 514 w 10000"/>
                <a:gd name="connsiteY462" fmla="*/ 5190 h 10022"/>
                <a:gd name="connsiteX463" fmla="*/ 471 w 10000"/>
                <a:gd name="connsiteY463" fmla="*/ 5142 h 10022"/>
                <a:gd name="connsiteX464" fmla="*/ 433 w 10000"/>
                <a:gd name="connsiteY464" fmla="*/ 5088 h 10022"/>
                <a:gd name="connsiteX465" fmla="*/ 389 w 10000"/>
                <a:gd name="connsiteY465" fmla="*/ 5034 h 10022"/>
                <a:gd name="connsiteX466" fmla="*/ 358 w 10000"/>
                <a:gd name="connsiteY466" fmla="*/ 4979 h 10022"/>
                <a:gd name="connsiteX467" fmla="*/ 326 w 10000"/>
                <a:gd name="connsiteY467" fmla="*/ 4931 h 10022"/>
                <a:gd name="connsiteX468" fmla="*/ 307 w 10000"/>
                <a:gd name="connsiteY468" fmla="*/ 4883 h 10022"/>
                <a:gd name="connsiteX469" fmla="*/ 295 w 10000"/>
                <a:gd name="connsiteY469" fmla="*/ 4835 h 10022"/>
                <a:gd name="connsiteX470" fmla="*/ 289 w 10000"/>
                <a:gd name="connsiteY470" fmla="*/ 4786 h 10022"/>
                <a:gd name="connsiteX471" fmla="*/ 320 w 10000"/>
                <a:gd name="connsiteY471" fmla="*/ 4768 h 10022"/>
                <a:gd name="connsiteX472" fmla="*/ 395 w 10000"/>
                <a:gd name="connsiteY472" fmla="*/ 4733 h 10022"/>
                <a:gd name="connsiteX473" fmla="*/ 483 w 10000"/>
                <a:gd name="connsiteY473" fmla="*/ 4697 h 10022"/>
                <a:gd name="connsiteX474" fmla="*/ 533 w 10000"/>
                <a:gd name="connsiteY474" fmla="*/ 4679 h 10022"/>
                <a:gd name="connsiteX475" fmla="*/ 483 w 10000"/>
                <a:gd name="connsiteY475" fmla="*/ 4679 h 10022"/>
                <a:gd name="connsiteX476" fmla="*/ 420 w 10000"/>
                <a:gd name="connsiteY476" fmla="*/ 4673 h 10022"/>
                <a:gd name="connsiteX477" fmla="*/ 370 w 10000"/>
                <a:gd name="connsiteY477" fmla="*/ 4661 h 10022"/>
                <a:gd name="connsiteX478" fmla="*/ 320 w 10000"/>
                <a:gd name="connsiteY478" fmla="*/ 4655 h 10022"/>
                <a:gd name="connsiteX479" fmla="*/ 276 w 10000"/>
                <a:gd name="connsiteY479" fmla="*/ 4636 h 10022"/>
                <a:gd name="connsiteX480" fmla="*/ 232 w 10000"/>
                <a:gd name="connsiteY480" fmla="*/ 4624 h 10022"/>
                <a:gd name="connsiteX481" fmla="*/ 188 w 10000"/>
                <a:gd name="connsiteY481" fmla="*/ 4606 h 10022"/>
                <a:gd name="connsiteX482" fmla="*/ 157 w 10000"/>
                <a:gd name="connsiteY482" fmla="*/ 4581 h 10022"/>
                <a:gd name="connsiteX483" fmla="*/ 132 w 10000"/>
                <a:gd name="connsiteY483" fmla="*/ 4557 h 10022"/>
                <a:gd name="connsiteX484" fmla="*/ 100 w 10000"/>
                <a:gd name="connsiteY484" fmla="*/ 4533 h 10022"/>
                <a:gd name="connsiteX485" fmla="*/ 75 w 10000"/>
                <a:gd name="connsiteY485" fmla="*/ 4503 h 10022"/>
                <a:gd name="connsiteX486" fmla="*/ 50 w 10000"/>
                <a:gd name="connsiteY486" fmla="*/ 4479 h 10022"/>
                <a:gd name="connsiteX487" fmla="*/ 19 w 10000"/>
                <a:gd name="connsiteY487" fmla="*/ 4407 h 10022"/>
                <a:gd name="connsiteX488" fmla="*/ 0 w 10000"/>
                <a:gd name="connsiteY488" fmla="*/ 4340 h 10022"/>
                <a:gd name="connsiteX489" fmla="*/ 63 w 10000"/>
                <a:gd name="connsiteY489" fmla="*/ 4292 h 10022"/>
                <a:gd name="connsiteX490" fmla="*/ 132 w 10000"/>
                <a:gd name="connsiteY490" fmla="*/ 4256 h 10022"/>
                <a:gd name="connsiteX491" fmla="*/ 201 w 10000"/>
                <a:gd name="connsiteY491" fmla="*/ 4227 h 10022"/>
                <a:gd name="connsiteX492" fmla="*/ 276 w 10000"/>
                <a:gd name="connsiteY492" fmla="*/ 4203 h 10022"/>
                <a:gd name="connsiteX493" fmla="*/ 420 w 10000"/>
                <a:gd name="connsiteY493" fmla="*/ 4173 h 10022"/>
                <a:gd name="connsiteX494" fmla="*/ 565 w 10000"/>
                <a:gd name="connsiteY494" fmla="*/ 4148 h 10022"/>
                <a:gd name="connsiteX495" fmla="*/ 640 w 10000"/>
                <a:gd name="connsiteY495" fmla="*/ 4136 h 10022"/>
                <a:gd name="connsiteX496" fmla="*/ 709 w 10000"/>
                <a:gd name="connsiteY496" fmla="*/ 4112 h 10022"/>
                <a:gd name="connsiteX497" fmla="*/ 772 w 10000"/>
                <a:gd name="connsiteY497" fmla="*/ 4094 h 10022"/>
                <a:gd name="connsiteX498" fmla="*/ 834 w 10000"/>
                <a:gd name="connsiteY498" fmla="*/ 4064 h 10022"/>
                <a:gd name="connsiteX499" fmla="*/ 891 w 10000"/>
                <a:gd name="connsiteY499" fmla="*/ 4034 h 10022"/>
                <a:gd name="connsiteX500" fmla="*/ 947 w 10000"/>
                <a:gd name="connsiteY500" fmla="*/ 3986 h 10022"/>
                <a:gd name="connsiteX501" fmla="*/ 997 w 10000"/>
                <a:gd name="connsiteY501" fmla="*/ 3931 h 10022"/>
                <a:gd name="connsiteX502" fmla="*/ 1035 w 10000"/>
                <a:gd name="connsiteY502" fmla="*/ 3864 h 10022"/>
                <a:gd name="connsiteX503" fmla="*/ 1010 w 10000"/>
                <a:gd name="connsiteY503" fmla="*/ 3852 h 10022"/>
                <a:gd name="connsiteX504" fmla="*/ 985 w 10000"/>
                <a:gd name="connsiteY504" fmla="*/ 3834 h 10022"/>
                <a:gd name="connsiteX505" fmla="*/ 947 w 10000"/>
                <a:gd name="connsiteY505" fmla="*/ 3810 h 10022"/>
                <a:gd name="connsiteX506" fmla="*/ 910 w 10000"/>
                <a:gd name="connsiteY506" fmla="*/ 3774 h 10022"/>
                <a:gd name="connsiteX507" fmla="*/ 822 w 10000"/>
                <a:gd name="connsiteY507" fmla="*/ 3702 h 10022"/>
                <a:gd name="connsiteX508" fmla="*/ 740 w 10000"/>
                <a:gd name="connsiteY508" fmla="*/ 3618 h 10022"/>
                <a:gd name="connsiteX509" fmla="*/ 665 w 10000"/>
                <a:gd name="connsiteY509" fmla="*/ 3527 h 10022"/>
                <a:gd name="connsiteX510" fmla="*/ 596 w 10000"/>
                <a:gd name="connsiteY510" fmla="*/ 3431 h 10022"/>
                <a:gd name="connsiteX511" fmla="*/ 577 w 10000"/>
                <a:gd name="connsiteY511" fmla="*/ 3389 h 10022"/>
                <a:gd name="connsiteX512" fmla="*/ 558 w 10000"/>
                <a:gd name="connsiteY512" fmla="*/ 3347 h 10022"/>
                <a:gd name="connsiteX513" fmla="*/ 540 w 10000"/>
                <a:gd name="connsiteY513" fmla="*/ 3304 h 10022"/>
                <a:gd name="connsiteX514" fmla="*/ 533 w 10000"/>
                <a:gd name="connsiteY514" fmla="*/ 3268 h 10022"/>
                <a:gd name="connsiteX515" fmla="*/ 508 w 10000"/>
                <a:gd name="connsiteY515" fmla="*/ 3262 h 10022"/>
                <a:gd name="connsiteX516" fmla="*/ 483 w 10000"/>
                <a:gd name="connsiteY516" fmla="*/ 3256 h 10022"/>
                <a:gd name="connsiteX517" fmla="*/ 458 w 10000"/>
                <a:gd name="connsiteY517" fmla="*/ 3244 h 10022"/>
                <a:gd name="connsiteX518" fmla="*/ 439 w 10000"/>
                <a:gd name="connsiteY518" fmla="*/ 3221 h 10022"/>
                <a:gd name="connsiteX519" fmla="*/ 402 w 10000"/>
                <a:gd name="connsiteY519" fmla="*/ 3178 h 10022"/>
                <a:gd name="connsiteX520" fmla="*/ 370 w 10000"/>
                <a:gd name="connsiteY520" fmla="*/ 3118 h 10022"/>
                <a:gd name="connsiteX521" fmla="*/ 370 w 10000"/>
                <a:gd name="connsiteY521" fmla="*/ 2973 h 10022"/>
                <a:gd name="connsiteX522" fmla="*/ 458 w 10000"/>
                <a:gd name="connsiteY522" fmla="*/ 2967 h 10022"/>
                <a:gd name="connsiteX523" fmla="*/ 540 w 10000"/>
                <a:gd name="connsiteY523" fmla="*/ 2961 h 10022"/>
                <a:gd name="connsiteX524" fmla="*/ 615 w 10000"/>
                <a:gd name="connsiteY524" fmla="*/ 2949 h 10022"/>
                <a:gd name="connsiteX525" fmla="*/ 684 w 10000"/>
                <a:gd name="connsiteY525" fmla="*/ 2925 h 10022"/>
                <a:gd name="connsiteX526" fmla="*/ 747 w 10000"/>
                <a:gd name="connsiteY526" fmla="*/ 2907 h 10022"/>
                <a:gd name="connsiteX527" fmla="*/ 809 w 10000"/>
                <a:gd name="connsiteY527" fmla="*/ 2876 h 10022"/>
                <a:gd name="connsiteX528" fmla="*/ 866 w 10000"/>
                <a:gd name="connsiteY528" fmla="*/ 2846 h 10022"/>
                <a:gd name="connsiteX529" fmla="*/ 922 w 10000"/>
                <a:gd name="connsiteY529" fmla="*/ 2810 h 10022"/>
                <a:gd name="connsiteX530" fmla="*/ 966 w 10000"/>
                <a:gd name="connsiteY530" fmla="*/ 2768 h 10022"/>
                <a:gd name="connsiteX531" fmla="*/ 1016 w 10000"/>
                <a:gd name="connsiteY531" fmla="*/ 2727 h 10022"/>
                <a:gd name="connsiteX532" fmla="*/ 1060 w 10000"/>
                <a:gd name="connsiteY532" fmla="*/ 2685 h 10022"/>
                <a:gd name="connsiteX533" fmla="*/ 1098 w 10000"/>
                <a:gd name="connsiteY533" fmla="*/ 2636 h 10022"/>
                <a:gd name="connsiteX534" fmla="*/ 1167 w 10000"/>
                <a:gd name="connsiteY534" fmla="*/ 2540 h 10022"/>
                <a:gd name="connsiteX535" fmla="*/ 1236 w 10000"/>
                <a:gd name="connsiteY535" fmla="*/ 2430 h 10022"/>
                <a:gd name="connsiteX536" fmla="*/ 1355 w 10000"/>
                <a:gd name="connsiteY536" fmla="*/ 2214 h 10022"/>
                <a:gd name="connsiteX537" fmla="*/ 1474 w 10000"/>
                <a:gd name="connsiteY537" fmla="*/ 1997 h 10022"/>
                <a:gd name="connsiteX538" fmla="*/ 1543 w 10000"/>
                <a:gd name="connsiteY538" fmla="*/ 1901 h 10022"/>
                <a:gd name="connsiteX539" fmla="*/ 1612 w 10000"/>
                <a:gd name="connsiteY539" fmla="*/ 1816 h 10022"/>
                <a:gd name="connsiteX540" fmla="*/ 1650 w 10000"/>
                <a:gd name="connsiteY540" fmla="*/ 1767 h 10022"/>
                <a:gd name="connsiteX541" fmla="*/ 1694 w 10000"/>
                <a:gd name="connsiteY541" fmla="*/ 1731 h 10022"/>
                <a:gd name="connsiteX542" fmla="*/ 1738 w 10000"/>
                <a:gd name="connsiteY542" fmla="*/ 1702 h 10022"/>
                <a:gd name="connsiteX543" fmla="*/ 1788 w 10000"/>
                <a:gd name="connsiteY543" fmla="*/ 1672 h 10022"/>
                <a:gd name="connsiteX544" fmla="*/ 1750 w 10000"/>
                <a:gd name="connsiteY544" fmla="*/ 1599 h 10022"/>
                <a:gd name="connsiteX545" fmla="*/ 1719 w 10000"/>
                <a:gd name="connsiteY545" fmla="*/ 1533 h 10022"/>
                <a:gd name="connsiteX546" fmla="*/ 1713 w 10000"/>
                <a:gd name="connsiteY546" fmla="*/ 1503 h 10022"/>
                <a:gd name="connsiteX547" fmla="*/ 1706 w 10000"/>
                <a:gd name="connsiteY547" fmla="*/ 1473 h 10022"/>
                <a:gd name="connsiteX548" fmla="*/ 1706 w 10000"/>
                <a:gd name="connsiteY548" fmla="*/ 1437 h 10022"/>
                <a:gd name="connsiteX549" fmla="*/ 1706 w 10000"/>
                <a:gd name="connsiteY549" fmla="*/ 1407 h 10022"/>
                <a:gd name="connsiteX550" fmla="*/ 1713 w 10000"/>
                <a:gd name="connsiteY550" fmla="*/ 1376 h 10022"/>
                <a:gd name="connsiteX551" fmla="*/ 1719 w 10000"/>
                <a:gd name="connsiteY551" fmla="*/ 1346 h 10022"/>
                <a:gd name="connsiteX552" fmla="*/ 1731 w 10000"/>
                <a:gd name="connsiteY552" fmla="*/ 1322 h 10022"/>
                <a:gd name="connsiteX553" fmla="*/ 1757 w 10000"/>
                <a:gd name="connsiteY553" fmla="*/ 1298 h 10022"/>
                <a:gd name="connsiteX554" fmla="*/ 1775 w 10000"/>
                <a:gd name="connsiteY554" fmla="*/ 1280 h 10022"/>
                <a:gd name="connsiteX555" fmla="*/ 1801 w 10000"/>
                <a:gd name="connsiteY555" fmla="*/ 1262 h 10022"/>
                <a:gd name="connsiteX556" fmla="*/ 1838 w 10000"/>
                <a:gd name="connsiteY556" fmla="*/ 1244 h 10022"/>
                <a:gd name="connsiteX557" fmla="*/ 1870 w 10000"/>
                <a:gd name="connsiteY557" fmla="*/ 1226 h 10022"/>
                <a:gd name="connsiteX558" fmla="*/ 1688 w 10000"/>
                <a:gd name="connsiteY558" fmla="*/ 1064 h 10022"/>
                <a:gd name="connsiteX559" fmla="*/ 1550 w 10000"/>
                <a:gd name="connsiteY559" fmla="*/ 942 h 10022"/>
                <a:gd name="connsiteX560" fmla="*/ 1487 w 10000"/>
                <a:gd name="connsiteY560" fmla="*/ 882 h 10022"/>
                <a:gd name="connsiteX561" fmla="*/ 1424 w 10000"/>
                <a:gd name="connsiteY561" fmla="*/ 816 h 10022"/>
                <a:gd name="connsiteX562" fmla="*/ 1361 w 10000"/>
                <a:gd name="connsiteY562" fmla="*/ 731 h 10022"/>
                <a:gd name="connsiteX563" fmla="*/ 1286 w 10000"/>
                <a:gd name="connsiteY563" fmla="*/ 630 h 10022"/>
                <a:gd name="connsiteX564" fmla="*/ 1286 w 10000"/>
                <a:gd name="connsiteY564" fmla="*/ 371 h 10022"/>
                <a:gd name="connsiteX565" fmla="*/ 1437 w 10000"/>
                <a:gd name="connsiteY565" fmla="*/ 371 h 10022"/>
                <a:gd name="connsiteX566" fmla="*/ 1606 w 10000"/>
                <a:gd name="connsiteY566" fmla="*/ 359 h 10022"/>
                <a:gd name="connsiteX567" fmla="*/ 1694 w 10000"/>
                <a:gd name="connsiteY567" fmla="*/ 353 h 10022"/>
                <a:gd name="connsiteX568" fmla="*/ 1775 w 10000"/>
                <a:gd name="connsiteY568" fmla="*/ 340 h 10022"/>
                <a:gd name="connsiteX569" fmla="*/ 1863 w 10000"/>
                <a:gd name="connsiteY569" fmla="*/ 321 h 10022"/>
                <a:gd name="connsiteX570" fmla="*/ 1945 w 10000"/>
                <a:gd name="connsiteY570" fmla="*/ 303 h 10022"/>
                <a:gd name="connsiteX571" fmla="*/ 2020 w 10000"/>
                <a:gd name="connsiteY571" fmla="*/ 285 h 10022"/>
                <a:gd name="connsiteX572" fmla="*/ 2102 w 10000"/>
                <a:gd name="connsiteY572" fmla="*/ 255 h 10022"/>
                <a:gd name="connsiteX573" fmla="*/ 2177 w 10000"/>
                <a:gd name="connsiteY573" fmla="*/ 225 h 10022"/>
                <a:gd name="connsiteX574" fmla="*/ 2240 w 10000"/>
                <a:gd name="connsiteY574" fmla="*/ 184 h 10022"/>
                <a:gd name="connsiteX575" fmla="*/ 2296 w 10000"/>
                <a:gd name="connsiteY575" fmla="*/ 142 h 10022"/>
                <a:gd name="connsiteX576" fmla="*/ 2385 w 10000"/>
                <a:gd name="connsiteY576" fmla="*/ 27 h 10022"/>
                <a:gd name="connsiteX577" fmla="*/ 2444 w 10000"/>
                <a:gd name="connsiteY577" fmla="*/ 56 h 10022"/>
                <a:gd name="connsiteX578" fmla="*/ 2415 w 10000"/>
                <a:gd name="connsiteY578" fmla="*/ 97 h 10022"/>
                <a:gd name="connsiteX0" fmla="*/ 2690 w 10000"/>
                <a:gd name="connsiteY0" fmla="*/ 97 h 10022"/>
                <a:gd name="connsiteX1" fmla="*/ 2509 w 10000"/>
                <a:gd name="connsiteY1" fmla="*/ 57 h 10022"/>
                <a:gd name="connsiteX2" fmla="*/ 2818 w 10000"/>
                <a:gd name="connsiteY2" fmla="*/ 23 h 10022"/>
                <a:gd name="connsiteX3" fmla="*/ 2776 w 10000"/>
                <a:gd name="connsiteY3" fmla="*/ 105 h 10022"/>
                <a:gd name="connsiteX4" fmla="*/ 2851 w 10000"/>
                <a:gd name="connsiteY4" fmla="*/ 58 h 10022"/>
                <a:gd name="connsiteX5" fmla="*/ 2880 w 10000"/>
                <a:gd name="connsiteY5" fmla="*/ 11 h 10022"/>
                <a:gd name="connsiteX6" fmla="*/ 3155 w 10000"/>
                <a:gd name="connsiteY6" fmla="*/ 88 h 10022"/>
                <a:gd name="connsiteX7" fmla="*/ 3162 w 10000"/>
                <a:gd name="connsiteY7" fmla="*/ 242 h 10022"/>
                <a:gd name="connsiteX8" fmla="*/ 3120 w 10000"/>
                <a:gd name="connsiteY8" fmla="*/ 367 h 10022"/>
                <a:gd name="connsiteX9" fmla="*/ 3152 w 10000"/>
                <a:gd name="connsiteY9" fmla="*/ 430 h 10022"/>
                <a:gd name="connsiteX10" fmla="*/ 3093 w 10000"/>
                <a:gd name="connsiteY10" fmla="*/ 515 h 10022"/>
                <a:gd name="connsiteX11" fmla="*/ 2992 w 10000"/>
                <a:gd name="connsiteY11" fmla="*/ 606 h 10022"/>
                <a:gd name="connsiteX12" fmla="*/ 3043 w 10000"/>
                <a:gd name="connsiteY12" fmla="*/ 630 h 10022"/>
                <a:gd name="connsiteX13" fmla="*/ 3087 w 10000"/>
                <a:gd name="connsiteY13" fmla="*/ 672 h 10022"/>
                <a:gd name="connsiteX14" fmla="*/ 3130 w 10000"/>
                <a:gd name="connsiteY14" fmla="*/ 719 h 10022"/>
                <a:gd name="connsiteX15" fmla="*/ 3174 w 10000"/>
                <a:gd name="connsiteY15" fmla="*/ 768 h 10022"/>
                <a:gd name="connsiteX16" fmla="*/ 3212 w 10000"/>
                <a:gd name="connsiteY16" fmla="*/ 828 h 10022"/>
                <a:gd name="connsiteX17" fmla="*/ 3256 w 10000"/>
                <a:gd name="connsiteY17" fmla="*/ 882 h 10022"/>
                <a:gd name="connsiteX18" fmla="*/ 3281 w 10000"/>
                <a:gd name="connsiteY18" fmla="*/ 942 h 10022"/>
                <a:gd name="connsiteX19" fmla="*/ 3312 w 10000"/>
                <a:gd name="connsiteY19" fmla="*/ 1009 h 10022"/>
                <a:gd name="connsiteX20" fmla="*/ 3331 w 10000"/>
                <a:gd name="connsiteY20" fmla="*/ 1076 h 10022"/>
                <a:gd name="connsiteX21" fmla="*/ 3043 w 10000"/>
                <a:gd name="connsiteY21" fmla="*/ 1076 h 10022"/>
                <a:gd name="connsiteX22" fmla="*/ 3043 w 10000"/>
                <a:gd name="connsiteY22" fmla="*/ 1262 h 10022"/>
                <a:gd name="connsiteX23" fmla="*/ 3074 w 10000"/>
                <a:gd name="connsiteY23" fmla="*/ 1340 h 10022"/>
                <a:gd name="connsiteX24" fmla="*/ 3118 w 10000"/>
                <a:gd name="connsiteY24" fmla="*/ 1407 h 10022"/>
                <a:gd name="connsiteX25" fmla="*/ 3168 w 10000"/>
                <a:gd name="connsiteY25" fmla="*/ 1467 h 10022"/>
                <a:gd name="connsiteX26" fmla="*/ 3225 w 10000"/>
                <a:gd name="connsiteY26" fmla="*/ 1509 h 10022"/>
                <a:gd name="connsiteX27" fmla="*/ 3281 w 10000"/>
                <a:gd name="connsiteY27" fmla="*/ 1551 h 10022"/>
                <a:gd name="connsiteX28" fmla="*/ 3350 w 10000"/>
                <a:gd name="connsiteY28" fmla="*/ 1581 h 10022"/>
                <a:gd name="connsiteX29" fmla="*/ 3413 w 10000"/>
                <a:gd name="connsiteY29" fmla="*/ 1611 h 10022"/>
                <a:gd name="connsiteX30" fmla="*/ 3488 w 10000"/>
                <a:gd name="connsiteY30" fmla="*/ 1636 h 10022"/>
                <a:gd name="connsiteX31" fmla="*/ 3626 w 10000"/>
                <a:gd name="connsiteY31" fmla="*/ 1690 h 10022"/>
                <a:gd name="connsiteX32" fmla="*/ 3764 w 10000"/>
                <a:gd name="connsiteY32" fmla="*/ 1743 h 10022"/>
                <a:gd name="connsiteX33" fmla="*/ 3827 w 10000"/>
                <a:gd name="connsiteY33" fmla="*/ 1780 h 10022"/>
                <a:gd name="connsiteX34" fmla="*/ 3890 w 10000"/>
                <a:gd name="connsiteY34" fmla="*/ 1828 h 10022"/>
                <a:gd name="connsiteX35" fmla="*/ 3946 w 10000"/>
                <a:gd name="connsiteY35" fmla="*/ 1877 h 10022"/>
                <a:gd name="connsiteX36" fmla="*/ 4003 w 10000"/>
                <a:gd name="connsiteY36" fmla="*/ 1931 h 10022"/>
                <a:gd name="connsiteX37" fmla="*/ 3959 w 10000"/>
                <a:gd name="connsiteY37" fmla="*/ 2492 h 10022"/>
                <a:gd name="connsiteX38" fmla="*/ 4034 w 10000"/>
                <a:gd name="connsiteY38" fmla="*/ 2546 h 10022"/>
                <a:gd name="connsiteX39" fmla="*/ 4141 w 10000"/>
                <a:gd name="connsiteY39" fmla="*/ 2612 h 10022"/>
                <a:gd name="connsiteX40" fmla="*/ 4260 w 10000"/>
                <a:gd name="connsiteY40" fmla="*/ 2672 h 10022"/>
                <a:gd name="connsiteX41" fmla="*/ 4398 w 10000"/>
                <a:gd name="connsiteY41" fmla="*/ 2727 h 10022"/>
                <a:gd name="connsiteX42" fmla="*/ 4536 w 10000"/>
                <a:gd name="connsiteY42" fmla="*/ 2780 h 10022"/>
                <a:gd name="connsiteX43" fmla="*/ 4668 w 10000"/>
                <a:gd name="connsiteY43" fmla="*/ 2822 h 10022"/>
                <a:gd name="connsiteX44" fmla="*/ 4724 w 10000"/>
                <a:gd name="connsiteY44" fmla="*/ 2840 h 10022"/>
                <a:gd name="connsiteX45" fmla="*/ 4780 w 10000"/>
                <a:gd name="connsiteY45" fmla="*/ 2852 h 10022"/>
                <a:gd name="connsiteX46" fmla="*/ 4831 w 10000"/>
                <a:gd name="connsiteY46" fmla="*/ 2858 h 10022"/>
                <a:gd name="connsiteX47" fmla="*/ 4875 w 10000"/>
                <a:gd name="connsiteY47" fmla="*/ 2858 h 10022"/>
                <a:gd name="connsiteX48" fmla="*/ 4887 w 10000"/>
                <a:gd name="connsiteY48" fmla="*/ 2901 h 10022"/>
                <a:gd name="connsiteX49" fmla="*/ 4918 w 10000"/>
                <a:gd name="connsiteY49" fmla="*/ 2937 h 10022"/>
                <a:gd name="connsiteX50" fmla="*/ 4950 w 10000"/>
                <a:gd name="connsiteY50" fmla="*/ 2955 h 10022"/>
                <a:gd name="connsiteX51" fmla="*/ 4987 w 10000"/>
                <a:gd name="connsiteY51" fmla="*/ 2967 h 10022"/>
                <a:gd name="connsiteX52" fmla="*/ 5019 w 10000"/>
                <a:gd name="connsiteY52" fmla="*/ 2979 h 10022"/>
                <a:gd name="connsiteX53" fmla="*/ 5063 w 10000"/>
                <a:gd name="connsiteY53" fmla="*/ 2979 h 10022"/>
                <a:gd name="connsiteX54" fmla="*/ 5107 w 10000"/>
                <a:gd name="connsiteY54" fmla="*/ 2973 h 10022"/>
                <a:gd name="connsiteX55" fmla="*/ 5157 w 10000"/>
                <a:gd name="connsiteY55" fmla="*/ 2967 h 10022"/>
                <a:gd name="connsiteX56" fmla="*/ 5245 w 10000"/>
                <a:gd name="connsiteY56" fmla="*/ 2949 h 10022"/>
                <a:gd name="connsiteX57" fmla="*/ 5345 w 10000"/>
                <a:gd name="connsiteY57" fmla="*/ 2925 h 10022"/>
                <a:gd name="connsiteX58" fmla="*/ 5383 w 10000"/>
                <a:gd name="connsiteY58" fmla="*/ 2925 h 10022"/>
                <a:gd name="connsiteX59" fmla="*/ 5427 w 10000"/>
                <a:gd name="connsiteY59" fmla="*/ 2919 h 10022"/>
                <a:gd name="connsiteX60" fmla="*/ 5464 w 10000"/>
                <a:gd name="connsiteY60" fmla="*/ 2925 h 10022"/>
                <a:gd name="connsiteX61" fmla="*/ 5502 w 10000"/>
                <a:gd name="connsiteY61" fmla="*/ 2931 h 10022"/>
                <a:gd name="connsiteX62" fmla="*/ 5558 w 10000"/>
                <a:gd name="connsiteY62" fmla="*/ 2967 h 10022"/>
                <a:gd name="connsiteX63" fmla="*/ 5596 w 10000"/>
                <a:gd name="connsiteY63" fmla="*/ 2997 h 10022"/>
                <a:gd name="connsiteX64" fmla="*/ 5634 w 10000"/>
                <a:gd name="connsiteY64" fmla="*/ 3039 h 10022"/>
                <a:gd name="connsiteX65" fmla="*/ 5665 w 10000"/>
                <a:gd name="connsiteY65" fmla="*/ 3075 h 10022"/>
                <a:gd name="connsiteX66" fmla="*/ 5696 w 10000"/>
                <a:gd name="connsiteY66" fmla="*/ 3112 h 10022"/>
                <a:gd name="connsiteX67" fmla="*/ 5734 w 10000"/>
                <a:gd name="connsiteY67" fmla="*/ 3148 h 10022"/>
                <a:gd name="connsiteX68" fmla="*/ 5759 w 10000"/>
                <a:gd name="connsiteY68" fmla="*/ 3166 h 10022"/>
                <a:gd name="connsiteX69" fmla="*/ 5778 w 10000"/>
                <a:gd name="connsiteY69" fmla="*/ 3178 h 10022"/>
                <a:gd name="connsiteX70" fmla="*/ 5803 w 10000"/>
                <a:gd name="connsiteY70" fmla="*/ 3190 h 10022"/>
                <a:gd name="connsiteX71" fmla="*/ 5834 w 10000"/>
                <a:gd name="connsiteY71" fmla="*/ 3196 h 10022"/>
                <a:gd name="connsiteX72" fmla="*/ 5935 w 10000"/>
                <a:gd name="connsiteY72" fmla="*/ 3215 h 10022"/>
                <a:gd name="connsiteX73" fmla="*/ 6073 w 10000"/>
                <a:gd name="connsiteY73" fmla="*/ 3250 h 10022"/>
                <a:gd name="connsiteX74" fmla="*/ 6230 w 10000"/>
                <a:gd name="connsiteY74" fmla="*/ 3286 h 10022"/>
                <a:gd name="connsiteX75" fmla="*/ 6405 w 10000"/>
                <a:gd name="connsiteY75" fmla="*/ 3329 h 10022"/>
                <a:gd name="connsiteX76" fmla="*/ 6568 w 10000"/>
                <a:gd name="connsiteY76" fmla="*/ 3359 h 10022"/>
                <a:gd name="connsiteX77" fmla="*/ 6719 w 10000"/>
                <a:gd name="connsiteY77" fmla="*/ 3383 h 10022"/>
                <a:gd name="connsiteX78" fmla="*/ 6788 w 10000"/>
                <a:gd name="connsiteY78" fmla="*/ 3389 h 10022"/>
                <a:gd name="connsiteX79" fmla="*/ 6838 w 10000"/>
                <a:gd name="connsiteY79" fmla="*/ 3395 h 10022"/>
                <a:gd name="connsiteX80" fmla="*/ 6888 w 10000"/>
                <a:gd name="connsiteY80" fmla="*/ 3389 h 10022"/>
                <a:gd name="connsiteX81" fmla="*/ 6913 w 10000"/>
                <a:gd name="connsiteY81" fmla="*/ 3377 h 10022"/>
                <a:gd name="connsiteX82" fmla="*/ 6888 w 10000"/>
                <a:gd name="connsiteY82" fmla="*/ 3335 h 10022"/>
                <a:gd name="connsiteX83" fmla="*/ 6857 w 10000"/>
                <a:gd name="connsiteY83" fmla="*/ 3286 h 10022"/>
                <a:gd name="connsiteX84" fmla="*/ 6838 w 10000"/>
                <a:gd name="connsiteY84" fmla="*/ 3238 h 10022"/>
                <a:gd name="connsiteX85" fmla="*/ 6826 w 10000"/>
                <a:gd name="connsiteY85" fmla="*/ 3184 h 10022"/>
                <a:gd name="connsiteX86" fmla="*/ 6794 w 10000"/>
                <a:gd name="connsiteY86" fmla="*/ 3093 h 10022"/>
                <a:gd name="connsiteX87" fmla="*/ 6788 w 10000"/>
                <a:gd name="connsiteY87" fmla="*/ 3045 h 10022"/>
                <a:gd name="connsiteX88" fmla="*/ 6788 w 10000"/>
                <a:gd name="connsiteY88" fmla="*/ 2858 h 10022"/>
                <a:gd name="connsiteX89" fmla="*/ 6788 w 10000"/>
                <a:gd name="connsiteY89" fmla="*/ 2672 h 10022"/>
                <a:gd name="connsiteX90" fmla="*/ 6995 w 10000"/>
                <a:gd name="connsiteY90" fmla="*/ 2672 h 10022"/>
                <a:gd name="connsiteX91" fmla="*/ 7033 w 10000"/>
                <a:gd name="connsiteY91" fmla="*/ 2738 h 10022"/>
                <a:gd name="connsiteX92" fmla="*/ 7058 w 10000"/>
                <a:gd name="connsiteY92" fmla="*/ 2780 h 10022"/>
                <a:gd name="connsiteX93" fmla="*/ 7095 w 10000"/>
                <a:gd name="connsiteY93" fmla="*/ 2816 h 10022"/>
                <a:gd name="connsiteX94" fmla="*/ 7127 w 10000"/>
                <a:gd name="connsiteY94" fmla="*/ 2858 h 10022"/>
                <a:gd name="connsiteX95" fmla="*/ 7120 w 10000"/>
                <a:gd name="connsiteY95" fmla="*/ 2955 h 10022"/>
                <a:gd name="connsiteX96" fmla="*/ 7102 w 10000"/>
                <a:gd name="connsiteY96" fmla="*/ 3015 h 10022"/>
                <a:gd name="connsiteX97" fmla="*/ 7089 w 10000"/>
                <a:gd name="connsiteY97" fmla="*/ 3063 h 10022"/>
                <a:gd name="connsiteX98" fmla="*/ 7077 w 10000"/>
                <a:gd name="connsiteY98" fmla="*/ 3118 h 10022"/>
                <a:gd name="connsiteX99" fmla="*/ 7208 w 10000"/>
                <a:gd name="connsiteY99" fmla="*/ 3154 h 10022"/>
                <a:gd name="connsiteX100" fmla="*/ 7334 w 10000"/>
                <a:gd name="connsiteY100" fmla="*/ 3190 h 10022"/>
                <a:gd name="connsiteX101" fmla="*/ 7396 w 10000"/>
                <a:gd name="connsiteY101" fmla="*/ 3209 h 10022"/>
                <a:gd name="connsiteX102" fmla="*/ 7459 w 10000"/>
                <a:gd name="connsiteY102" fmla="*/ 3221 h 10022"/>
                <a:gd name="connsiteX103" fmla="*/ 7522 w 10000"/>
                <a:gd name="connsiteY103" fmla="*/ 3227 h 10022"/>
                <a:gd name="connsiteX104" fmla="*/ 7585 w 10000"/>
                <a:gd name="connsiteY104" fmla="*/ 3232 h 10022"/>
                <a:gd name="connsiteX105" fmla="*/ 7591 w 10000"/>
                <a:gd name="connsiteY105" fmla="*/ 3256 h 10022"/>
                <a:gd name="connsiteX106" fmla="*/ 7604 w 10000"/>
                <a:gd name="connsiteY106" fmla="*/ 3280 h 10022"/>
                <a:gd name="connsiteX107" fmla="*/ 7622 w 10000"/>
                <a:gd name="connsiteY107" fmla="*/ 3298 h 10022"/>
                <a:gd name="connsiteX108" fmla="*/ 7654 w 10000"/>
                <a:gd name="connsiteY108" fmla="*/ 3316 h 10022"/>
                <a:gd name="connsiteX109" fmla="*/ 7704 w 10000"/>
                <a:gd name="connsiteY109" fmla="*/ 3335 h 10022"/>
                <a:gd name="connsiteX110" fmla="*/ 7748 w 10000"/>
                <a:gd name="connsiteY110" fmla="*/ 3341 h 10022"/>
                <a:gd name="connsiteX111" fmla="*/ 7798 w 10000"/>
                <a:gd name="connsiteY111" fmla="*/ 3341 h 10022"/>
                <a:gd name="connsiteX112" fmla="*/ 7836 w 10000"/>
                <a:gd name="connsiteY112" fmla="*/ 3329 h 10022"/>
                <a:gd name="connsiteX113" fmla="*/ 7880 w 10000"/>
                <a:gd name="connsiteY113" fmla="*/ 3310 h 10022"/>
                <a:gd name="connsiteX114" fmla="*/ 7911 w 10000"/>
                <a:gd name="connsiteY114" fmla="*/ 3292 h 10022"/>
                <a:gd name="connsiteX115" fmla="*/ 7949 w 10000"/>
                <a:gd name="connsiteY115" fmla="*/ 3268 h 10022"/>
                <a:gd name="connsiteX116" fmla="*/ 7980 w 10000"/>
                <a:gd name="connsiteY116" fmla="*/ 3238 h 10022"/>
                <a:gd name="connsiteX117" fmla="*/ 8011 w 10000"/>
                <a:gd name="connsiteY117" fmla="*/ 3209 h 10022"/>
                <a:gd name="connsiteX118" fmla="*/ 8036 w 10000"/>
                <a:gd name="connsiteY118" fmla="*/ 3178 h 10022"/>
                <a:gd name="connsiteX119" fmla="*/ 8087 w 10000"/>
                <a:gd name="connsiteY119" fmla="*/ 3099 h 10022"/>
                <a:gd name="connsiteX120" fmla="*/ 8118 w 10000"/>
                <a:gd name="connsiteY120" fmla="*/ 3027 h 10022"/>
                <a:gd name="connsiteX121" fmla="*/ 8149 w 10000"/>
                <a:gd name="connsiteY121" fmla="*/ 2961 h 10022"/>
                <a:gd name="connsiteX122" fmla="*/ 8168 w 10000"/>
                <a:gd name="connsiteY122" fmla="*/ 2895 h 10022"/>
                <a:gd name="connsiteX123" fmla="*/ 8231 w 10000"/>
                <a:gd name="connsiteY123" fmla="*/ 2828 h 10022"/>
                <a:gd name="connsiteX124" fmla="*/ 8294 w 10000"/>
                <a:gd name="connsiteY124" fmla="*/ 2762 h 10022"/>
                <a:gd name="connsiteX125" fmla="*/ 8363 w 10000"/>
                <a:gd name="connsiteY125" fmla="*/ 2709 h 10022"/>
                <a:gd name="connsiteX126" fmla="*/ 8432 w 10000"/>
                <a:gd name="connsiteY126" fmla="*/ 2648 h 10022"/>
                <a:gd name="connsiteX127" fmla="*/ 8507 w 10000"/>
                <a:gd name="connsiteY127" fmla="*/ 2600 h 10022"/>
                <a:gd name="connsiteX128" fmla="*/ 8576 w 10000"/>
                <a:gd name="connsiteY128" fmla="*/ 2552 h 10022"/>
                <a:gd name="connsiteX129" fmla="*/ 8651 w 10000"/>
                <a:gd name="connsiteY129" fmla="*/ 2510 h 10022"/>
                <a:gd name="connsiteX130" fmla="*/ 8726 w 10000"/>
                <a:gd name="connsiteY130" fmla="*/ 2466 h 10022"/>
                <a:gd name="connsiteX131" fmla="*/ 8808 w 10000"/>
                <a:gd name="connsiteY131" fmla="*/ 2424 h 10022"/>
                <a:gd name="connsiteX132" fmla="*/ 8890 w 10000"/>
                <a:gd name="connsiteY132" fmla="*/ 2388 h 10022"/>
                <a:gd name="connsiteX133" fmla="*/ 8971 w 10000"/>
                <a:gd name="connsiteY133" fmla="*/ 2358 h 10022"/>
                <a:gd name="connsiteX134" fmla="*/ 9059 w 10000"/>
                <a:gd name="connsiteY134" fmla="*/ 2328 h 10022"/>
                <a:gd name="connsiteX135" fmla="*/ 9235 w 10000"/>
                <a:gd name="connsiteY135" fmla="*/ 2274 h 10022"/>
                <a:gd name="connsiteX136" fmla="*/ 9417 w 10000"/>
                <a:gd name="connsiteY136" fmla="*/ 2231 h 10022"/>
                <a:gd name="connsiteX137" fmla="*/ 9454 w 10000"/>
                <a:gd name="connsiteY137" fmla="*/ 2280 h 10022"/>
                <a:gd name="connsiteX138" fmla="*/ 9504 w 10000"/>
                <a:gd name="connsiteY138" fmla="*/ 2340 h 10022"/>
                <a:gd name="connsiteX139" fmla="*/ 9573 w 10000"/>
                <a:gd name="connsiteY139" fmla="*/ 2406 h 10022"/>
                <a:gd name="connsiteX140" fmla="*/ 9642 w 10000"/>
                <a:gd name="connsiteY140" fmla="*/ 2479 h 10022"/>
                <a:gd name="connsiteX141" fmla="*/ 9718 w 10000"/>
                <a:gd name="connsiteY141" fmla="*/ 2540 h 10022"/>
                <a:gd name="connsiteX142" fmla="*/ 9799 w 10000"/>
                <a:gd name="connsiteY142" fmla="*/ 2588 h 10022"/>
                <a:gd name="connsiteX143" fmla="*/ 9837 w 10000"/>
                <a:gd name="connsiteY143" fmla="*/ 2612 h 10022"/>
                <a:gd name="connsiteX144" fmla="*/ 9875 w 10000"/>
                <a:gd name="connsiteY144" fmla="*/ 2624 h 10022"/>
                <a:gd name="connsiteX145" fmla="*/ 9918 w 10000"/>
                <a:gd name="connsiteY145" fmla="*/ 2636 h 10022"/>
                <a:gd name="connsiteX146" fmla="*/ 9956 w 10000"/>
                <a:gd name="connsiteY146" fmla="*/ 2636 h 10022"/>
                <a:gd name="connsiteX147" fmla="*/ 10000 w 10000"/>
                <a:gd name="connsiteY147" fmla="*/ 2564 h 10022"/>
                <a:gd name="connsiteX148" fmla="*/ 9975 w 10000"/>
                <a:gd name="connsiteY148" fmla="*/ 2691 h 10022"/>
                <a:gd name="connsiteX149" fmla="*/ 9944 w 10000"/>
                <a:gd name="connsiteY149" fmla="*/ 2834 h 10022"/>
                <a:gd name="connsiteX150" fmla="*/ 9931 w 10000"/>
                <a:gd name="connsiteY150" fmla="*/ 2901 h 10022"/>
                <a:gd name="connsiteX151" fmla="*/ 9906 w 10000"/>
                <a:gd name="connsiteY151" fmla="*/ 2961 h 10022"/>
                <a:gd name="connsiteX152" fmla="*/ 9887 w 10000"/>
                <a:gd name="connsiteY152" fmla="*/ 2985 h 10022"/>
                <a:gd name="connsiteX153" fmla="*/ 9875 w 10000"/>
                <a:gd name="connsiteY153" fmla="*/ 3009 h 10022"/>
                <a:gd name="connsiteX154" fmla="*/ 9856 w 10000"/>
                <a:gd name="connsiteY154" fmla="*/ 3027 h 10022"/>
                <a:gd name="connsiteX155" fmla="*/ 9837 w 10000"/>
                <a:gd name="connsiteY155" fmla="*/ 3045 h 10022"/>
                <a:gd name="connsiteX156" fmla="*/ 9749 w 10000"/>
                <a:gd name="connsiteY156" fmla="*/ 3063 h 10022"/>
                <a:gd name="connsiteX157" fmla="*/ 9605 w 10000"/>
                <a:gd name="connsiteY157" fmla="*/ 3112 h 10022"/>
                <a:gd name="connsiteX158" fmla="*/ 9536 w 10000"/>
                <a:gd name="connsiteY158" fmla="*/ 3154 h 10022"/>
                <a:gd name="connsiteX159" fmla="*/ 9479 w 10000"/>
                <a:gd name="connsiteY159" fmla="*/ 3190 h 10022"/>
                <a:gd name="connsiteX160" fmla="*/ 9448 w 10000"/>
                <a:gd name="connsiteY160" fmla="*/ 3209 h 10022"/>
                <a:gd name="connsiteX161" fmla="*/ 9435 w 10000"/>
                <a:gd name="connsiteY161" fmla="*/ 3227 h 10022"/>
                <a:gd name="connsiteX162" fmla="*/ 9423 w 10000"/>
                <a:gd name="connsiteY162" fmla="*/ 3250 h 10022"/>
                <a:gd name="connsiteX163" fmla="*/ 9417 w 10000"/>
                <a:gd name="connsiteY163" fmla="*/ 3268 h 10022"/>
                <a:gd name="connsiteX164" fmla="*/ 9423 w 10000"/>
                <a:gd name="connsiteY164" fmla="*/ 3479 h 10022"/>
                <a:gd name="connsiteX165" fmla="*/ 9417 w 10000"/>
                <a:gd name="connsiteY165" fmla="*/ 3720 h 10022"/>
                <a:gd name="connsiteX166" fmla="*/ 9398 w 10000"/>
                <a:gd name="connsiteY166" fmla="*/ 3780 h 10022"/>
                <a:gd name="connsiteX167" fmla="*/ 9391 w 10000"/>
                <a:gd name="connsiteY167" fmla="*/ 3846 h 10022"/>
                <a:gd name="connsiteX168" fmla="*/ 9379 w 10000"/>
                <a:gd name="connsiteY168" fmla="*/ 3900 h 10022"/>
                <a:gd name="connsiteX169" fmla="*/ 9366 w 10000"/>
                <a:gd name="connsiteY169" fmla="*/ 3955 h 10022"/>
                <a:gd name="connsiteX170" fmla="*/ 9348 w 10000"/>
                <a:gd name="connsiteY170" fmla="*/ 4004 h 10022"/>
                <a:gd name="connsiteX171" fmla="*/ 9316 w 10000"/>
                <a:gd name="connsiteY171" fmla="*/ 4052 h 10022"/>
                <a:gd name="connsiteX172" fmla="*/ 9285 w 10000"/>
                <a:gd name="connsiteY172" fmla="*/ 4088 h 10022"/>
                <a:gd name="connsiteX173" fmla="*/ 9247 w 10000"/>
                <a:gd name="connsiteY173" fmla="*/ 4118 h 10022"/>
                <a:gd name="connsiteX174" fmla="*/ 9228 w 10000"/>
                <a:gd name="connsiteY174" fmla="*/ 4136 h 10022"/>
                <a:gd name="connsiteX175" fmla="*/ 9184 w 10000"/>
                <a:gd name="connsiteY175" fmla="*/ 4142 h 10022"/>
                <a:gd name="connsiteX176" fmla="*/ 9141 w 10000"/>
                <a:gd name="connsiteY176" fmla="*/ 4148 h 10022"/>
                <a:gd name="connsiteX177" fmla="*/ 9090 w 10000"/>
                <a:gd name="connsiteY177" fmla="*/ 4154 h 10022"/>
                <a:gd name="connsiteX178" fmla="*/ 9040 w 10000"/>
                <a:gd name="connsiteY178" fmla="*/ 4160 h 10022"/>
                <a:gd name="connsiteX179" fmla="*/ 8996 w 10000"/>
                <a:gd name="connsiteY179" fmla="*/ 4179 h 10022"/>
                <a:gd name="connsiteX180" fmla="*/ 8977 w 10000"/>
                <a:gd name="connsiteY180" fmla="*/ 4185 h 10022"/>
                <a:gd name="connsiteX181" fmla="*/ 8965 w 10000"/>
                <a:gd name="connsiteY181" fmla="*/ 4203 h 10022"/>
                <a:gd name="connsiteX182" fmla="*/ 8959 w 10000"/>
                <a:gd name="connsiteY182" fmla="*/ 4215 h 10022"/>
                <a:gd name="connsiteX183" fmla="*/ 8959 w 10000"/>
                <a:gd name="connsiteY183" fmla="*/ 4233 h 10022"/>
                <a:gd name="connsiteX184" fmla="*/ 8952 w 10000"/>
                <a:gd name="connsiteY184" fmla="*/ 4304 h 10022"/>
                <a:gd name="connsiteX185" fmla="*/ 8952 w 10000"/>
                <a:gd name="connsiteY185" fmla="*/ 4389 h 10022"/>
                <a:gd name="connsiteX186" fmla="*/ 8940 w 10000"/>
                <a:gd name="connsiteY186" fmla="*/ 4479 h 10022"/>
                <a:gd name="connsiteX187" fmla="*/ 8927 w 10000"/>
                <a:gd name="connsiteY187" fmla="*/ 4563 h 10022"/>
                <a:gd name="connsiteX188" fmla="*/ 8908 w 10000"/>
                <a:gd name="connsiteY188" fmla="*/ 4649 h 10022"/>
                <a:gd name="connsiteX189" fmla="*/ 8890 w 10000"/>
                <a:gd name="connsiteY189" fmla="*/ 4727 h 10022"/>
                <a:gd name="connsiteX190" fmla="*/ 8864 w 10000"/>
                <a:gd name="connsiteY190" fmla="*/ 4798 h 10022"/>
                <a:gd name="connsiteX191" fmla="*/ 8833 w 10000"/>
                <a:gd name="connsiteY191" fmla="*/ 4865 h 10022"/>
                <a:gd name="connsiteX192" fmla="*/ 8538 w 10000"/>
                <a:gd name="connsiteY192" fmla="*/ 4376 h 10022"/>
                <a:gd name="connsiteX193" fmla="*/ 8526 w 10000"/>
                <a:gd name="connsiteY193" fmla="*/ 4401 h 10022"/>
                <a:gd name="connsiteX194" fmla="*/ 8494 w 10000"/>
                <a:gd name="connsiteY194" fmla="*/ 4455 h 10022"/>
                <a:gd name="connsiteX195" fmla="*/ 8463 w 10000"/>
                <a:gd name="connsiteY195" fmla="*/ 4485 h 10022"/>
                <a:gd name="connsiteX196" fmla="*/ 8438 w 10000"/>
                <a:gd name="connsiteY196" fmla="*/ 4509 h 10022"/>
                <a:gd name="connsiteX197" fmla="*/ 8407 w 10000"/>
                <a:gd name="connsiteY197" fmla="*/ 4527 h 10022"/>
                <a:gd name="connsiteX198" fmla="*/ 8375 w 10000"/>
                <a:gd name="connsiteY198" fmla="*/ 4533 h 10022"/>
                <a:gd name="connsiteX199" fmla="*/ 8338 w 10000"/>
                <a:gd name="connsiteY199" fmla="*/ 4527 h 10022"/>
                <a:gd name="connsiteX200" fmla="*/ 8312 w 10000"/>
                <a:gd name="connsiteY200" fmla="*/ 4521 h 10022"/>
                <a:gd name="connsiteX201" fmla="*/ 8287 w 10000"/>
                <a:gd name="connsiteY201" fmla="*/ 4503 h 10022"/>
                <a:gd name="connsiteX202" fmla="*/ 8256 w 10000"/>
                <a:gd name="connsiteY202" fmla="*/ 4485 h 10022"/>
                <a:gd name="connsiteX203" fmla="*/ 8237 w 10000"/>
                <a:gd name="connsiteY203" fmla="*/ 4455 h 10022"/>
                <a:gd name="connsiteX204" fmla="*/ 8225 w 10000"/>
                <a:gd name="connsiteY204" fmla="*/ 4431 h 10022"/>
                <a:gd name="connsiteX205" fmla="*/ 8206 w 10000"/>
                <a:gd name="connsiteY205" fmla="*/ 4407 h 10022"/>
                <a:gd name="connsiteX206" fmla="*/ 8206 w 10000"/>
                <a:gd name="connsiteY206" fmla="*/ 4376 h 10022"/>
                <a:gd name="connsiteX207" fmla="*/ 8206 w 10000"/>
                <a:gd name="connsiteY207" fmla="*/ 4340 h 10022"/>
                <a:gd name="connsiteX208" fmla="*/ 8225 w 10000"/>
                <a:gd name="connsiteY208" fmla="*/ 4304 h 10022"/>
                <a:gd name="connsiteX209" fmla="*/ 8237 w 10000"/>
                <a:gd name="connsiteY209" fmla="*/ 4268 h 10022"/>
                <a:gd name="connsiteX210" fmla="*/ 8250 w 10000"/>
                <a:gd name="connsiteY210" fmla="*/ 4233 h 10022"/>
                <a:gd name="connsiteX211" fmla="*/ 8300 w 10000"/>
                <a:gd name="connsiteY211" fmla="*/ 4166 h 10022"/>
                <a:gd name="connsiteX212" fmla="*/ 8356 w 10000"/>
                <a:gd name="connsiteY212" fmla="*/ 4100 h 10022"/>
                <a:gd name="connsiteX213" fmla="*/ 8407 w 10000"/>
                <a:gd name="connsiteY213" fmla="*/ 4040 h 10022"/>
                <a:gd name="connsiteX214" fmla="*/ 8457 w 10000"/>
                <a:gd name="connsiteY214" fmla="*/ 3974 h 10022"/>
                <a:gd name="connsiteX215" fmla="*/ 8469 w 10000"/>
                <a:gd name="connsiteY215" fmla="*/ 3937 h 10022"/>
                <a:gd name="connsiteX216" fmla="*/ 8482 w 10000"/>
                <a:gd name="connsiteY216" fmla="*/ 3906 h 10022"/>
                <a:gd name="connsiteX217" fmla="*/ 8501 w 10000"/>
                <a:gd name="connsiteY217" fmla="*/ 3864 h 10022"/>
                <a:gd name="connsiteX218" fmla="*/ 8501 w 10000"/>
                <a:gd name="connsiteY218" fmla="*/ 3828 h 10022"/>
                <a:gd name="connsiteX219" fmla="*/ 7748 w 10000"/>
                <a:gd name="connsiteY219" fmla="*/ 3828 h 10022"/>
                <a:gd name="connsiteX220" fmla="*/ 7723 w 10000"/>
                <a:gd name="connsiteY220" fmla="*/ 3822 h 10022"/>
                <a:gd name="connsiteX221" fmla="*/ 7685 w 10000"/>
                <a:gd name="connsiteY221" fmla="*/ 3804 h 10022"/>
                <a:gd name="connsiteX222" fmla="*/ 7660 w 10000"/>
                <a:gd name="connsiteY222" fmla="*/ 3768 h 10022"/>
                <a:gd name="connsiteX223" fmla="*/ 7635 w 10000"/>
                <a:gd name="connsiteY223" fmla="*/ 3732 h 10022"/>
                <a:gd name="connsiteX224" fmla="*/ 7616 w 10000"/>
                <a:gd name="connsiteY224" fmla="*/ 3684 h 10022"/>
                <a:gd name="connsiteX225" fmla="*/ 7597 w 10000"/>
                <a:gd name="connsiteY225" fmla="*/ 3636 h 10022"/>
                <a:gd name="connsiteX226" fmla="*/ 7591 w 10000"/>
                <a:gd name="connsiteY226" fmla="*/ 3582 h 10022"/>
                <a:gd name="connsiteX227" fmla="*/ 7585 w 10000"/>
                <a:gd name="connsiteY227" fmla="*/ 3527 h 10022"/>
                <a:gd name="connsiteX228" fmla="*/ 7547 w 10000"/>
                <a:gd name="connsiteY228" fmla="*/ 3527 h 10022"/>
                <a:gd name="connsiteX229" fmla="*/ 7516 w 10000"/>
                <a:gd name="connsiteY229" fmla="*/ 3521 h 10022"/>
                <a:gd name="connsiteX230" fmla="*/ 7478 w 10000"/>
                <a:gd name="connsiteY230" fmla="*/ 3515 h 10022"/>
                <a:gd name="connsiteX231" fmla="*/ 7447 w 10000"/>
                <a:gd name="connsiteY231" fmla="*/ 3503 h 10022"/>
                <a:gd name="connsiteX232" fmla="*/ 7415 w 10000"/>
                <a:gd name="connsiteY232" fmla="*/ 3485 h 10022"/>
                <a:gd name="connsiteX233" fmla="*/ 7396 w 10000"/>
                <a:gd name="connsiteY233" fmla="*/ 3467 h 10022"/>
                <a:gd name="connsiteX234" fmla="*/ 7384 w 10000"/>
                <a:gd name="connsiteY234" fmla="*/ 3437 h 10022"/>
                <a:gd name="connsiteX235" fmla="*/ 7378 w 10000"/>
                <a:gd name="connsiteY235" fmla="*/ 3413 h 10022"/>
                <a:gd name="connsiteX236" fmla="*/ 7321 w 10000"/>
                <a:gd name="connsiteY236" fmla="*/ 3413 h 10022"/>
                <a:gd name="connsiteX237" fmla="*/ 7271 w 10000"/>
                <a:gd name="connsiteY237" fmla="*/ 3413 h 10022"/>
                <a:gd name="connsiteX238" fmla="*/ 7221 w 10000"/>
                <a:gd name="connsiteY238" fmla="*/ 3413 h 10022"/>
                <a:gd name="connsiteX239" fmla="*/ 7171 w 10000"/>
                <a:gd name="connsiteY239" fmla="*/ 3413 h 10022"/>
                <a:gd name="connsiteX240" fmla="*/ 7127 w 10000"/>
                <a:gd name="connsiteY240" fmla="*/ 3419 h 10022"/>
                <a:gd name="connsiteX241" fmla="*/ 7095 w 10000"/>
                <a:gd name="connsiteY241" fmla="*/ 3425 h 10022"/>
                <a:gd name="connsiteX242" fmla="*/ 7051 w 10000"/>
                <a:gd name="connsiteY242" fmla="*/ 3443 h 10022"/>
                <a:gd name="connsiteX243" fmla="*/ 7008 w 10000"/>
                <a:gd name="connsiteY243" fmla="*/ 3467 h 10022"/>
                <a:gd name="connsiteX244" fmla="*/ 6976 w 10000"/>
                <a:gd name="connsiteY244" fmla="*/ 3497 h 10022"/>
                <a:gd name="connsiteX245" fmla="*/ 6939 w 10000"/>
                <a:gd name="connsiteY245" fmla="*/ 3527 h 10022"/>
                <a:gd name="connsiteX246" fmla="*/ 6920 w 10000"/>
                <a:gd name="connsiteY246" fmla="*/ 3564 h 10022"/>
                <a:gd name="connsiteX247" fmla="*/ 6913 w 10000"/>
                <a:gd name="connsiteY247" fmla="*/ 3600 h 10022"/>
                <a:gd name="connsiteX248" fmla="*/ 6926 w 10000"/>
                <a:gd name="connsiteY248" fmla="*/ 3624 h 10022"/>
                <a:gd name="connsiteX249" fmla="*/ 6964 w 10000"/>
                <a:gd name="connsiteY249" fmla="*/ 3654 h 10022"/>
                <a:gd name="connsiteX250" fmla="*/ 7008 w 10000"/>
                <a:gd name="connsiteY250" fmla="*/ 3690 h 10022"/>
                <a:gd name="connsiteX251" fmla="*/ 7070 w 10000"/>
                <a:gd name="connsiteY251" fmla="*/ 3726 h 10022"/>
                <a:gd name="connsiteX252" fmla="*/ 7133 w 10000"/>
                <a:gd name="connsiteY252" fmla="*/ 3762 h 10022"/>
                <a:gd name="connsiteX253" fmla="*/ 7196 w 10000"/>
                <a:gd name="connsiteY253" fmla="*/ 3792 h 10022"/>
                <a:gd name="connsiteX254" fmla="*/ 7252 w 10000"/>
                <a:gd name="connsiteY254" fmla="*/ 3816 h 10022"/>
                <a:gd name="connsiteX255" fmla="*/ 7290 w 10000"/>
                <a:gd name="connsiteY255" fmla="*/ 3828 h 10022"/>
                <a:gd name="connsiteX256" fmla="*/ 7208 w 10000"/>
                <a:gd name="connsiteY256" fmla="*/ 3888 h 10022"/>
                <a:gd name="connsiteX257" fmla="*/ 7114 w 10000"/>
                <a:gd name="connsiteY257" fmla="*/ 3962 h 10022"/>
                <a:gd name="connsiteX258" fmla="*/ 7070 w 10000"/>
                <a:gd name="connsiteY258" fmla="*/ 3998 h 10022"/>
                <a:gd name="connsiteX259" fmla="*/ 7033 w 10000"/>
                <a:gd name="connsiteY259" fmla="*/ 4040 h 10022"/>
                <a:gd name="connsiteX260" fmla="*/ 7020 w 10000"/>
                <a:gd name="connsiteY260" fmla="*/ 4058 h 10022"/>
                <a:gd name="connsiteX261" fmla="*/ 7008 w 10000"/>
                <a:gd name="connsiteY261" fmla="*/ 4076 h 10022"/>
                <a:gd name="connsiteX262" fmla="*/ 7001 w 10000"/>
                <a:gd name="connsiteY262" fmla="*/ 4100 h 10022"/>
                <a:gd name="connsiteX263" fmla="*/ 6995 w 10000"/>
                <a:gd name="connsiteY263" fmla="*/ 4118 h 10022"/>
                <a:gd name="connsiteX264" fmla="*/ 7001 w 10000"/>
                <a:gd name="connsiteY264" fmla="*/ 4148 h 10022"/>
                <a:gd name="connsiteX265" fmla="*/ 7008 w 10000"/>
                <a:gd name="connsiteY265" fmla="*/ 4166 h 10022"/>
                <a:gd name="connsiteX266" fmla="*/ 7026 w 10000"/>
                <a:gd name="connsiteY266" fmla="*/ 4191 h 10022"/>
                <a:gd name="connsiteX267" fmla="*/ 7039 w 10000"/>
                <a:gd name="connsiteY267" fmla="*/ 4215 h 10022"/>
                <a:gd name="connsiteX268" fmla="*/ 7089 w 10000"/>
                <a:gd name="connsiteY268" fmla="*/ 4262 h 10022"/>
                <a:gd name="connsiteX269" fmla="*/ 7146 w 10000"/>
                <a:gd name="connsiteY269" fmla="*/ 4310 h 10022"/>
                <a:gd name="connsiteX270" fmla="*/ 7208 w 10000"/>
                <a:gd name="connsiteY270" fmla="*/ 4352 h 10022"/>
                <a:gd name="connsiteX271" fmla="*/ 7277 w 10000"/>
                <a:gd name="connsiteY271" fmla="*/ 4389 h 10022"/>
                <a:gd name="connsiteX272" fmla="*/ 7315 w 10000"/>
                <a:gd name="connsiteY272" fmla="*/ 4401 h 10022"/>
                <a:gd name="connsiteX273" fmla="*/ 7346 w 10000"/>
                <a:gd name="connsiteY273" fmla="*/ 4407 h 10022"/>
                <a:gd name="connsiteX274" fmla="*/ 7384 w 10000"/>
                <a:gd name="connsiteY274" fmla="*/ 4413 h 10022"/>
                <a:gd name="connsiteX275" fmla="*/ 7415 w 10000"/>
                <a:gd name="connsiteY275" fmla="*/ 4419 h 10022"/>
                <a:gd name="connsiteX276" fmla="*/ 7585 w 10000"/>
                <a:gd name="connsiteY276" fmla="*/ 5046 h 10022"/>
                <a:gd name="connsiteX277" fmla="*/ 7491 w 10000"/>
                <a:gd name="connsiteY277" fmla="*/ 5046 h 10022"/>
                <a:gd name="connsiteX278" fmla="*/ 7403 w 10000"/>
                <a:gd name="connsiteY278" fmla="*/ 5046 h 10022"/>
                <a:gd name="connsiteX279" fmla="*/ 7321 w 10000"/>
                <a:gd name="connsiteY279" fmla="*/ 5046 h 10022"/>
                <a:gd name="connsiteX280" fmla="*/ 7252 w 10000"/>
                <a:gd name="connsiteY280" fmla="*/ 5046 h 10022"/>
                <a:gd name="connsiteX281" fmla="*/ 7208 w 10000"/>
                <a:gd name="connsiteY281" fmla="*/ 5040 h 10022"/>
                <a:gd name="connsiteX282" fmla="*/ 7164 w 10000"/>
                <a:gd name="connsiteY282" fmla="*/ 5009 h 10022"/>
                <a:gd name="connsiteX283" fmla="*/ 7133 w 10000"/>
                <a:gd name="connsiteY283" fmla="*/ 4997 h 10022"/>
                <a:gd name="connsiteX284" fmla="*/ 7102 w 10000"/>
                <a:gd name="connsiteY284" fmla="*/ 4985 h 10022"/>
                <a:gd name="connsiteX285" fmla="*/ 7070 w 10000"/>
                <a:gd name="connsiteY285" fmla="*/ 4979 h 10022"/>
                <a:gd name="connsiteX286" fmla="*/ 7039 w 10000"/>
                <a:gd name="connsiteY286" fmla="*/ 4973 h 10022"/>
                <a:gd name="connsiteX287" fmla="*/ 7008 w 10000"/>
                <a:gd name="connsiteY287" fmla="*/ 4985 h 10022"/>
                <a:gd name="connsiteX288" fmla="*/ 6957 w 10000"/>
                <a:gd name="connsiteY288" fmla="*/ 5015 h 10022"/>
                <a:gd name="connsiteX289" fmla="*/ 6895 w 10000"/>
                <a:gd name="connsiteY289" fmla="*/ 5058 h 10022"/>
                <a:gd name="connsiteX290" fmla="*/ 6819 w 10000"/>
                <a:gd name="connsiteY290" fmla="*/ 5106 h 10022"/>
                <a:gd name="connsiteX291" fmla="*/ 6744 w 10000"/>
                <a:gd name="connsiteY291" fmla="*/ 5166 h 10022"/>
                <a:gd name="connsiteX292" fmla="*/ 6681 w 10000"/>
                <a:gd name="connsiteY292" fmla="*/ 5214 h 10022"/>
                <a:gd name="connsiteX293" fmla="*/ 6637 w 10000"/>
                <a:gd name="connsiteY293" fmla="*/ 5250 h 10022"/>
                <a:gd name="connsiteX294" fmla="*/ 6625 w 10000"/>
                <a:gd name="connsiteY294" fmla="*/ 5274 h 10022"/>
                <a:gd name="connsiteX295" fmla="*/ 6750 w 10000"/>
                <a:gd name="connsiteY295" fmla="*/ 5346 h 10022"/>
                <a:gd name="connsiteX296" fmla="*/ 6744 w 10000"/>
                <a:gd name="connsiteY296" fmla="*/ 5383 h 10022"/>
                <a:gd name="connsiteX297" fmla="*/ 6725 w 10000"/>
                <a:gd name="connsiteY297" fmla="*/ 5425 h 10022"/>
                <a:gd name="connsiteX298" fmla="*/ 6706 w 10000"/>
                <a:gd name="connsiteY298" fmla="*/ 5456 h 10022"/>
                <a:gd name="connsiteX299" fmla="*/ 6688 w 10000"/>
                <a:gd name="connsiteY299" fmla="*/ 5498 h 10022"/>
                <a:gd name="connsiteX300" fmla="*/ 6637 w 10000"/>
                <a:gd name="connsiteY300" fmla="*/ 5552 h 10022"/>
                <a:gd name="connsiteX301" fmla="*/ 6581 w 10000"/>
                <a:gd name="connsiteY301" fmla="*/ 5606 h 10022"/>
                <a:gd name="connsiteX302" fmla="*/ 6518 w 10000"/>
                <a:gd name="connsiteY302" fmla="*/ 5654 h 10022"/>
                <a:gd name="connsiteX303" fmla="*/ 6443 w 10000"/>
                <a:gd name="connsiteY303" fmla="*/ 5697 h 10022"/>
                <a:gd name="connsiteX304" fmla="*/ 6374 w 10000"/>
                <a:gd name="connsiteY304" fmla="*/ 5733 h 10022"/>
                <a:gd name="connsiteX305" fmla="*/ 6299 w 10000"/>
                <a:gd name="connsiteY305" fmla="*/ 5768 h 10022"/>
                <a:gd name="connsiteX306" fmla="*/ 6223 w 10000"/>
                <a:gd name="connsiteY306" fmla="*/ 5816 h 10022"/>
                <a:gd name="connsiteX307" fmla="*/ 6154 w 10000"/>
                <a:gd name="connsiteY307" fmla="*/ 5852 h 10022"/>
                <a:gd name="connsiteX308" fmla="*/ 6092 w 10000"/>
                <a:gd name="connsiteY308" fmla="*/ 5895 h 10022"/>
                <a:gd name="connsiteX309" fmla="*/ 6035 w 10000"/>
                <a:gd name="connsiteY309" fmla="*/ 5943 h 10022"/>
                <a:gd name="connsiteX310" fmla="*/ 6004 w 10000"/>
                <a:gd name="connsiteY310" fmla="*/ 5967 h 10022"/>
                <a:gd name="connsiteX311" fmla="*/ 5985 w 10000"/>
                <a:gd name="connsiteY311" fmla="*/ 5991 h 10022"/>
                <a:gd name="connsiteX312" fmla="*/ 5966 w 10000"/>
                <a:gd name="connsiteY312" fmla="*/ 6021 h 10022"/>
                <a:gd name="connsiteX313" fmla="*/ 5947 w 10000"/>
                <a:gd name="connsiteY313" fmla="*/ 6051 h 10022"/>
                <a:gd name="connsiteX314" fmla="*/ 5935 w 10000"/>
                <a:gd name="connsiteY314" fmla="*/ 6089 h 10022"/>
                <a:gd name="connsiteX315" fmla="*/ 5922 w 10000"/>
                <a:gd name="connsiteY315" fmla="*/ 6119 h 10022"/>
                <a:gd name="connsiteX316" fmla="*/ 5916 w 10000"/>
                <a:gd name="connsiteY316" fmla="*/ 6161 h 10022"/>
                <a:gd name="connsiteX317" fmla="*/ 5916 w 10000"/>
                <a:gd name="connsiteY317" fmla="*/ 6203 h 10022"/>
                <a:gd name="connsiteX318" fmla="*/ 5859 w 10000"/>
                <a:gd name="connsiteY318" fmla="*/ 6221 h 10022"/>
                <a:gd name="connsiteX319" fmla="*/ 5809 w 10000"/>
                <a:gd name="connsiteY319" fmla="*/ 6239 h 10022"/>
                <a:gd name="connsiteX320" fmla="*/ 5765 w 10000"/>
                <a:gd name="connsiteY320" fmla="*/ 6262 h 10022"/>
                <a:gd name="connsiteX321" fmla="*/ 5721 w 10000"/>
                <a:gd name="connsiteY321" fmla="*/ 6286 h 10022"/>
                <a:gd name="connsiteX322" fmla="*/ 5634 w 10000"/>
                <a:gd name="connsiteY322" fmla="*/ 6347 h 10022"/>
                <a:gd name="connsiteX323" fmla="*/ 5558 w 10000"/>
                <a:gd name="connsiteY323" fmla="*/ 6419 h 10022"/>
                <a:gd name="connsiteX324" fmla="*/ 5420 w 10000"/>
                <a:gd name="connsiteY324" fmla="*/ 6582 h 10022"/>
                <a:gd name="connsiteX325" fmla="*/ 5289 w 10000"/>
                <a:gd name="connsiteY325" fmla="*/ 6756 h 10022"/>
                <a:gd name="connsiteX326" fmla="*/ 5220 w 10000"/>
                <a:gd name="connsiteY326" fmla="*/ 6847 h 10022"/>
                <a:gd name="connsiteX327" fmla="*/ 5151 w 10000"/>
                <a:gd name="connsiteY327" fmla="*/ 6925 h 10022"/>
                <a:gd name="connsiteX328" fmla="*/ 5075 w 10000"/>
                <a:gd name="connsiteY328" fmla="*/ 6998 h 10022"/>
                <a:gd name="connsiteX329" fmla="*/ 4994 w 10000"/>
                <a:gd name="connsiteY329" fmla="*/ 7064 h 10022"/>
                <a:gd name="connsiteX330" fmla="*/ 4944 w 10000"/>
                <a:gd name="connsiteY330" fmla="*/ 7094 h 10022"/>
                <a:gd name="connsiteX331" fmla="*/ 4893 w 10000"/>
                <a:gd name="connsiteY331" fmla="*/ 7118 h 10022"/>
                <a:gd name="connsiteX332" fmla="*/ 4849 w 10000"/>
                <a:gd name="connsiteY332" fmla="*/ 7142 h 10022"/>
                <a:gd name="connsiteX333" fmla="*/ 4793 w 10000"/>
                <a:gd name="connsiteY333" fmla="*/ 7167 h 10022"/>
                <a:gd name="connsiteX334" fmla="*/ 4730 w 10000"/>
                <a:gd name="connsiteY334" fmla="*/ 7185 h 10022"/>
                <a:gd name="connsiteX335" fmla="*/ 4674 w 10000"/>
                <a:gd name="connsiteY335" fmla="*/ 7197 h 10022"/>
                <a:gd name="connsiteX336" fmla="*/ 4605 w 10000"/>
                <a:gd name="connsiteY336" fmla="*/ 7203 h 10022"/>
                <a:gd name="connsiteX337" fmla="*/ 4536 w 10000"/>
                <a:gd name="connsiteY337" fmla="*/ 7203 h 10022"/>
                <a:gd name="connsiteX338" fmla="*/ 4536 w 10000"/>
                <a:gd name="connsiteY338" fmla="*/ 7256 h 10022"/>
                <a:gd name="connsiteX339" fmla="*/ 4536 w 10000"/>
                <a:gd name="connsiteY339" fmla="*/ 7310 h 10022"/>
                <a:gd name="connsiteX340" fmla="*/ 4536 w 10000"/>
                <a:gd name="connsiteY340" fmla="*/ 7352 h 10022"/>
                <a:gd name="connsiteX341" fmla="*/ 4536 w 10000"/>
                <a:gd name="connsiteY341" fmla="*/ 7389 h 10022"/>
                <a:gd name="connsiteX342" fmla="*/ 4536 w 10000"/>
                <a:gd name="connsiteY342" fmla="*/ 7455 h 10022"/>
                <a:gd name="connsiteX343" fmla="*/ 4536 w 10000"/>
                <a:gd name="connsiteY343" fmla="*/ 7558 h 10022"/>
                <a:gd name="connsiteX344" fmla="*/ 4536 w 10000"/>
                <a:gd name="connsiteY344" fmla="*/ 7667 h 10022"/>
                <a:gd name="connsiteX345" fmla="*/ 4548 w 10000"/>
                <a:gd name="connsiteY345" fmla="*/ 7780 h 10022"/>
                <a:gd name="connsiteX346" fmla="*/ 4561 w 10000"/>
                <a:gd name="connsiteY346" fmla="*/ 7841 h 10022"/>
                <a:gd name="connsiteX347" fmla="*/ 4573 w 10000"/>
                <a:gd name="connsiteY347" fmla="*/ 7895 h 10022"/>
                <a:gd name="connsiteX348" fmla="*/ 4586 w 10000"/>
                <a:gd name="connsiteY348" fmla="*/ 7943 h 10022"/>
                <a:gd name="connsiteX349" fmla="*/ 4611 w 10000"/>
                <a:gd name="connsiteY349" fmla="*/ 7985 h 10022"/>
                <a:gd name="connsiteX350" fmla="*/ 4636 w 10000"/>
                <a:gd name="connsiteY350" fmla="*/ 8028 h 10022"/>
                <a:gd name="connsiteX351" fmla="*/ 4668 w 10000"/>
                <a:gd name="connsiteY351" fmla="*/ 8058 h 10022"/>
                <a:gd name="connsiteX352" fmla="*/ 4705 w 10000"/>
                <a:gd name="connsiteY352" fmla="*/ 8082 h 10022"/>
                <a:gd name="connsiteX353" fmla="*/ 4749 w 10000"/>
                <a:gd name="connsiteY353" fmla="*/ 8094 h 10022"/>
                <a:gd name="connsiteX354" fmla="*/ 4711 w 10000"/>
                <a:gd name="connsiteY354" fmla="*/ 8190 h 10022"/>
                <a:gd name="connsiteX355" fmla="*/ 4668 w 10000"/>
                <a:gd name="connsiteY355" fmla="*/ 8275 h 10022"/>
                <a:gd name="connsiteX356" fmla="*/ 4617 w 10000"/>
                <a:gd name="connsiteY356" fmla="*/ 8353 h 10022"/>
                <a:gd name="connsiteX357" fmla="*/ 4573 w 10000"/>
                <a:gd name="connsiteY357" fmla="*/ 8425 h 10022"/>
                <a:gd name="connsiteX358" fmla="*/ 4523 w 10000"/>
                <a:gd name="connsiteY358" fmla="*/ 8510 h 10022"/>
                <a:gd name="connsiteX359" fmla="*/ 4492 w 10000"/>
                <a:gd name="connsiteY359" fmla="*/ 8588 h 10022"/>
                <a:gd name="connsiteX360" fmla="*/ 4473 w 10000"/>
                <a:gd name="connsiteY360" fmla="*/ 8624 h 10022"/>
                <a:gd name="connsiteX361" fmla="*/ 4467 w 10000"/>
                <a:gd name="connsiteY361" fmla="*/ 8667 h 10022"/>
                <a:gd name="connsiteX362" fmla="*/ 4460 w 10000"/>
                <a:gd name="connsiteY362" fmla="*/ 8715 h 10022"/>
                <a:gd name="connsiteX363" fmla="*/ 4454 w 10000"/>
                <a:gd name="connsiteY363" fmla="*/ 8757 h 10022"/>
                <a:gd name="connsiteX364" fmla="*/ 4460 w 10000"/>
                <a:gd name="connsiteY364" fmla="*/ 8774 h 10022"/>
                <a:gd name="connsiteX365" fmla="*/ 4467 w 10000"/>
                <a:gd name="connsiteY365" fmla="*/ 8786 h 10022"/>
                <a:gd name="connsiteX366" fmla="*/ 4479 w 10000"/>
                <a:gd name="connsiteY366" fmla="*/ 8798 h 10022"/>
                <a:gd name="connsiteX367" fmla="*/ 4504 w 10000"/>
                <a:gd name="connsiteY367" fmla="*/ 8810 h 10022"/>
                <a:gd name="connsiteX368" fmla="*/ 4542 w 10000"/>
                <a:gd name="connsiteY368" fmla="*/ 8834 h 10022"/>
                <a:gd name="connsiteX369" fmla="*/ 4580 w 10000"/>
                <a:gd name="connsiteY369" fmla="*/ 8840 h 10022"/>
                <a:gd name="connsiteX370" fmla="*/ 4580 w 10000"/>
                <a:gd name="connsiteY370" fmla="*/ 9058 h 10022"/>
                <a:gd name="connsiteX371" fmla="*/ 4529 w 10000"/>
                <a:gd name="connsiteY371" fmla="*/ 9143 h 10022"/>
                <a:gd name="connsiteX372" fmla="*/ 4492 w 10000"/>
                <a:gd name="connsiteY372" fmla="*/ 9233 h 10022"/>
                <a:gd name="connsiteX373" fmla="*/ 4460 w 10000"/>
                <a:gd name="connsiteY373" fmla="*/ 9268 h 10022"/>
                <a:gd name="connsiteX374" fmla="*/ 4429 w 10000"/>
                <a:gd name="connsiteY374" fmla="*/ 9293 h 10022"/>
                <a:gd name="connsiteX375" fmla="*/ 4404 w 10000"/>
                <a:gd name="connsiteY375" fmla="*/ 9305 h 10022"/>
                <a:gd name="connsiteX376" fmla="*/ 4385 w 10000"/>
                <a:gd name="connsiteY376" fmla="*/ 9311 h 10022"/>
                <a:gd name="connsiteX377" fmla="*/ 4360 w 10000"/>
                <a:gd name="connsiteY377" fmla="*/ 9317 h 10022"/>
                <a:gd name="connsiteX378" fmla="*/ 4329 w 10000"/>
                <a:gd name="connsiteY378" fmla="*/ 9317 h 10022"/>
                <a:gd name="connsiteX379" fmla="*/ 4329 w 10000"/>
                <a:gd name="connsiteY379" fmla="*/ 9365 h 10022"/>
                <a:gd name="connsiteX380" fmla="*/ 4335 w 10000"/>
                <a:gd name="connsiteY380" fmla="*/ 9425 h 10022"/>
                <a:gd name="connsiteX381" fmla="*/ 4348 w 10000"/>
                <a:gd name="connsiteY381" fmla="*/ 9455 h 10022"/>
                <a:gd name="connsiteX382" fmla="*/ 4354 w 10000"/>
                <a:gd name="connsiteY382" fmla="*/ 9479 h 10022"/>
                <a:gd name="connsiteX383" fmla="*/ 4360 w 10000"/>
                <a:gd name="connsiteY383" fmla="*/ 9498 h 10022"/>
                <a:gd name="connsiteX384" fmla="*/ 4373 w 10000"/>
                <a:gd name="connsiteY384" fmla="*/ 9504 h 10022"/>
                <a:gd name="connsiteX385" fmla="*/ 4210 w 10000"/>
                <a:gd name="connsiteY385" fmla="*/ 9630 h 10022"/>
                <a:gd name="connsiteX386" fmla="*/ 4072 w 10000"/>
                <a:gd name="connsiteY386" fmla="*/ 9734 h 10022"/>
                <a:gd name="connsiteX387" fmla="*/ 4009 w 10000"/>
                <a:gd name="connsiteY387" fmla="*/ 9793 h 10022"/>
                <a:gd name="connsiteX388" fmla="*/ 3952 w 10000"/>
                <a:gd name="connsiteY388" fmla="*/ 9859 h 10022"/>
                <a:gd name="connsiteX389" fmla="*/ 3890 w 10000"/>
                <a:gd name="connsiteY389" fmla="*/ 9938 h 10022"/>
                <a:gd name="connsiteX390" fmla="*/ 3833 w 10000"/>
                <a:gd name="connsiteY390" fmla="*/ 10022 h 10022"/>
                <a:gd name="connsiteX391" fmla="*/ 3733 w 10000"/>
                <a:gd name="connsiteY391" fmla="*/ 9980 h 10022"/>
                <a:gd name="connsiteX392" fmla="*/ 3664 w 10000"/>
                <a:gd name="connsiteY392" fmla="*/ 9938 h 10022"/>
                <a:gd name="connsiteX393" fmla="*/ 3607 w 10000"/>
                <a:gd name="connsiteY393" fmla="*/ 9895 h 10022"/>
                <a:gd name="connsiteX394" fmla="*/ 3563 w 10000"/>
                <a:gd name="connsiteY394" fmla="*/ 9847 h 10022"/>
                <a:gd name="connsiteX395" fmla="*/ 3532 w 10000"/>
                <a:gd name="connsiteY395" fmla="*/ 9787 h 10022"/>
                <a:gd name="connsiteX396" fmla="*/ 3513 w 10000"/>
                <a:gd name="connsiteY396" fmla="*/ 9728 h 10022"/>
                <a:gd name="connsiteX397" fmla="*/ 3482 w 10000"/>
                <a:gd name="connsiteY397" fmla="*/ 9654 h 10022"/>
                <a:gd name="connsiteX398" fmla="*/ 3457 w 10000"/>
                <a:gd name="connsiteY398" fmla="*/ 9582 h 10022"/>
                <a:gd name="connsiteX399" fmla="*/ 3400 w 10000"/>
                <a:gd name="connsiteY399" fmla="*/ 9443 h 10022"/>
                <a:gd name="connsiteX400" fmla="*/ 3325 w 10000"/>
                <a:gd name="connsiteY400" fmla="*/ 9311 h 10022"/>
                <a:gd name="connsiteX401" fmla="*/ 3237 w 10000"/>
                <a:gd name="connsiteY401" fmla="*/ 9173 h 10022"/>
                <a:gd name="connsiteX402" fmla="*/ 3143 w 10000"/>
                <a:gd name="connsiteY402" fmla="*/ 9028 h 10022"/>
                <a:gd name="connsiteX403" fmla="*/ 3049 w 10000"/>
                <a:gd name="connsiteY403" fmla="*/ 8895 h 10022"/>
                <a:gd name="connsiteX404" fmla="*/ 2967 w 10000"/>
                <a:gd name="connsiteY404" fmla="*/ 8763 h 10022"/>
                <a:gd name="connsiteX405" fmla="*/ 2892 w 10000"/>
                <a:gd name="connsiteY405" fmla="*/ 8643 h 10022"/>
                <a:gd name="connsiteX406" fmla="*/ 2829 w 10000"/>
                <a:gd name="connsiteY406" fmla="*/ 8540 h 10022"/>
                <a:gd name="connsiteX407" fmla="*/ 2773 w 10000"/>
                <a:gd name="connsiteY407" fmla="*/ 8425 h 10022"/>
                <a:gd name="connsiteX408" fmla="*/ 2735 w 10000"/>
                <a:gd name="connsiteY408" fmla="*/ 8323 h 10022"/>
                <a:gd name="connsiteX409" fmla="*/ 2698 w 10000"/>
                <a:gd name="connsiteY409" fmla="*/ 8215 h 10022"/>
                <a:gd name="connsiteX410" fmla="*/ 2666 w 10000"/>
                <a:gd name="connsiteY410" fmla="*/ 8106 h 10022"/>
                <a:gd name="connsiteX411" fmla="*/ 2629 w 10000"/>
                <a:gd name="connsiteY411" fmla="*/ 7997 h 10022"/>
                <a:gd name="connsiteX412" fmla="*/ 2597 w 10000"/>
                <a:gd name="connsiteY412" fmla="*/ 7889 h 10022"/>
                <a:gd name="connsiteX413" fmla="*/ 2553 w 10000"/>
                <a:gd name="connsiteY413" fmla="*/ 7768 h 10022"/>
                <a:gd name="connsiteX414" fmla="*/ 2497 w 10000"/>
                <a:gd name="connsiteY414" fmla="*/ 7649 h 10022"/>
                <a:gd name="connsiteX415" fmla="*/ 2359 w 10000"/>
                <a:gd name="connsiteY415" fmla="*/ 7455 h 10022"/>
                <a:gd name="connsiteX416" fmla="*/ 2208 w 10000"/>
                <a:gd name="connsiteY416" fmla="*/ 7274 h 10022"/>
                <a:gd name="connsiteX417" fmla="*/ 2139 w 10000"/>
                <a:gd name="connsiteY417" fmla="*/ 7191 h 10022"/>
                <a:gd name="connsiteX418" fmla="*/ 2070 w 10000"/>
                <a:gd name="connsiteY418" fmla="*/ 7094 h 10022"/>
                <a:gd name="connsiteX419" fmla="*/ 2008 w 10000"/>
                <a:gd name="connsiteY419" fmla="*/ 7004 h 10022"/>
                <a:gd name="connsiteX420" fmla="*/ 1957 w 10000"/>
                <a:gd name="connsiteY420" fmla="*/ 6907 h 10022"/>
                <a:gd name="connsiteX421" fmla="*/ 1888 w 10000"/>
                <a:gd name="connsiteY421" fmla="*/ 6672 h 10022"/>
                <a:gd name="connsiteX422" fmla="*/ 1832 w 10000"/>
                <a:gd name="connsiteY422" fmla="*/ 6455 h 10022"/>
                <a:gd name="connsiteX423" fmla="*/ 1782 w 10000"/>
                <a:gd name="connsiteY423" fmla="*/ 6245 h 10022"/>
                <a:gd name="connsiteX424" fmla="*/ 1757 w 10000"/>
                <a:gd name="connsiteY424" fmla="*/ 6033 h 10022"/>
                <a:gd name="connsiteX425" fmla="*/ 1725 w 10000"/>
                <a:gd name="connsiteY425" fmla="*/ 5828 h 10022"/>
                <a:gd name="connsiteX426" fmla="*/ 1713 w 10000"/>
                <a:gd name="connsiteY426" fmla="*/ 5612 h 10022"/>
                <a:gd name="connsiteX427" fmla="*/ 1706 w 10000"/>
                <a:gd name="connsiteY427" fmla="*/ 5389 h 10022"/>
                <a:gd name="connsiteX428" fmla="*/ 1706 w 10000"/>
                <a:gd name="connsiteY428" fmla="*/ 5166 h 10022"/>
                <a:gd name="connsiteX429" fmla="*/ 1681 w 10000"/>
                <a:gd name="connsiteY429" fmla="*/ 5160 h 10022"/>
                <a:gd name="connsiteX430" fmla="*/ 1650 w 10000"/>
                <a:gd name="connsiteY430" fmla="*/ 5154 h 10022"/>
                <a:gd name="connsiteX431" fmla="*/ 1625 w 10000"/>
                <a:gd name="connsiteY431" fmla="*/ 5148 h 10022"/>
                <a:gd name="connsiteX432" fmla="*/ 1606 w 10000"/>
                <a:gd name="connsiteY432" fmla="*/ 5124 h 10022"/>
                <a:gd name="connsiteX433" fmla="*/ 1581 w 10000"/>
                <a:gd name="connsiteY433" fmla="*/ 5112 h 10022"/>
                <a:gd name="connsiteX434" fmla="*/ 1568 w 10000"/>
                <a:gd name="connsiteY434" fmla="*/ 5094 h 10022"/>
                <a:gd name="connsiteX435" fmla="*/ 1550 w 10000"/>
                <a:gd name="connsiteY435" fmla="*/ 5070 h 10022"/>
                <a:gd name="connsiteX436" fmla="*/ 1543 w 10000"/>
                <a:gd name="connsiteY436" fmla="*/ 5046 h 10022"/>
                <a:gd name="connsiteX437" fmla="*/ 1518 w 10000"/>
                <a:gd name="connsiteY437" fmla="*/ 4997 h 10022"/>
                <a:gd name="connsiteX438" fmla="*/ 1506 w 10000"/>
                <a:gd name="connsiteY438" fmla="*/ 4943 h 10022"/>
                <a:gd name="connsiteX439" fmla="*/ 1499 w 10000"/>
                <a:gd name="connsiteY439" fmla="*/ 4883 h 10022"/>
                <a:gd name="connsiteX440" fmla="*/ 1499 w 10000"/>
                <a:gd name="connsiteY440" fmla="*/ 4829 h 10022"/>
                <a:gd name="connsiteX441" fmla="*/ 1443 w 10000"/>
                <a:gd name="connsiteY441" fmla="*/ 4865 h 10022"/>
                <a:gd name="connsiteX442" fmla="*/ 1405 w 10000"/>
                <a:gd name="connsiteY442" fmla="*/ 4907 h 10022"/>
                <a:gd name="connsiteX443" fmla="*/ 1361 w 10000"/>
                <a:gd name="connsiteY443" fmla="*/ 4949 h 10022"/>
                <a:gd name="connsiteX444" fmla="*/ 1317 w 10000"/>
                <a:gd name="connsiteY444" fmla="*/ 4997 h 10022"/>
                <a:gd name="connsiteX445" fmla="*/ 1261 w 10000"/>
                <a:gd name="connsiteY445" fmla="*/ 5094 h 10022"/>
                <a:gd name="connsiteX446" fmla="*/ 1205 w 10000"/>
                <a:gd name="connsiteY446" fmla="*/ 5196 h 10022"/>
                <a:gd name="connsiteX447" fmla="*/ 1167 w 10000"/>
                <a:gd name="connsiteY447" fmla="*/ 5239 h 10022"/>
                <a:gd name="connsiteX448" fmla="*/ 1142 w 10000"/>
                <a:gd name="connsiteY448" fmla="*/ 5280 h 10022"/>
                <a:gd name="connsiteX449" fmla="*/ 1104 w 10000"/>
                <a:gd name="connsiteY449" fmla="*/ 5322 h 10022"/>
                <a:gd name="connsiteX450" fmla="*/ 1073 w 10000"/>
                <a:gd name="connsiteY450" fmla="*/ 5352 h 10022"/>
                <a:gd name="connsiteX451" fmla="*/ 1029 w 10000"/>
                <a:gd name="connsiteY451" fmla="*/ 5383 h 10022"/>
                <a:gd name="connsiteX452" fmla="*/ 985 w 10000"/>
                <a:gd name="connsiteY452" fmla="*/ 5401 h 10022"/>
                <a:gd name="connsiteX453" fmla="*/ 928 w 10000"/>
                <a:gd name="connsiteY453" fmla="*/ 5413 h 10022"/>
                <a:gd name="connsiteX454" fmla="*/ 872 w 10000"/>
                <a:gd name="connsiteY454" fmla="*/ 5419 h 10022"/>
                <a:gd name="connsiteX455" fmla="*/ 841 w 10000"/>
                <a:gd name="connsiteY455" fmla="*/ 5413 h 10022"/>
                <a:gd name="connsiteX456" fmla="*/ 797 w 10000"/>
                <a:gd name="connsiteY456" fmla="*/ 5401 h 10022"/>
                <a:gd name="connsiteX457" fmla="*/ 753 w 10000"/>
                <a:gd name="connsiteY457" fmla="*/ 5383 h 10022"/>
                <a:gd name="connsiteX458" fmla="*/ 709 w 10000"/>
                <a:gd name="connsiteY458" fmla="*/ 5352 h 10022"/>
                <a:gd name="connsiteX459" fmla="*/ 659 w 10000"/>
                <a:gd name="connsiteY459" fmla="*/ 5316 h 10022"/>
                <a:gd name="connsiteX460" fmla="*/ 609 w 10000"/>
                <a:gd name="connsiteY460" fmla="*/ 5280 h 10022"/>
                <a:gd name="connsiteX461" fmla="*/ 565 w 10000"/>
                <a:gd name="connsiteY461" fmla="*/ 5239 h 10022"/>
                <a:gd name="connsiteX462" fmla="*/ 514 w 10000"/>
                <a:gd name="connsiteY462" fmla="*/ 5190 h 10022"/>
                <a:gd name="connsiteX463" fmla="*/ 471 w 10000"/>
                <a:gd name="connsiteY463" fmla="*/ 5142 h 10022"/>
                <a:gd name="connsiteX464" fmla="*/ 433 w 10000"/>
                <a:gd name="connsiteY464" fmla="*/ 5088 h 10022"/>
                <a:gd name="connsiteX465" fmla="*/ 389 w 10000"/>
                <a:gd name="connsiteY465" fmla="*/ 5034 h 10022"/>
                <a:gd name="connsiteX466" fmla="*/ 358 w 10000"/>
                <a:gd name="connsiteY466" fmla="*/ 4979 h 10022"/>
                <a:gd name="connsiteX467" fmla="*/ 326 w 10000"/>
                <a:gd name="connsiteY467" fmla="*/ 4931 h 10022"/>
                <a:gd name="connsiteX468" fmla="*/ 307 w 10000"/>
                <a:gd name="connsiteY468" fmla="*/ 4883 h 10022"/>
                <a:gd name="connsiteX469" fmla="*/ 295 w 10000"/>
                <a:gd name="connsiteY469" fmla="*/ 4835 h 10022"/>
                <a:gd name="connsiteX470" fmla="*/ 289 w 10000"/>
                <a:gd name="connsiteY470" fmla="*/ 4786 h 10022"/>
                <a:gd name="connsiteX471" fmla="*/ 320 w 10000"/>
                <a:gd name="connsiteY471" fmla="*/ 4768 h 10022"/>
                <a:gd name="connsiteX472" fmla="*/ 395 w 10000"/>
                <a:gd name="connsiteY472" fmla="*/ 4733 h 10022"/>
                <a:gd name="connsiteX473" fmla="*/ 483 w 10000"/>
                <a:gd name="connsiteY473" fmla="*/ 4697 h 10022"/>
                <a:gd name="connsiteX474" fmla="*/ 533 w 10000"/>
                <a:gd name="connsiteY474" fmla="*/ 4679 h 10022"/>
                <a:gd name="connsiteX475" fmla="*/ 483 w 10000"/>
                <a:gd name="connsiteY475" fmla="*/ 4679 h 10022"/>
                <a:gd name="connsiteX476" fmla="*/ 420 w 10000"/>
                <a:gd name="connsiteY476" fmla="*/ 4673 h 10022"/>
                <a:gd name="connsiteX477" fmla="*/ 370 w 10000"/>
                <a:gd name="connsiteY477" fmla="*/ 4661 h 10022"/>
                <a:gd name="connsiteX478" fmla="*/ 320 w 10000"/>
                <a:gd name="connsiteY478" fmla="*/ 4655 h 10022"/>
                <a:gd name="connsiteX479" fmla="*/ 276 w 10000"/>
                <a:gd name="connsiteY479" fmla="*/ 4636 h 10022"/>
                <a:gd name="connsiteX480" fmla="*/ 232 w 10000"/>
                <a:gd name="connsiteY480" fmla="*/ 4624 h 10022"/>
                <a:gd name="connsiteX481" fmla="*/ 188 w 10000"/>
                <a:gd name="connsiteY481" fmla="*/ 4606 h 10022"/>
                <a:gd name="connsiteX482" fmla="*/ 157 w 10000"/>
                <a:gd name="connsiteY482" fmla="*/ 4581 h 10022"/>
                <a:gd name="connsiteX483" fmla="*/ 132 w 10000"/>
                <a:gd name="connsiteY483" fmla="*/ 4557 h 10022"/>
                <a:gd name="connsiteX484" fmla="*/ 100 w 10000"/>
                <a:gd name="connsiteY484" fmla="*/ 4533 h 10022"/>
                <a:gd name="connsiteX485" fmla="*/ 75 w 10000"/>
                <a:gd name="connsiteY485" fmla="*/ 4503 h 10022"/>
                <a:gd name="connsiteX486" fmla="*/ 50 w 10000"/>
                <a:gd name="connsiteY486" fmla="*/ 4479 h 10022"/>
                <a:gd name="connsiteX487" fmla="*/ 19 w 10000"/>
                <a:gd name="connsiteY487" fmla="*/ 4407 h 10022"/>
                <a:gd name="connsiteX488" fmla="*/ 0 w 10000"/>
                <a:gd name="connsiteY488" fmla="*/ 4340 h 10022"/>
                <a:gd name="connsiteX489" fmla="*/ 63 w 10000"/>
                <a:gd name="connsiteY489" fmla="*/ 4292 h 10022"/>
                <a:gd name="connsiteX490" fmla="*/ 132 w 10000"/>
                <a:gd name="connsiteY490" fmla="*/ 4256 h 10022"/>
                <a:gd name="connsiteX491" fmla="*/ 201 w 10000"/>
                <a:gd name="connsiteY491" fmla="*/ 4227 h 10022"/>
                <a:gd name="connsiteX492" fmla="*/ 276 w 10000"/>
                <a:gd name="connsiteY492" fmla="*/ 4203 h 10022"/>
                <a:gd name="connsiteX493" fmla="*/ 420 w 10000"/>
                <a:gd name="connsiteY493" fmla="*/ 4173 h 10022"/>
                <a:gd name="connsiteX494" fmla="*/ 565 w 10000"/>
                <a:gd name="connsiteY494" fmla="*/ 4148 h 10022"/>
                <a:gd name="connsiteX495" fmla="*/ 640 w 10000"/>
                <a:gd name="connsiteY495" fmla="*/ 4136 h 10022"/>
                <a:gd name="connsiteX496" fmla="*/ 709 w 10000"/>
                <a:gd name="connsiteY496" fmla="*/ 4112 h 10022"/>
                <a:gd name="connsiteX497" fmla="*/ 772 w 10000"/>
                <a:gd name="connsiteY497" fmla="*/ 4094 h 10022"/>
                <a:gd name="connsiteX498" fmla="*/ 834 w 10000"/>
                <a:gd name="connsiteY498" fmla="*/ 4064 h 10022"/>
                <a:gd name="connsiteX499" fmla="*/ 891 w 10000"/>
                <a:gd name="connsiteY499" fmla="*/ 4034 h 10022"/>
                <a:gd name="connsiteX500" fmla="*/ 947 w 10000"/>
                <a:gd name="connsiteY500" fmla="*/ 3986 h 10022"/>
                <a:gd name="connsiteX501" fmla="*/ 997 w 10000"/>
                <a:gd name="connsiteY501" fmla="*/ 3931 h 10022"/>
                <a:gd name="connsiteX502" fmla="*/ 1035 w 10000"/>
                <a:gd name="connsiteY502" fmla="*/ 3864 h 10022"/>
                <a:gd name="connsiteX503" fmla="*/ 1010 w 10000"/>
                <a:gd name="connsiteY503" fmla="*/ 3852 h 10022"/>
                <a:gd name="connsiteX504" fmla="*/ 985 w 10000"/>
                <a:gd name="connsiteY504" fmla="*/ 3834 h 10022"/>
                <a:gd name="connsiteX505" fmla="*/ 947 w 10000"/>
                <a:gd name="connsiteY505" fmla="*/ 3810 h 10022"/>
                <a:gd name="connsiteX506" fmla="*/ 910 w 10000"/>
                <a:gd name="connsiteY506" fmla="*/ 3774 h 10022"/>
                <a:gd name="connsiteX507" fmla="*/ 822 w 10000"/>
                <a:gd name="connsiteY507" fmla="*/ 3702 h 10022"/>
                <a:gd name="connsiteX508" fmla="*/ 740 w 10000"/>
                <a:gd name="connsiteY508" fmla="*/ 3618 h 10022"/>
                <a:gd name="connsiteX509" fmla="*/ 665 w 10000"/>
                <a:gd name="connsiteY509" fmla="*/ 3527 h 10022"/>
                <a:gd name="connsiteX510" fmla="*/ 596 w 10000"/>
                <a:gd name="connsiteY510" fmla="*/ 3431 h 10022"/>
                <a:gd name="connsiteX511" fmla="*/ 577 w 10000"/>
                <a:gd name="connsiteY511" fmla="*/ 3389 h 10022"/>
                <a:gd name="connsiteX512" fmla="*/ 558 w 10000"/>
                <a:gd name="connsiteY512" fmla="*/ 3347 h 10022"/>
                <a:gd name="connsiteX513" fmla="*/ 540 w 10000"/>
                <a:gd name="connsiteY513" fmla="*/ 3304 h 10022"/>
                <a:gd name="connsiteX514" fmla="*/ 533 w 10000"/>
                <a:gd name="connsiteY514" fmla="*/ 3268 h 10022"/>
                <a:gd name="connsiteX515" fmla="*/ 508 w 10000"/>
                <a:gd name="connsiteY515" fmla="*/ 3262 h 10022"/>
                <a:gd name="connsiteX516" fmla="*/ 483 w 10000"/>
                <a:gd name="connsiteY516" fmla="*/ 3256 h 10022"/>
                <a:gd name="connsiteX517" fmla="*/ 458 w 10000"/>
                <a:gd name="connsiteY517" fmla="*/ 3244 h 10022"/>
                <a:gd name="connsiteX518" fmla="*/ 439 w 10000"/>
                <a:gd name="connsiteY518" fmla="*/ 3221 h 10022"/>
                <a:gd name="connsiteX519" fmla="*/ 402 w 10000"/>
                <a:gd name="connsiteY519" fmla="*/ 3178 h 10022"/>
                <a:gd name="connsiteX520" fmla="*/ 370 w 10000"/>
                <a:gd name="connsiteY520" fmla="*/ 3118 h 10022"/>
                <a:gd name="connsiteX521" fmla="*/ 370 w 10000"/>
                <a:gd name="connsiteY521" fmla="*/ 2973 h 10022"/>
                <a:gd name="connsiteX522" fmla="*/ 458 w 10000"/>
                <a:gd name="connsiteY522" fmla="*/ 2967 h 10022"/>
                <a:gd name="connsiteX523" fmla="*/ 540 w 10000"/>
                <a:gd name="connsiteY523" fmla="*/ 2961 h 10022"/>
                <a:gd name="connsiteX524" fmla="*/ 615 w 10000"/>
                <a:gd name="connsiteY524" fmla="*/ 2949 h 10022"/>
                <a:gd name="connsiteX525" fmla="*/ 684 w 10000"/>
                <a:gd name="connsiteY525" fmla="*/ 2925 h 10022"/>
                <a:gd name="connsiteX526" fmla="*/ 747 w 10000"/>
                <a:gd name="connsiteY526" fmla="*/ 2907 h 10022"/>
                <a:gd name="connsiteX527" fmla="*/ 809 w 10000"/>
                <a:gd name="connsiteY527" fmla="*/ 2876 h 10022"/>
                <a:gd name="connsiteX528" fmla="*/ 866 w 10000"/>
                <a:gd name="connsiteY528" fmla="*/ 2846 h 10022"/>
                <a:gd name="connsiteX529" fmla="*/ 922 w 10000"/>
                <a:gd name="connsiteY529" fmla="*/ 2810 h 10022"/>
                <a:gd name="connsiteX530" fmla="*/ 966 w 10000"/>
                <a:gd name="connsiteY530" fmla="*/ 2768 h 10022"/>
                <a:gd name="connsiteX531" fmla="*/ 1016 w 10000"/>
                <a:gd name="connsiteY531" fmla="*/ 2727 h 10022"/>
                <a:gd name="connsiteX532" fmla="*/ 1060 w 10000"/>
                <a:gd name="connsiteY532" fmla="*/ 2685 h 10022"/>
                <a:gd name="connsiteX533" fmla="*/ 1098 w 10000"/>
                <a:gd name="connsiteY533" fmla="*/ 2636 h 10022"/>
                <a:gd name="connsiteX534" fmla="*/ 1167 w 10000"/>
                <a:gd name="connsiteY534" fmla="*/ 2540 h 10022"/>
                <a:gd name="connsiteX535" fmla="*/ 1236 w 10000"/>
                <a:gd name="connsiteY535" fmla="*/ 2430 h 10022"/>
                <a:gd name="connsiteX536" fmla="*/ 1355 w 10000"/>
                <a:gd name="connsiteY536" fmla="*/ 2214 h 10022"/>
                <a:gd name="connsiteX537" fmla="*/ 1474 w 10000"/>
                <a:gd name="connsiteY537" fmla="*/ 1997 h 10022"/>
                <a:gd name="connsiteX538" fmla="*/ 1543 w 10000"/>
                <a:gd name="connsiteY538" fmla="*/ 1901 h 10022"/>
                <a:gd name="connsiteX539" fmla="*/ 1612 w 10000"/>
                <a:gd name="connsiteY539" fmla="*/ 1816 h 10022"/>
                <a:gd name="connsiteX540" fmla="*/ 1650 w 10000"/>
                <a:gd name="connsiteY540" fmla="*/ 1767 h 10022"/>
                <a:gd name="connsiteX541" fmla="*/ 1694 w 10000"/>
                <a:gd name="connsiteY541" fmla="*/ 1731 h 10022"/>
                <a:gd name="connsiteX542" fmla="*/ 1738 w 10000"/>
                <a:gd name="connsiteY542" fmla="*/ 1702 h 10022"/>
                <a:gd name="connsiteX543" fmla="*/ 1788 w 10000"/>
                <a:gd name="connsiteY543" fmla="*/ 1672 h 10022"/>
                <a:gd name="connsiteX544" fmla="*/ 1750 w 10000"/>
                <a:gd name="connsiteY544" fmla="*/ 1599 h 10022"/>
                <a:gd name="connsiteX545" fmla="*/ 1719 w 10000"/>
                <a:gd name="connsiteY545" fmla="*/ 1533 h 10022"/>
                <a:gd name="connsiteX546" fmla="*/ 1713 w 10000"/>
                <a:gd name="connsiteY546" fmla="*/ 1503 h 10022"/>
                <a:gd name="connsiteX547" fmla="*/ 1706 w 10000"/>
                <a:gd name="connsiteY547" fmla="*/ 1473 h 10022"/>
                <a:gd name="connsiteX548" fmla="*/ 1706 w 10000"/>
                <a:gd name="connsiteY548" fmla="*/ 1437 h 10022"/>
                <a:gd name="connsiteX549" fmla="*/ 1706 w 10000"/>
                <a:gd name="connsiteY549" fmla="*/ 1407 h 10022"/>
                <a:gd name="connsiteX550" fmla="*/ 1713 w 10000"/>
                <a:gd name="connsiteY550" fmla="*/ 1376 h 10022"/>
                <a:gd name="connsiteX551" fmla="*/ 1719 w 10000"/>
                <a:gd name="connsiteY551" fmla="*/ 1346 h 10022"/>
                <a:gd name="connsiteX552" fmla="*/ 1731 w 10000"/>
                <a:gd name="connsiteY552" fmla="*/ 1322 h 10022"/>
                <a:gd name="connsiteX553" fmla="*/ 1757 w 10000"/>
                <a:gd name="connsiteY553" fmla="*/ 1298 h 10022"/>
                <a:gd name="connsiteX554" fmla="*/ 1775 w 10000"/>
                <a:gd name="connsiteY554" fmla="*/ 1280 h 10022"/>
                <a:gd name="connsiteX555" fmla="*/ 1801 w 10000"/>
                <a:gd name="connsiteY555" fmla="*/ 1262 h 10022"/>
                <a:gd name="connsiteX556" fmla="*/ 1838 w 10000"/>
                <a:gd name="connsiteY556" fmla="*/ 1244 h 10022"/>
                <a:gd name="connsiteX557" fmla="*/ 1870 w 10000"/>
                <a:gd name="connsiteY557" fmla="*/ 1226 h 10022"/>
                <a:gd name="connsiteX558" fmla="*/ 1688 w 10000"/>
                <a:gd name="connsiteY558" fmla="*/ 1064 h 10022"/>
                <a:gd name="connsiteX559" fmla="*/ 1550 w 10000"/>
                <a:gd name="connsiteY559" fmla="*/ 942 h 10022"/>
                <a:gd name="connsiteX560" fmla="*/ 1487 w 10000"/>
                <a:gd name="connsiteY560" fmla="*/ 882 h 10022"/>
                <a:gd name="connsiteX561" fmla="*/ 1424 w 10000"/>
                <a:gd name="connsiteY561" fmla="*/ 816 h 10022"/>
                <a:gd name="connsiteX562" fmla="*/ 1361 w 10000"/>
                <a:gd name="connsiteY562" fmla="*/ 731 h 10022"/>
                <a:gd name="connsiteX563" fmla="*/ 1286 w 10000"/>
                <a:gd name="connsiteY563" fmla="*/ 630 h 10022"/>
                <a:gd name="connsiteX564" fmla="*/ 1286 w 10000"/>
                <a:gd name="connsiteY564" fmla="*/ 371 h 10022"/>
                <a:gd name="connsiteX565" fmla="*/ 1437 w 10000"/>
                <a:gd name="connsiteY565" fmla="*/ 371 h 10022"/>
                <a:gd name="connsiteX566" fmla="*/ 1606 w 10000"/>
                <a:gd name="connsiteY566" fmla="*/ 359 h 10022"/>
                <a:gd name="connsiteX567" fmla="*/ 1694 w 10000"/>
                <a:gd name="connsiteY567" fmla="*/ 353 h 10022"/>
                <a:gd name="connsiteX568" fmla="*/ 1775 w 10000"/>
                <a:gd name="connsiteY568" fmla="*/ 340 h 10022"/>
                <a:gd name="connsiteX569" fmla="*/ 1863 w 10000"/>
                <a:gd name="connsiteY569" fmla="*/ 321 h 10022"/>
                <a:gd name="connsiteX570" fmla="*/ 1945 w 10000"/>
                <a:gd name="connsiteY570" fmla="*/ 303 h 10022"/>
                <a:gd name="connsiteX571" fmla="*/ 2020 w 10000"/>
                <a:gd name="connsiteY571" fmla="*/ 285 h 10022"/>
                <a:gd name="connsiteX572" fmla="*/ 2102 w 10000"/>
                <a:gd name="connsiteY572" fmla="*/ 255 h 10022"/>
                <a:gd name="connsiteX573" fmla="*/ 2177 w 10000"/>
                <a:gd name="connsiteY573" fmla="*/ 225 h 10022"/>
                <a:gd name="connsiteX574" fmla="*/ 2240 w 10000"/>
                <a:gd name="connsiteY574" fmla="*/ 184 h 10022"/>
                <a:gd name="connsiteX575" fmla="*/ 2280 w 10000"/>
                <a:gd name="connsiteY575" fmla="*/ 19 h 10022"/>
                <a:gd name="connsiteX576" fmla="*/ 2385 w 10000"/>
                <a:gd name="connsiteY576" fmla="*/ 27 h 10022"/>
                <a:gd name="connsiteX577" fmla="*/ 2444 w 10000"/>
                <a:gd name="connsiteY577" fmla="*/ 56 h 10022"/>
                <a:gd name="connsiteX578" fmla="*/ 2415 w 10000"/>
                <a:gd name="connsiteY578" fmla="*/ 97 h 10022"/>
                <a:gd name="connsiteX0" fmla="*/ 2690 w 10000"/>
                <a:gd name="connsiteY0" fmla="*/ 109 h 10034"/>
                <a:gd name="connsiteX1" fmla="*/ 2509 w 10000"/>
                <a:gd name="connsiteY1" fmla="*/ 69 h 10034"/>
                <a:gd name="connsiteX2" fmla="*/ 2818 w 10000"/>
                <a:gd name="connsiteY2" fmla="*/ 35 h 10034"/>
                <a:gd name="connsiteX3" fmla="*/ 2776 w 10000"/>
                <a:gd name="connsiteY3" fmla="*/ 117 h 10034"/>
                <a:gd name="connsiteX4" fmla="*/ 2851 w 10000"/>
                <a:gd name="connsiteY4" fmla="*/ 70 h 10034"/>
                <a:gd name="connsiteX5" fmla="*/ 2880 w 10000"/>
                <a:gd name="connsiteY5" fmla="*/ 23 h 10034"/>
                <a:gd name="connsiteX6" fmla="*/ 3155 w 10000"/>
                <a:gd name="connsiteY6" fmla="*/ 100 h 10034"/>
                <a:gd name="connsiteX7" fmla="*/ 3162 w 10000"/>
                <a:gd name="connsiteY7" fmla="*/ 254 h 10034"/>
                <a:gd name="connsiteX8" fmla="*/ 3120 w 10000"/>
                <a:gd name="connsiteY8" fmla="*/ 379 h 10034"/>
                <a:gd name="connsiteX9" fmla="*/ 3152 w 10000"/>
                <a:gd name="connsiteY9" fmla="*/ 442 h 10034"/>
                <a:gd name="connsiteX10" fmla="*/ 3093 w 10000"/>
                <a:gd name="connsiteY10" fmla="*/ 527 h 10034"/>
                <a:gd name="connsiteX11" fmla="*/ 2992 w 10000"/>
                <a:gd name="connsiteY11" fmla="*/ 618 h 10034"/>
                <a:gd name="connsiteX12" fmla="*/ 3043 w 10000"/>
                <a:gd name="connsiteY12" fmla="*/ 642 h 10034"/>
                <a:gd name="connsiteX13" fmla="*/ 3087 w 10000"/>
                <a:gd name="connsiteY13" fmla="*/ 684 h 10034"/>
                <a:gd name="connsiteX14" fmla="*/ 3130 w 10000"/>
                <a:gd name="connsiteY14" fmla="*/ 731 h 10034"/>
                <a:gd name="connsiteX15" fmla="*/ 3174 w 10000"/>
                <a:gd name="connsiteY15" fmla="*/ 780 h 10034"/>
                <a:gd name="connsiteX16" fmla="*/ 3212 w 10000"/>
                <a:gd name="connsiteY16" fmla="*/ 840 h 10034"/>
                <a:gd name="connsiteX17" fmla="*/ 3256 w 10000"/>
                <a:gd name="connsiteY17" fmla="*/ 894 h 10034"/>
                <a:gd name="connsiteX18" fmla="*/ 3281 w 10000"/>
                <a:gd name="connsiteY18" fmla="*/ 954 h 10034"/>
                <a:gd name="connsiteX19" fmla="*/ 3312 w 10000"/>
                <a:gd name="connsiteY19" fmla="*/ 1021 h 10034"/>
                <a:gd name="connsiteX20" fmla="*/ 3331 w 10000"/>
                <a:gd name="connsiteY20" fmla="*/ 1088 h 10034"/>
                <a:gd name="connsiteX21" fmla="*/ 3043 w 10000"/>
                <a:gd name="connsiteY21" fmla="*/ 1088 h 10034"/>
                <a:gd name="connsiteX22" fmla="*/ 3043 w 10000"/>
                <a:gd name="connsiteY22" fmla="*/ 1274 h 10034"/>
                <a:gd name="connsiteX23" fmla="*/ 3074 w 10000"/>
                <a:gd name="connsiteY23" fmla="*/ 1352 h 10034"/>
                <a:gd name="connsiteX24" fmla="*/ 3118 w 10000"/>
                <a:gd name="connsiteY24" fmla="*/ 1419 h 10034"/>
                <a:gd name="connsiteX25" fmla="*/ 3168 w 10000"/>
                <a:gd name="connsiteY25" fmla="*/ 1479 h 10034"/>
                <a:gd name="connsiteX26" fmla="*/ 3225 w 10000"/>
                <a:gd name="connsiteY26" fmla="*/ 1521 h 10034"/>
                <a:gd name="connsiteX27" fmla="*/ 3281 w 10000"/>
                <a:gd name="connsiteY27" fmla="*/ 1563 h 10034"/>
                <a:gd name="connsiteX28" fmla="*/ 3350 w 10000"/>
                <a:gd name="connsiteY28" fmla="*/ 1593 h 10034"/>
                <a:gd name="connsiteX29" fmla="*/ 3413 w 10000"/>
                <a:gd name="connsiteY29" fmla="*/ 1623 h 10034"/>
                <a:gd name="connsiteX30" fmla="*/ 3488 w 10000"/>
                <a:gd name="connsiteY30" fmla="*/ 1648 h 10034"/>
                <a:gd name="connsiteX31" fmla="*/ 3626 w 10000"/>
                <a:gd name="connsiteY31" fmla="*/ 1702 h 10034"/>
                <a:gd name="connsiteX32" fmla="*/ 3764 w 10000"/>
                <a:gd name="connsiteY32" fmla="*/ 1755 h 10034"/>
                <a:gd name="connsiteX33" fmla="*/ 3827 w 10000"/>
                <a:gd name="connsiteY33" fmla="*/ 1792 h 10034"/>
                <a:gd name="connsiteX34" fmla="*/ 3890 w 10000"/>
                <a:gd name="connsiteY34" fmla="*/ 1840 h 10034"/>
                <a:gd name="connsiteX35" fmla="*/ 3946 w 10000"/>
                <a:gd name="connsiteY35" fmla="*/ 1889 h 10034"/>
                <a:gd name="connsiteX36" fmla="*/ 4003 w 10000"/>
                <a:gd name="connsiteY36" fmla="*/ 1943 h 10034"/>
                <a:gd name="connsiteX37" fmla="*/ 3959 w 10000"/>
                <a:gd name="connsiteY37" fmla="*/ 2504 h 10034"/>
                <a:gd name="connsiteX38" fmla="*/ 4034 w 10000"/>
                <a:gd name="connsiteY38" fmla="*/ 2558 h 10034"/>
                <a:gd name="connsiteX39" fmla="*/ 4141 w 10000"/>
                <a:gd name="connsiteY39" fmla="*/ 2624 h 10034"/>
                <a:gd name="connsiteX40" fmla="*/ 4260 w 10000"/>
                <a:gd name="connsiteY40" fmla="*/ 2684 h 10034"/>
                <a:gd name="connsiteX41" fmla="*/ 4398 w 10000"/>
                <a:gd name="connsiteY41" fmla="*/ 2739 h 10034"/>
                <a:gd name="connsiteX42" fmla="*/ 4536 w 10000"/>
                <a:gd name="connsiteY42" fmla="*/ 2792 h 10034"/>
                <a:gd name="connsiteX43" fmla="*/ 4668 w 10000"/>
                <a:gd name="connsiteY43" fmla="*/ 2834 h 10034"/>
                <a:gd name="connsiteX44" fmla="*/ 4724 w 10000"/>
                <a:gd name="connsiteY44" fmla="*/ 2852 h 10034"/>
                <a:gd name="connsiteX45" fmla="*/ 4780 w 10000"/>
                <a:gd name="connsiteY45" fmla="*/ 2864 h 10034"/>
                <a:gd name="connsiteX46" fmla="*/ 4831 w 10000"/>
                <a:gd name="connsiteY46" fmla="*/ 2870 h 10034"/>
                <a:gd name="connsiteX47" fmla="*/ 4875 w 10000"/>
                <a:gd name="connsiteY47" fmla="*/ 2870 h 10034"/>
                <a:gd name="connsiteX48" fmla="*/ 4887 w 10000"/>
                <a:gd name="connsiteY48" fmla="*/ 2913 h 10034"/>
                <a:gd name="connsiteX49" fmla="*/ 4918 w 10000"/>
                <a:gd name="connsiteY49" fmla="*/ 2949 h 10034"/>
                <a:gd name="connsiteX50" fmla="*/ 4950 w 10000"/>
                <a:gd name="connsiteY50" fmla="*/ 2967 h 10034"/>
                <a:gd name="connsiteX51" fmla="*/ 4987 w 10000"/>
                <a:gd name="connsiteY51" fmla="*/ 2979 h 10034"/>
                <a:gd name="connsiteX52" fmla="*/ 5019 w 10000"/>
                <a:gd name="connsiteY52" fmla="*/ 2991 h 10034"/>
                <a:gd name="connsiteX53" fmla="*/ 5063 w 10000"/>
                <a:gd name="connsiteY53" fmla="*/ 2991 h 10034"/>
                <a:gd name="connsiteX54" fmla="*/ 5107 w 10000"/>
                <a:gd name="connsiteY54" fmla="*/ 2985 h 10034"/>
                <a:gd name="connsiteX55" fmla="*/ 5157 w 10000"/>
                <a:gd name="connsiteY55" fmla="*/ 2979 h 10034"/>
                <a:gd name="connsiteX56" fmla="*/ 5245 w 10000"/>
                <a:gd name="connsiteY56" fmla="*/ 2961 h 10034"/>
                <a:gd name="connsiteX57" fmla="*/ 5345 w 10000"/>
                <a:gd name="connsiteY57" fmla="*/ 2937 h 10034"/>
                <a:gd name="connsiteX58" fmla="*/ 5383 w 10000"/>
                <a:gd name="connsiteY58" fmla="*/ 2937 h 10034"/>
                <a:gd name="connsiteX59" fmla="*/ 5427 w 10000"/>
                <a:gd name="connsiteY59" fmla="*/ 2931 h 10034"/>
                <a:gd name="connsiteX60" fmla="*/ 5464 w 10000"/>
                <a:gd name="connsiteY60" fmla="*/ 2937 h 10034"/>
                <a:gd name="connsiteX61" fmla="*/ 5502 w 10000"/>
                <a:gd name="connsiteY61" fmla="*/ 2943 h 10034"/>
                <a:gd name="connsiteX62" fmla="*/ 5558 w 10000"/>
                <a:gd name="connsiteY62" fmla="*/ 2979 h 10034"/>
                <a:gd name="connsiteX63" fmla="*/ 5596 w 10000"/>
                <a:gd name="connsiteY63" fmla="*/ 3009 h 10034"/>
                <a:gd name="connsiteX64" fmla="*/ 5634 w 10000"/>
                <a:gd name="connsiteY64" fmla="*/ 3051 h 10034"/>
                <a:gd name="connsiteX65" fmla="*/ 5665 w 10000"/>
                <a:gd name="connsiteY65" fmla="*/ 3087 h 10034"/>
                <a:gd name="connsiteX66" fmla="*/ 5696 w 10000"/>
                <a:gd name="connsiteY66" fmla="*/ 3124 h 10034"/>
                <a:gd name="connsiteX67" fmla="*/ 5734 w 10000"/>
                <a:gd name="connsiteY67" fmla="*/ 3160 h 10034"/>
                <a:gd name="connsiteX68" fmla="*/ 5759 w 10000"/>
                <a:gd name="connsiteY68" fmla="*/ 3178 h 10034"/>
                <a:gd name="connsiteX69" fmla="*/ 5778 w 10000"/>
                <a:gd name="connsiteY69" fmla="*/ 3190 h 10034"/>
                <a:gd name="connsiteX70" fmla="*/ 5803 w 10000"/>
                <a:gd name="connsiteY70" fmla="*/ 3202 h 10034"/>
                <a:gd name="connsiteX71" fmla="*/ 5834 w 10000"/>
                <a:gd name="connsiteY71" fmla="*/ 3208 h 10034"/>
                <a:gd name="connsiteX72" fmla="*/ 5935 w 10000"/>
                <a:gd name="connsiteY72" fmla="*/ 3227 h 10034"/>
                <a:gd name="connsiteX73" fmla="*/ 6073 w 10000"/>
                <a:gd name="connsiteY73" fmla="*/ 3262 h 10034"/>
                <a:gd name="connsiteX74" fmla="*/ 6230 w 10000"/>
                <a:gd name="connsiteY74" fmla="*/ 3298 h 10034"/>
                <a:gd name="connsiteX75" fmla="*/ 6405 w 10000"/>
                <a:gd name="connsiteY75" fmla="*/ 3341 h 10034"/>
                <a:gd name="connsiteX76" fmla="*/ 6568 w 10000"/>
                <a:gd name="connsiteY76" fmla="*/ 3371 h 10034"/>
                <a:gd name="connsiteX77" fmla="*/ 6719 w 10000"/>
                <a:gd name="connsiteY77" fmla="*/ 3395 h 10034"/>
                <a:gd name="connsiteX78" fmla="*/ 6788 w 10000"/>
                <a:gd name="connsiteY78" fmla="*/ 3401 h 10034"/>
                <a:gd name="connsiteX79" fmla="*/ 6838 w 10000"/>
                <a:gd name="connsiteY79" fmla="*/ 3407 h 10034"/>
                <a:gd name="connsiteX80" fmla="*/ 6888 w 10000"/>
                <a:gd name="connsiteY80" fmla="*/ 3401 h 10034"/>
                <a:gd name="connsiteX81" fmla="*/ 6913 w 10000"/>
                <a:gd name="connsiteY81" fmla="*/ 3389 h 10034"/>
                <a:gd name="connsiteX82" fmla="*/ 6888 w 10000"/>
                <a:gd name="connsiteY82" fmla="*/ 3347 h 10034"/>
                <a:gd name="connsiteX83" fmla="*/ 6857 w 10000"/>
                <a:gd name="connsiteY83" fmla="*/ 3298 h 10034"/>
                <a:gd name="connsiteX84" fmla="*/ 6838 w 10000"/>
                <a:gd name="connsiteY84" fmla="*/ 3250 h 10034"/>
                <a:gd name="connsiteX85" fmla="*/ 6826 w 10000"/>
                <a:gd name="connsiteY85" fmla="*/ 3196 h 10034"/>
                <a:gd name="connsiteX86" fmla="*/ 6794 w 10000"/>
                <a:gd name="connsiteY86" fmla="*/ 3105 h 10034"/>
                <a:gd name="connsiteX87" fmla="*/ 6788 w 10000"/>
                <a:gd name="connsiteY87" fmla="*/ 3057 h 10034"/>
                <a:gd name="connsiteX88" fmla="*/ 6788 w 10000"/>
                <a:gd name="connsiteY88" fmla="*/ 2870 h 10034"/>
                <a:gd name="connsiteX89" fmla="*/ 6788 w 10000"/>
                <a:gd name="connsiteY89" fmla="*/ 2684 h 10034"/>
                <a:gd name="connsiteX90" fmla="*/ 6995 w 10000"/>
                <a:gd name="connsiteY90" fmla="*/ 2684 h 10034"/>
                <a:gd name="connsiteX91" fmla="*/ 7033 w 10000"/>
                <a:gd name="connsiteY91" fmla="*/ 2750 h 10034"/>
                <a:gd name="connsiteX92" fmla="*/ 7058 w 10000"/>
                <a:gd name="connsiteY92" fmla="*/ 2792 h 10034"/>
                <a:gd name="connsiteX93" fmla="*/ 7095 w 10000"/>
                <a:gd name="connsiteY93" fmla="*/ 2828 h 10034"/>
                <a:gd name="connsiteX94" fmla="*/ 7127 w 10000"/>
                <a:gd name="connsiteY94" fmla="*/ 2870 h 10034"/>
                <a:gd name="connsiteX95" fmla="*/ 7120 w 10000"/>
                <a:gd name="connsiteY95" fmla="*/ 2967 h 10034"/>
                <a:gd name="connsiteX96" fmla="*/ 7102 w 10000"/>
                <a:gd name="connsiteY96" fmla="*/ 3027 h 10034"/>
                <a:gd name="connsiteX97" fmla="*/ 7089 w 10000"/>
                <a:gd name="connsiteY97" fmla="*/ 3075 h 10034"/>
                <a:gd name="connsiteX98" fmla="*/ 7077 w 10000"/>
                <a:gd name="connsiteY98" fmla="*/ 3130 h 10034"/>
                <a:gd name="connsiteX99" fmla="*/ 7208 w 10000"/>
                <a:gd name="connsiteY99" fmla="*/ 3166 h 10034"/>
                <a:gd name="connsiteX100" fmla="*/ 7334 w 10000"/>
                <a:gd name="connsiteY100" fmla="*/ 3202 h 10034"/>
                <a:gd name="connsiteX101" fmla="*/ 7396 w 10000"/>
                <a:gd name="connsiteY101" fmla="*/ 3221 h 10034"/>
                <a:gd name="connsiteX102" fmla="*/ 7459 w 10000"/>
                <a:gd name="connsiteY102" fmla="*/ 3233 h 10034"/>
                <a:gd name="connsiteX103" fmla="*/ 7522 w 10000"/>
                <a:gd name="connsiteY103" fmla="*/ 3239 h 10034"/>
                <a:gd name="connsiteX104" fmla="*/ 7585 w 10000"/>
                <a:gd name="connsiteY104" fmla="*/ 3244 h 10034"/>
                <a:gd name="connsiteX105" fmla="*/ 7591 w 10000"/>
                <a:gd name="connsiteY105" fmla="*/ 3268 h 10034"/>
                <a:gd name="connsiteX106" fmla="*/ 7604 w 10000"/>
                <a:gd name="connsiteY106" fmla="*/ 3292 h 10034"/>
                <a:gd name="connsiteX107" fmla="*/ 7622 w 10000"/>
                <a:gd name="connsiteY107" fmla="*/ 3310 h 10034"/>
                <a:gd name="connsiteX108" fmla="*/ 7654 w 10000"/>
                <a:gd name="connsiteY108" fmla="*/ 3328 h 10034"/>
                <a:gd name="connsiteX109" fmla="*/ 7704 w 10000"/>
                <a:gd name="connsiteY109" fmla="*/ 3347 h 10034"/>
                <a:gd name="connsiteX110" fmla="*/ 7748 w 10000"/>
                <a:gd name="connsiteY110" fmla="*/ 3353 h 10034"/>
                <a:gd name="connsiteX111" fmla="*/ 7798 w 10000"/>
                <a:gd name="connsiteY111" fmla="*/ 3353 h 10034"/>
                <a:gd name="connsiteX112" fmla="*/ 7836 w 10000"/>
                <a:gd name="connsiteY112" fmla="*/ 3341 h 10034"/>
                <a:gd name="connsiteX113" fmla="*/ 7880 w 10000"/>
                <a:gd name="connsiteY113" fmla="*/ 3322 h 10034"/>
                <a:gd name="connsiteX114" fmla="*/ 7911 w 10000"/>
                <a:gd name="connsiteY114" fmla="*/ 3304 h 10034"/>
                <a:gd name="connsiteX115" fmla="*/ 7949 w 10000"/>
                <a:gd name="connsiteY115" fmla="*/ 3280 h 10034"/>
                <a:gd name="connsiteX116" fmla="*/ 7980 w 10000"/>
                <a:gd name="connsiteY116" fmla="*/ 3250 h 10034"/>
                <a:gd name="connsiteX117" fmla="*/ 8011 w 10000"/>
                <a:gd name="connsiteY117" fmla="*/ 3221 h 10034"/>
                <a:gd name="connsiteX118" fmla="*/ 8036 w 10000"/>
                <a:gd name="connsiteY118" fmla="*/ 3190 h 10034"/>
                <a:gd name="connsiteX119" fmla="*/ 8087 w 10000"/>
                <a:gd name="connsiteY119" fmla="*/ 3111 h 10034"/>
                <a:gd name="connsiteX120" fmla="*/ 8118 w 10000"/>
                <a:gd name="connsiteY120" fmla="*/ 3039 h 10034"/>
                <a:gd name="connsiteX121" fmla="*/ 8149 w 10000"/>
                <a:gd name="connsiteY121" fmla="*/ 2973 h 10034"/>
                <a:gd name="connsiteX122" fmla="*/ 8168 w 10000"/>
                <a:gd name="connsiteY122" fmla="*/ 2907 h 10034"/>
                <a:gd name="connsiteX123" fmla="*/ 8231 w 10000"/>
                <a:gd name="connsiteY123" fmla="*/ 2840 h 10034"/>
                <a:gd name="connsiteX124" fmla="*/ 8294 w 10000"/>
                <a:gd name="connsiteY124" fmla="*/ 2774 h 10034"/>
                <a:gd name="connsiteX125" fmla="*/ 8363 w 10000"/>
                <a:gd name="connsiteY125" fmla="*/ 2721 h 10034"/>
                <a:gd name="connsiteX126" fmla="*/ 8432 w 10000"/>
                <a:gd name="connsiteY126" fmla="*/ 2660 h 10034"/>
                <a:gd name="connsiteX127" fmla="*/ 8507 w 10000"/>
                <a:gd name="connsiteY127" fmla="*/ 2612 h 10034"/>
                <a:gd name="connsiteX128" fmla="*/ 8576 w 10000"/>
                <a:gd name="connsiteY128" fmla="*/ 2564 h 10034"/>
                <a:gd name="connsiteX129" fmla="*/ 8651 w 10000"/>
                <a:gd name="connsiteY129" fmla="*/ 2522 h 10034"/>
                <a:gd name="connsiteX130" fmla="*/ 8726 w 10000"/>
                <a:gd name="connsiteY130" fmla="*/ 2478 h 10034"/>
                <a:gd name="connsiteX131" fmla="*/ 8808 w 10000"/>
                <a:gd name="connsiteY131" fmla="*/ 2436 h 10034"/>
                <a:gd name="connsiteX132" fmla="*/ 8890 w 10000"/>
                <a:gd name="connsiteY132" fmla="*/ 2400 h 10034"/>
                <a:gd name="connsiteX133" fmla="*/ 8971 w 10000"/>
                <a:gd name="connsiteY133" fmla="*/ 2370 h 10034"/>
                <a:gd name="connsiteX134" fmla="*/ 9059 w 10000"/>
                <a:gd name="connsiteY134" fmla="*/ 2340 h 10034"/>
                <a:gd name="connsiteX135" fmla="*/ 9235 w 10000"/>
                <a:gd name="connsiteY135" fmla="*/ 2286 h 10034"/>
                <a:gd name="connsiteX136" fmla="*/ 9417 w 10000"/>
                <a:gd name="connsiteY136" fmla="*/ 2243 h 10034"/>
                <a:gd name="connsiteX137" fmla="*/ 9454 w 10000"/>
                <a:gd name="connsiteY137" fmla="*/ 2292 h 10034"/>
                <a:gd name="connsiteX138" fmla="*/ 9504 w 10000"/>
                <a:gd name="connsiteY138" fmla="*/ 2352 h 10034"/>
                <a:gd name="connsiteX139" fmla="*/ 9573 w 10000"/>
                <a:gd name="connsiteY139" fmla="*/ 2418 h 10034"/>
                <a:gd name="connsiteX140" fmla="*/ 9642 w 10000"/>
                <a:gd name="connsiteY140" fmla="*/ 2491 h 10034"/>
                <a:gd name="connsiteX141" fmla="*/ 9718 w 10000"/>
                <a:gd name="connsiteY141" fmla="*/ 2552 h 10034"/>
                <a:gd name="connsiteX142" fmla="*/ 9799 w 10000"/>
                <a:gd name="connsiteY142" fmla="*/ 2600 h 10034"/>
                <a:gd name="connsiteX143" fmla="*/ 9837 w 10000"/>
                <a:gd name="connsiteY143" fmla="*/ 2624 h 10034"/>
                <a:gd name="connsiteX144" fmla="*/ 9875 w 10000"/>
                <a:gd name="connsiteY144" fmla="*/ 2636 h 10034"/>
                <a:gd name="connsiteX145" fmla="*/ 9918 w 10000"/>
                <a:gd name="connsiteY145" fmla="*/ 2648 h 10034"/>
                <a:gd name="connsiteX146" fmla="*/ 9956 w 10000"/>
                <a:gd name="connsiteY146" fmla="*/ 2648 h 10034"/>
                <a:gd name="connsiteX147" fmla="*/ 10000 w 10000"/>
                <a:gd name="connsiteY147" fmla="*/ 2576 h 10034"/>
                <a:gd name="connsiteX148" fmla="*/ 9975 w 10000"/>
                <a:gd name="connsiteY148" fmla="*/ 2703 h 10034"/>
                <a:gd name="connsiteX149" fmla="*/ 9944 w 10000"/>
                <a:gd name="connsiteY149" fmla="*/ 2846 h 10034"/>
                <a:gd name="connsiteX150" fmla="*/ 9931 w 10000"/>
                <a:gd name="connsiteY150" fmla="*/ 2913 h 10034"/>
                <a:gd name="connsiteX151" fmla="*/ 9906 w 10000"/>
                <a:gd name="connsiteY151" fmla="*/ 2973 h 10034"/>
                <a:gd name="connsiteX152" fmla="*/ 9887 w 10000"/>
                <a:gd name="connsiteY152" fmla="*/ 2997 h 10034"/>
                <a:gd name="connsiteX153" fmla="*/ 9875 w 10000"/>
                <a:gd name="connsiteY153" fmla="*/ 3021 h 10034"/>
                <a:gd name="connsiteX154" fmla="*/ 9856 w 10000"/>
                <a:gd name="connsiteY154" fmla="*/ 3039 h 10034"/>
                <a:gd name="connsiteX155" fmla="*/ 9837 w 10000"/>
                <a:gd name="connsiteY155" fmla="*/ 3057 h 10034"/>
                <a:gd name="connsiteX156" fmla="*/ 9749 w 10000"/>
                <a:gd name="connsiteY156" fmla="*/ 3075 h 10034"/>
                <a:gd name="connsiteX157" fmla="*/ 9605 w 10000"/>
                <a:gd name="connsiteY157" fmla="*/ 3124 h 10034"/>
                <a:gd name="connsiteX158" fmla="*/ 9536 w 10000"/>
                <a:gd name="connsiteY158" fmla="*/ 3166 h 10034"/>
                <a:gd name="connsiteX159" fmla="*/ 9479 w 10000"/>
                <a:gd name="connsiteY159" fmla="*/ 3202 h 10034"/>
                <a:gd name="connsiteX160" fmla="*/ 9448 w 10000"/>
                <a:gd name="connsiteY160" fmla="*/ 3221 h 10034"/>
                <a:gd name="connsiteX161" fmla="*/ 9435 w 10000"/>
                <a:gd name="connsiteY161" fmla="*/ 3239 h 10034"/>
                <a:gd name="connsiteX162" fmla="*/ 9423 w 10000"/>
                <a:gd name="connsiteY162" fmla="*/ 3262 h 10034"/>
                <a:gd name="connsiteX163" fmla="*/ 9417 w 10000"/>
                <a:gd name="connsiteY163" fmla="*/ 3280 h 10034"/>
                <a:gd name="connsiteX164" fmla="*/ 9423 w 10000"/>
                <a:gd name="connsiteY164" fmla="*/ 3491 h 10034"/>
                <a:gd name="connsiteX165" fmla="*/ 9417 w 10000"/>
                <a:gd name="connsiteY165" fmla="*/ 3732 h 10034"/>
                <a:gd name="connsiteX166" fmla="*/ 9398 w 10000"/>
                <a:gd name="connsiteY166" fmla="*/ 3792 h 10034"/>
                <a:gd name="connsiteX167" fmla="*/ 9391 w 10000"/>
                <a:gd name="connsiteY167" fmla="*/ 3858 h 10034"/>
                <a:gd name="connsiteX168" fmla="*/ 9379 w 10000"/>
                <a:gd name="connsiteY168" fmla="*/ 3912 h 10034"/>
                <a:gd name="connsiteX169" fmla="*/ 9366 w 10000"/>
                <a:gd name="connsiteY169" fmla="*/ 3967 h 10034"/>
                <a:gd name="connsiteX170" fmla="*/ 9348 w 10000"/>
                <a:gd name="connsiteY170" fmla="*/ 4016 h 10034"/>
                <a:gd name="connsiteX171" fmla="*/ 9316 w 10000"/>
                <a:gd name="connsiteY171" fmla="*/ 4064 h 10034"/>
                <a:gd name="connsiteX172" fmla="*/ 9285 w 10000"/>
                <a:gd name="connsiteY172" fmla="*/ 4100 h 10034"/>
                <a:gd name="connsiteX173" fmla="*/ 9247 w 10000"/>
                <a:gd name="connsiteY173" fmla="*/ 4130 h 10034"/>
                <a:gd name="connsiteX174" fmla="*/ 9228 w 10000"/>
                <a:gd name="connsiteY174" fmla="*/ 4148 h 10034"/>
                <a:gd name="connsiteX175" fmla="*/ 9184 w 10000"/>
                <a:gd name="connsiteY175" fmla="*/ 4154 h 10034"/>
                <a:gd name="connsiteX176" fmla="*/ 9141 w 10000"/>
                <a:gd name="connsiteY176" fmla="*/ 4160 h 10034"/>
                <a:gd name="connsiteX177" fmla="*/ 9090 w 10000"/>
                <a:gd name="connsiteY177" fmla="*/ 4166 h 10034"/>
                <a:gd name="connsiteX178" fmla="*/ 9040 w 10000"/>
                <a:gd name="connsiteY178" fmla="*/ 4172 h 10034"/>
                <a:gd name="connsiteX179" fmla="*/ 8996 w 10000"/>
                <a:gd name="connsiteY179" fmla="*/ 4191 h 10034"/>
                <a:gd name="connsiteX180" fmla="*/ 8977 w 10000"/>
                <a:gd name="connsiteY180" fmla="*/ 4197 h 10034"/>
                <a:gd name="connsiteX181" fmla="*/ 8965 w 10000"/>
                <a:gd name="connsiteY181" fmla="*/ 4215 h 10034"/>
                <a:gd name="connsiteX182" fmla="*/ 8959 w 10000"/>
                <a:gd name="connsiteY182" fmla="*/ 4227 h 10034"/>
                <a:gd name="connsiteX183" fmla="*/ 8959 w 10000"/>
                <a:gd name="connsiteY183" fmla="*/ 4245 h 10034"/>
                <a:gd name="connsiteX184" fmla="*/ 8952 w 10000"/>
                <a:gd name="connsiteY184" fmla="*/ 4316 h 10034"/>
                <a:gd name="connsiteX185" fmla="*/ 8952 w 10000"/>
                <a:gd name="connsiteY185" fmla="*/ 4401 h 10034"/>
                <a:gd name="connsiteX186" fmla="*/ 8940 w 10000"/>
                <a:gd name="connsiteY186" fmla="*/ 4491 h 10034"/>
                <a:gd name="connsiteX187" fmla="*/ 8927 w 10000"/>
                <a:gd name="connsiteY187" fmla="*/ 4575 h 10034"/>
                <a:gd name="connsiteX188" fmla="*/ 8908 w 10000"/>
                <a:gd name="connsiteY188" fmla="*/ 4661 h 10034"/>
                <a:gd name="connsiteX189" fmla="*/ 8890 w 10000"/>
                <a:gd name="connsiteY189" fmla="*/ 4739 h 10034"/>
                <a:gd name="connsiteX190" fmla="*/ 8864 w 10000"/>
                <a:gd name="connsiteY190" fmla="*/ 4810 h 10034"/>
                <a:gd name="connsiteX191" fmla="*/ 8833 w 10000"/>
                <a:gd name="connsiteY191" fmla="*/ 4877 h 10034"/>
                <a:gd name="connsiteX192" fmla="*/ 8538 w 10000"/>
                <a:gd name="connsiteY192" fmla="*/ 4388 h 10034"/>
                <a:gd name="connsiteX193" fmla="*/ 8526 w 10000"/>
                <a:gd name="connsiteY193" fmla="*/ 4413 h 10034"/>
                <a:gd name="connsiteX194" fmla="*/ 8494 w 10000"/>
                <a:gd name="connsiteY194" fmla="*/ 4467 h 10034"/>
                <a:gd name="connsiteX195" fmla="*/ 8463 w 10000"/>
                <a:gd name="connsiteY195" fmla="*/ 4497 h 10034"/>
                <a:gd name="connsiteX196" fmla="*/ 8438 w 10000"/>
                <a:gd name="connsiteY196" fmla="*/ 4521 h 10034"/>
                <a:gd name="connsiteX197" fmla="*/ 8407 w 10000"/>
                <a:gd name="connsiteY197" fmla="*/ 4539 h 10034"/>
                <a:gd name="connsiteX198" fmla="*/ 8375 w 10000"/>
                <a:gd name="connsiteY198" fmla="*/ 4545 h 10034"/>
                <a:gd name="connsiteX199" fmla="*/ 8338 w 10000"/>
                <a:gd name="connsiteY199" fmla="*/ 4539 h 10034"/>
                <a:gd name="connsiteX200" fmla="*/ 8312 w 10000"/>
                <a:gd name="connsiteY200" fmla="*/ 4533 h 10034"/>
                <a:gd name="connsiteX201" fmla="*/ 8287 w 10000"/>
                <a:gd name="connsiteY201" fmla="*/ 4515 h 10034"/>
                <a:gd name="connsiteX202" fmla="*/ 8256 w 10000"/>
                <a:gd name="connsiteY202" fmla="*/ 4497 h 10034"/>
                <a:gd name="connsiteX203" fmla="*/ 8237 w 10000"/>
                <a:gd name="connsiteY203" fmla="*/ 4467 h 10034"/>
                <a:gd name="connsiteX204" fmla="*/ 8225 w 10000"/>
                <a:gd name="connsiteY204" fmla="*/ 4443 h 10034"/>
                <a:gd name="connsiteX205" fmla="*/ 8206 w 10000"/>
                <a:gd name="connsiteY205" fmla="*/ 4419 h 10034"/>
                <a:gd name="connsiteX206" fmla="*/ 8206 w 10000"/>
                <a:gd name="connsiteY206" fmla="*/ 4388 h 10034"/>
                <a:gd name="connsiteX207" fmla="*/ 8206 w 10000"/>
                <a:gd name="connsiteY207" fmla="*/ 4352 h 10034"/>
                <a:gd name="connsiteX208" fmla="*/ 8225 w 10000"/>
                <a:gd name="connsiteY208" fmla="*/ 4316 h 10034"/>
                <a:gd name="connsiteX209" fmla="*/ 8237 w 10000"/>
                <a:gd name="connsiteY209" fmla="*/ 4280 h 10034"/>
                <a:gd name="connsiteX210" fmla="*/ 8250 w 10000"/>
                <a:gd name="connsiteY210" fmla="*/ 4245 h 10034"/>
                <a:gd name="connsiteX211" fmla="*/ 8300 w 10000"/>
                <a:gd name="connsiteY211" fmla="*/ 4178 h 10034"/>
                <a:gd name="connsiteX212" fmla="*/ 8356 w 10000"/>
                <a:gd name="connsiteY212" fmla="*/ 4112 h 10034"/>
                <a:gd name="connsiteX213" fmla="*/ 8407 w 10000"/>
                <a:gd name="connsiteY213" fmla="*/ 4052 h 10034"/>
                <a:gd name="connsiteX214" fmla="*/ 8457 w 10000"/>
                <a:gd name="connsiteY214" fmla="*/ 3986 h 10034"/>
                <a:gd name="connsiteX215" fmla="*/ 8469 w 10000"/>
                <a:gd name="connsiteY215" fmla="*/ 3949 h 10034"/>
                <a:gd name="connsiteX216" fmla="*/ 8482 w 10000"/>
                <a:gd name="connsiteY216" fmla="*/ 3918 h 10034"/>
                <a:gd name="connsiteX217" fmla="*/ 8501 w 10000"/>
                <a:gd name="connsiteY217" fmla="*/ 3876 h 10034"/>
                <a:gd name="connsiteX218" fmla="*/ 8501 w 10000"/>
                <a:gd name="connsiteY218" fmla="*/ 3840 h 10034"/>
                <a:gd name="connsiteX219" fmla="*/ 7748 w 10000"/>
                <a:gd name="connsiteY219" fmla="*/ 3840 h 10034"/>
                <a:gd name="connsiteX220" fmla="*/ 7723 w 10000"/>
                <a:gd name="connsiteY220" fmla="*/ 3834 h 10034"/>
                <a:gd name="connsiteX221" fmla="*/ 7685 w 10000"/>
                <a:gd name="connsiteY221" fmla="*/ 3816 h 10034"/>
                <a:gd name="connsiteX222" fmla="*/ 7660 w 10000"/>
                <a:gd name="connsiteY222" fmla="*/ 3780 h 10034"/>
                <a:gd name="connsiteX223" fmla="*/ 7635 w 10000"/>
                <a:gd name="connsiteY223" fmla="*/ 3744 h 10034"/>
                <a:gd name="connsiteX224" fmla="*/ 7616 w 10000"/>
                <a:gd name="connsiteY224" fmla="*/ 3696 h 10034"/>
                <a:gd name="connsiteX225" fmla="*/ 7597 w 10000"/>
                <a:gd name="connsiteY225" fmla="*/ 3648 h 10034"/>
                <a:gd name="connsiteX226" fmla="*/ 7591 w 10000"/>
                <a:gd name="connsiteY226" fmla="*/ 3594 h 10034"/>
                <a:gd name="connsiteX227" fmla="*/ 7585 w 10000"/>
                <a:gd name="connsiteY227" fmla="*/ 3539 h 10034"/>
                <a:gd name="connsiteX228" fmla="*/ 7547 w 10000"/>
                <a:gd name="connsiteY228" fmla="*/ 3539 h 10034"/>
                <a:gd name="connsiteX229" fmla="*/ 7516 w 10000"/>
                <a:gd name="connsiteY229" fmla="*/ 3533 h 10034"/>
                <a:gd name="connsiteX230" fmla="*/ 7478 w 10000"/>
                <a:gd name="connsiteY230" fmla="*/ 3527 h 10034"/>
                <a:gd name="connsiteX231" fmla="*/ 7447 w 10000"/>
                <a:gd name="connsiteY231" fmla="*/ 3515 h 10034"/>
                <a:gd name="connsiteX232" fmla="*/ 7415 w 10000"/>
                <a:gd name="connsiteY232" fmla="*/ 3497 h 10034"/>
                <a:gd name="connsiteX233" fmla="*/ 7396 w 10000"/>
                <a:gd name="connsiteY233" fmla="*/ 3479 h 10034"/>
                <a:gd name="connsiteX234" fmla="*/ 7384 w 10000"/>
                <a:gd name="connsiteY234" fmla="*/ 3449 h 10034"/>
                <a:gd name="connsiteX235" fmla="*/ 7378 w 10000"/>
                <a:gd name="connsiteY235" fmla="*/ 3425 h 10034"/>
                <a:gd name="connsiteX236" fmla="*/ 7321 w 10000"/>
                <a:gd name="connsiteY236" fmla="*/ 3425 h 10034"/>
                <a:gd name="connsiteX237" fmla="*/ 7271 w 10000"/>
                <a:gd name="connsiteY237" fmla="*/ 3425 h 10034"/>
                <a:gd name="connsiteX238" fmla="*/ 7221 w 10000"/>
                <a:gd name="connsiteY238" fmla="*/ 3425 h 10034"/>
                <a:gd name="connsiteX239" fmla="*/ 7171 w 10000"/>
                <a:gd name="connsiteY239" fmla="*/ 3425 h 10034"/>
                <a:gd name="connsiteX240" fmla="*/ 7127 w 10000"/>
                <a:gd name="connsiteY240" fmla="*/ 3431 h 10034"/>
                <a:gd name="connsiteX241" fmla="*/ 7095 w 10000"/>
                <a:gd name="connsiteY241" fmla="*/ 3437 h 10034"/>
                <a:gd name="connsiteX242" fmla="*/ 7051 w 10000"/>
                <a:gd name="connsiteY242" fmla="*/ 3455 h 10034"/>
                <a:gd name="connsiteX243" fmla="*/ 7008 w 10000"/>
                <a:gd name="connsiteY243" fmla="*/ 3479 h 10034"/>
                <a:gd name="connsiteX244" fmla="*/ 6976 w 10000"/>
                <a:gd name="connsiteY244" fmla="*/ 3509 h 10034"/>
                <a:gd name="connsiteX245" fmla="*/ 6939 w 10000"/>
                <a:gd name="connsiteY245" fmla="*/ 3539 h 10034"/>
                <a:gd name="connsiteX246" fmla="*/ 6920 w 10000"/>
                <a:gd name="connsiteY246" fmla="*/ 3576 h 10034"/>
                <a:gd name="connsiteX247" fmla="*/ 6913 w 10000"/>
                <a:gd name="connsiteY247" fmla="*/ 3612 h 10034"/>
                <a:gd name="connsiteX248" fmla="*/ 6926 w 10000"/>
                <a:gd name="connsiteY248" fmla="*/ 3636 h 10034"/>
                <a:gd name="connsiteX249" fmla="*/ 6964 w 10000"/>
                <a:gd name="connsiteY249" fmla="*/ 3666 h 10034"/>
                <a:gd name="connsiteX250" fmla="*/ 7008 w 10000"/>
                <a:gd name="connsiteY250" fmla="*/ 3702 h 10034"/>
                <a:gd name="connsiteX251" fmla="*/ 7070 w 10000"/>
                <a:gd name="connsiteY251" fmla="*/ 3738 h 10034"/>
                <a:gd name="connsiteX252" fmla="*/ 7133 w 10000"/>
                <a:gd name="connsiteY252" fmla="*/ 3774 h 10034"/>
                <a:gd name="connsiteX253" fmla="*/ 7196 w 10000"/>
                <a:gd name="connsiteY253" fmla="*/ 3804 h 10034"/>
                <a:gd name="connsiteX254" fmla="*/ 7252 w 10000"/>
                <a:gd name="connsiteY254" fmla="*/ 3828 h 10034"/>
                <a:gd name="connsiteX255" fmla="*/ 7290 w 10000"/>
                <a:gd name="connsiteY255" fmla="*/ 3840 h 10034"/>
                <a:gd name="connsiteX256" fmla="*/ 7208 w 10000"/>
                <a:gd name="connsiteY256" fmla="*/ 3900 h 10034"/>
                <a:gd name="connsiteX257" fmla="*/ 7114 w 10000"/>
                <a:gd name="connsiteY257" fmla="*/ 3974 h 10034"/>
                <a:gd name="connsiteX258" fmla="*/ 7070 w 10000"/>
                <a:gd name="connsiteY258" fmla="*/ 4010 h 10034"/>
                <a:gd name="connsiteX259" fmla="*/ 7033 w 10000"/>
                <a:gd name="connsiteY259" fmla="*/ 4052 h 10034"/>
                <a:gd name="connsiteX260" fmla="*/ 7020 w 10000"/>
                <a:gd name="connsiteY260" fmla="*/ 4070 h 10034"/>
                <a:gd name="connsiteX261" fmla="*/ 7008 w 10000"/>
                <a:gd name="connsiteY261" fmla="*/ 4088 h 10034"/>
                <a:gd name="connsiteX262" fmla="*/ 7001 w 10000"/>
                <a:gd name="connsiteY262" fmla="*/ 4112 h 10034"/>
                <a:gd name="connsiteX263" fmla="*/ 6995 w 10000"/>
                <a:gd name="connsiteY263" fmla="*/ 4130 h 10034"/>
                <a:gd name="connsiteX264" fmla="*/ 7001 w 10000"/>
                <a:gd name="connsiteY264" fmla="*/ 4160 h 10034"/>
                <a:gd name="connsiteX265" fmla="*/ 7008 w 10000"/>
                <a:gd name="connsiteY265" fmla="*/ 4178 h 10034"/>
                <a:gd name="connsiteX266" fmla="*/ 7026 w 10000"/>
                <a:gd name="connsiteY266" fmla="*/ 4203 h 10034"/>
                <a:gd name="connsiteX267" fmla="*/ 7039 w 10000"/>
                <a:gd name="connsiteY267" fmla="*/ 4227 h 10034"/>
                <a:gd name="connsiteX268" fmla="*/ 7089 w 10000"/>
                <a:gd name="connsiteY268" fmla="*/ 4274 h 10034"/>
                <a:gd name="connsiteX269" fmla="*/ 7146 w 10000"/>
                <a:gd name="connsiteY269" fmla="*/ 4322 h 10034"/>
                <a:gd name="connsiteX270" fmla="*/ 7208 w 10000"/>
                <a:gd name="connsiteY270" fmla="*/ 4364 h 10034"/>
                <a:gd name="connsiteX271" fmla="*/ 7277 w 10000"/>
                <a:gd name="connsiteY271" fmla="*/ 4401 h 10034"/>
                <a:gd name="connsiteX272" fmla="*/ 7315 w 10000"/>
                <a:gd name="connsiteY272" fmla="*/ 4413 h 10034"/>
                <a:gd name="connsiteX273" fmla="*/ 7346 w 10000"/>
                <a:gd name="connsiteY273" fmla="*/ 4419 h 10034"/>
                <a:gd name="connsiteX274" fmla="*/ 7384 w 10000"/>
                <a:gd name="connsiteY274" fmla="*/ 4425 h 10034"/>
                <a:gd name="connsiteX275" fmla="*/ 7415 w 10000"/>
                <a:gd name="connsiteY275" fmla="*/ 4431 h 10034"/>
                <a:gd name="connsiteX276" fmla="*/ 7585 w 10000"/>
                <a:gd name="connsiteY276" fmla="*/ 5058 h 10034"/>
                <a:gd name="connsiteX277" fmla="*/ 7491 w 10000"/>
                <a:gd name="connsiteY277" fmla="*/ 5058 h 10034"/>
                <a:gd name="connsiteX278" fmla="*/ 7403 w 10000"/>
                <a:gd name="connsiteY278" fmla="*/ 5058 h 10034"/>
                <a:gd name="connsiteX279" fmla="*/ 7321 w 10000"/>
                <a:gd name="connsiteY279" fmla="*/ 5058 h 10034"/>
                <a:gd name="connsiteX280" fmla="*/ 7252 w 10000"/>
                <a:gd name="connsiteY280" fmla="*/ 5058 h 10034"/>
                <a:gd name="connsiteX281" fmla="*/ 7208 w 10000"/>
                <a:gd name="connsiteY281" fmla="*/ 5052 h 10034"/>
                <a:gd name="connsiteX282" fmla="*/ 7164 w 10000"/>
                <a:gd name="connsiteY282" fmla="*/ 5021 h 10034"/>
                <a:gd name="connsiteX283" fmla="*/ 7133 w 10000"/>
                <a:gd name="connsiteY283" fmla="*/ 5009 h 10034"/>
                <a:gd name="connsiteX284" fmla="*/ 7102 w 10000"/>
                <a:gd name="connsiteY284" fmla="*/ 4997 h 10034"/>
                <a:gd name="connsiteX285" fmla="*/ 7070 w 10000"/>
                <a:gd name="connsiteY285" fmla="*/ 4991 h 10034"/>
                <a:gd name="connsiteX286" fmla="*/ 7039 w 10000"/>
                <a:gd name="connsiteY286" fmla="*/ 4985 h 10034"/>
                <a:gd name="connsiteX287" fmla="*/ 7008 w 10000"/>
                <a:gd name="connsiteY287" fmla="*/ 4997 h 10034"/>
                <a:gd name="connsiteX288" fmla="*/ 6957 w 10000"/>
                <a:gd name="connsiteY288" fmla="*/ 5027 h 10034"/>
                <a:gd name="connsiteX289" fmla="*/ 6895 w 10000"/>
                <a:gd name="connsiteY289" fmla="*/ 5070 h 10034"/>
                <a:gd name="connsiteX290" fmla="*/ 6819 w 10000"/>
                <a:gd name="connsiteY290" fmla="*/ 5118 h 10034"/>
                <a:gd name="connsiteX291" fmla="*/ 6744 w 10000"/>
                <a:gd name="connsiteY291" fmla="*/ 5178 h 10034"/>
                <a:gd name="connsiteX292" fmla="*/ 6681 w 10000"/>
                <a:gd name="connsiteY292" fmla="*/ 5226 h 10034"/>
                <a:gd name="connsiteX293" fmla="*/ 6637 w 10000"/>
                <a:gd name="connsiteY293" fmla="*/ 5262 h 10034"/>
                <a:gd name="connsiteX294" fmla="*/ 6625 w 10000"/>
                <a:gd name="connsiteY294" fmla="*/ 5286 h 10034"/>
                <a:gd name="connsiteX295" fmla="*/ 6750 w 10000"/>
                <a:gd name="connsiteY295" fmla="*/ 5358 h 10034"/>
                <a:gd name="connsiteX296" fmla="*/ 6744 w 10000"/>
                <a:gd name="connsiteY296" fmla="*/ 5395 h 10034"/>
                <a:gd name="connsiteX297" fmla="*/ 6725 w 10000"/>
                <a:gd name="connsiteY297" fmla="*/ 5437 h 10034"/>
                <a:gd name="connsiteX298" fmla="*/ 6706 w 10000"/>
                <a:gd name="connsiteY298" fmla="*/ 5468 h 10034"/>
                <a:gd name="connsiteX299" fmla="*/ 6688 w 10000"/>
                <a:gd name="connsiteY299" fmla="*/ 5510 h 10034"/>
                <a:gd name="connsiteX300" fmla="*/ 6637 w 10000"/>
                <a:gd name="connsiteY300" fmla="*/ 5564 h 10034"/>
                <a:gd name="connsiteX301" fmla="*/ 6581 w 10000"/>
                <a:gd name="connsiteY301" fmla="*/ 5618 h 10034"/>
                <a:gd name="connsiteX302" fmla="*/ 6518 w 10000"/>
                <a:gd name="connsiteY302" fmla="*/ 5666 h 10034"/>
                <a:gd name="connsiteX303" fmla="*/ 6443 w 10000"/>
                <a:gd name="connsiteY303" fmla="*/ 5709 h 10034"/>
                <a:gd name="connsiteX304" fmla="*/ 6374 w 10000"/>
                <a:gd name="connsiteY304" fmla="*/ 5745 h 10034"/>
                <a:gd name="connsiteX305" fmla="*/ 6299 w 10000"/>
                <a:gd name="connsiteY305" fmla="*/ 5780 h 10034"/>
                <a:gd name="connsiteX306" fmla="*/ 6223 w 10000"/>
                <a:gd name="connsiteY306" fmla="*/ 5828 h 10034"/>
                <a:gd name="connsiteX307" fmla="*/ 6154 w 10000"/>
                <a:gd name="connsiteY307" fmla="*/ 5864 h 10034"/>
                <a:gd name="connsiteX308" fmla="*/ 6092 w 10000"/>
                <a:gd name="connsiteY308" fmla="*/ 5907 h 10034"/>
                <a:gd name="connsiteX309" fmla="*/ 6035 w 10000"/>
                <a:gd name="connsiteY309" fmla="*/ 5955 h 10034"/>
                <a:gd name="connsiteX310" fmla="*/ 6004 w 10000"/>
                <a:gd name="connsiteY310" fmla="*/ 5979 h 10034"/>
                <a:gd name="connsiteX311" fmla="*/ 5985 w 10000"/>
                <a:gd name="connsiteY311" fmla="*/ 6003 h 10034"/>
                <a:gd name="connsiteX312" fmla="*/ 5966 w 10000"/>
                <a:gd name="connsiteY312" fmla="*/ 6033 h 10034"/>
                <a:gd name="connsiteX313" fmla="*/ 5947 w 10000"/>
                <a:gd name="connsiteY313" fmla="*/ 6063 h 10034"/>
                <a:gd name="connsiteX314" fmla="*/ 5935 w 10000"/>
                <a:gd name="connsiteY314" fmla="*/ 6101 h 10034"/>
                <a:gd name="connsiteX315" fmla="*/ 5922 w 10000"/>
                <a:gd name="connsiteY315" fmla="*/ 6131 h 10034"/>
                <a:gd name="connsiteX316" fmla="*/ 5916 w 10000"/>
                <a:gd name="connsiteY316" fmla="*/ 6173 h 10034"/>
                <a:gd name="connsiteX317" fmla="*/ 5916 w 10000"/>
                <a:gd name="connsiteY317" fmla="*/ 6215 h 10034"/>
                <a:gd name="connsiteX318" fmla="*/ 5859 w 10000"/>
                <a:gd name="connsiteY318" fmla="*/ 6233 h 10034"/>
                <a:gd name="connsiteX319" fmla="*/ 5809 w 10000"/>
                <a:gd name="connsiteY319" fmla="*/ 6251 h 10034"/>
                <a:gd name="connsiteX320" fmla="*/ 5765 w 10000"/>
                <a:gd name="connsiteY320" fmla="*/ 6274 h 10034"/>
                <a:gd name="connsiteX321" fmla="*/ 5721 w 10000"/>
                <a:gd name="connsiteY321" fmla="*/ 6298 h 10034"/>
                <a:gd name="connsiteX322" fmla="*/ 5634 w 10000"/>
                <a:gd name="connsiteY322" fmla="*/ 6359 h 10034"/>
                <a:gd name="connsiteX323" fmla="*/ 5558 w 10000"/>
                <a:gd name="connsiteY323" fmla="*/ 6431 h 10034"/>
                <a:gd name="connsiteX324" fmla="*/ 5420 w 10000"/>
                <a:gd name="connsiteY324" fmla="*/ 6594 h 10034"/>
                <a:gd name="connsiteX325" fmla="*/ 5289 w 10000"/>
                <a:gd name="connsiteY325" fmla="*/ 6768 h 10034"/>
                <a:gd name="connsiteX326" fmla="*/ 5220 w 10000"/>
                <a:gd name="connsiteY326" fmla="*/ 6859 h 10034"/>
                <a:gd name="connsiteX327" fmla="*/ 5151 w 10000"/>
                <a:gd name="connsiteY327" fmla="*/ 6937 h 10034"/>
                <a:gd name="connsiteX328" fmla="*/ 5075 w 10000"/>
                <a:gd name="connsiteY328" fmla="*/ 7010 h 10034"/>
                <a:gd name="connsiteX329" fmla="*/ 4994 w 10000"/>
                <a:gd name="connsiteY329" fmla="*/ 7076 h 10034"/>
                <a:gd name="connsiteX330" fmla="*/ 4944 w 10000"/>
                <a:gd name="connsiteY330" fmla="*/ 7106 h 10034"/>
                <a:gd name="connsiteX331" fmla="*/ 4893 w 10000"/>
                <a:gd name="connsiteY331" fmla="*/ 7130 h 10034"/>
                <a:gd name="connsiteX332" fmla="*/ 4849 w 10000"/>
                <a:gd name="connsiteY332" fmla="*/ 7154 h 10034"/>
                <a:gd name="connsiteX333" fmla="*/ 4793 w 10000"/>
                <a:gd name="connsiteY333" fmla="*/ 7179 h 10034"/>
                <a:gd name="connsiteX334" fmla="*/ 4730 w 10000"/>
                <a:gd name="connsiteY334" fmla="*/ 7197 h 10034"/>
                <a:gd name="connsiteX335" fmla="*/ 4674 w 10000"/>
                <a:gd name="connsiteY335" fmla="*/ 7209 h 10034"/>
                <a:gd name="connsiteX336" fmla="*/ 4605 w 10000"/>
                <a:gd name="connsiteY336" fmla="*/ 7215 h 10034"/>
                <a:gd name="connsiteX337" fmla="*/ 4536 w 10000"/>
                <a:gd name="connsiteY337" fmla="*/ 7215 h 10034"/>
                <a:gd name="connsiteX338" fmla="*/ 4536 w 10000"/>
                <a:gd name="connsiteY338" fmla="*/ 7268 h 10034"/>
                <a:gd name="connsiteX339" fmla="*/ 4536 w 10000"/>
                <a:gd name="connsiteY339" fmla="*/ 7322 h 10034"/>
                <a:gd name="connsiteX340" fmla="*/ 4536 w 10000"/>
                <a:gd name="connsiteY340" fmla="*/ 7364 h 10034"/>
                <a:gd name="connsiteX341" fmla="*/ 4536 w 10000"/>
                <a:gd name="connsiteY341" fmla="*/ 7401 h 10034"/>
                <a:gd name="connsiteX342" fmla="*/ 4536 w 10000"/>
                <a:gd name="connsiteY342" fmla="*/ 7467 h 10034"/>
                <a:gd name="connsiteX343" fmla="*/ 4536 w 10000"/>
                <a:gd name="connsiteY343" fmla="*/ 7570 h 10034"/>
                <a:gd name="connsiteX344" fmla="*/ 4536 w 10000"/>
                <a:gd name="connsiteY344" fmla="*/ 7679 h 10034"/>
                <a:gd name="connsiteX345" fmla="*/ 4548 w 10000"/>
                <a:gd name="connsiteY345" fmla="*/ 7792 h 10034"/>
                <a:gd name="connsiteX346" fmla="*/ 4561 w 10000"/>
                <a:gd name="connsiteY346" fmla="*/ 7853 h 10034"/>
                <a:gd name="connsiteX347" fmla="*/ 4573 w 10000"/>
                <a:gd name="connsiteY347" fmla="*/ 7907 h 10034"/>
                <a:gd name="connsiteX348" fmla="*/ 4586 w 10000"/>
                <a:gd name="connsiteY348" fmla="*/ 7955 h 10034"/>
                <a:gd name="connsiteX349" fmla="*/ 4611 w 10000"/>
                <a:gd name="connsiteY349" fmla="*/ 7997 h 10034"/>
                <a:gd name="connsiteX350" fmla="*/ 4636 w 10000"/>
                <a:gd name="connsiteY350" fmla="*/ 8040 h 10034"/>
                <a:gd name="connsiteX351" fmla="*/ 4668 w 10000"/>
                <a:gd name="connsiteY351" fmla="*/ 8070 h 10034"/>
                <a:gd name="connsiteX352" fmla="*/ 4705 w 10000"/>
                <a:gd name="connsiteY352" fmla="*/ 8094 h 10034"/>
                <a:gd name="connsiteX353" fmla="*/ 4749 w 10000"/>
                <a:gd name="connsiteY353" fmla="*/ 8106 h 10034"/>
                <a:gd name="connsiteX354" fmla="*/ 4711 w 10000"/>
                <a:gd name="connsiteY354" fmla="*/ 8202 h 10034"/>
                <a:gd name="connsiteX355" fmla="*/ 4668 w 10000"/>
                <a:gd name="connsiteY355" fmla="*/ 8287 h 10034"/>
                <a:gd name="connsiteX356" fmla="*/ 4617 w 10000"/>
                <a:gd name="connsiteY356" fmla="*/ 8365 h 10034"/>
                <a:gd name="connsiteX357" fmla="*/ 4573 w 10000"/>
                <a:gd name="connsiteY357" fmla="*/ 8437 h 10034"/>
                <a:gd name="connsiteX358" fmla="*/ 4523 w 10000"/>
                <a:gd name="connsiteY358" fmla="*/ 8522 h 10034"/>
                <a:gd name="connsiteX359" fmla="*/ 4492 w 10000"/>
                <a:gd name="connsiteY359" fmla="*/ 8600 h 10034"/>
                <a:gd name="connsiteX360" fmla="*/ 4473 w 10000"/>
                <a:gd name="connsiteY360" fmla="*/ 8636 h 10034"/>
                <a:gd name="connsiteX361" fmla="*/ 4467 w 10000"/>
                <a:gd name="connsiteY361" fmla="*/ 8679 h 10034"/>
                <a:gd name="connsiteX362" fmla="*/ 4460 w 10000"/>
                <a:gd name="connsiteY362" fmla="*/ 8727 h 10034"/>
                <a:gd name="connsiteX363" fmla="*/ 4454 w 10000"/>
                <a:gd name="connsiteY363" fmla="*/ 8769 h 10034"/>
                <a:gd name="connsiteX364" fmla="*/ 4460 w 10000"/>
                <a:gd name="connsiteY364" fmla="*/ 8786 h 10034"/>
                <a:gd name="connsiteX365" fmla="*/ 4467 w 10000"/>
                <a:gd name="connsiteY365" fmla="*/ 8798 h 10034"/>
                <a:gd name="connsiteX366" fmla="*/ 4479 w 10000"/>
                <a:gd name="connsiteY366" fmla="*/ 8810 h 10034"/>
                <a:gd name="connsiteX367" fmla="*/ 4504 w 10000"/>
                <a:gd name="connsiteY367" fmla="*/ 8822 h 10034"/>
                <a:gd name="connsiteX368" fmla="*/ 4542 w 10000"/>
                <a:gd name="connsiteY368" fmla="*/ 8846 h 10034"/>
                <a:gd name="connsiteX369" fmla="*/ 4580 w 10000"/>
                <a:gd name="connsiteY369" fmla="*/ 8852 h 10034"/>
                <a:gd name="connsiteX370" fmla="*/ 4580 w 10000"/>
                <a:gd name="connsiteY370" fmla="*/ 9070 h 10034"/>
                <a:gd name="connsiteX371" fmla="*/ 4529 w 10000"/>
                <a:gd name="connsiteY371" fmla="*/ 9155 h 10034"/>
                <a:gd name="connsiteX372" fmla="*/ 4492 w 10000"/>
                <a:gd name="connsiteY372" fmla="*/ 9245 h 10034"/>
                <a:gd name="connsiteX373" fmla="*/ 4460 w 10000"/>
                <a:gd name="connsiteY373" fmla="*/ 9280 h 10034"/>
                <a:gd name="connsiteX374" fmla="*/ 4429 w 10000"/>
                <a:gd name="connsiteY374" fmla="*/ 9305 h 10034"/>
                <a:gd name="connsiteX375" fmla="*/ 4404 w 10000"/>
                <a:gd name="connsiteY375" fmla="*/ 9317 h 10034"/>
                <a:gd name="connsiteX376" fmla="*/ 4385 w 10000"/>
                <a:gd name="connsiteY376" fmla="*/ 9323 h 10034"/>
                <a:gd name="connsiteX377" fmla="*/ 4360 w 10000"/>
                <a:gd name="connsiteY377" fmla="*/ 9329 h 10034"/>
                <a:gd name="connsiteX378" fmla="*/ 4329 w 10000"/>
                <a:gd name="connsiteY378" fmla="*/ 9329 h 10034"/>
                <a:gd name="connsiteX379" fmla="*/ 4329 w 10000"/>
                <a:gd name="connsiteY379" fmla="*/ 9377 h 10034"/>
                <a:gd name="connsiteX380" fmla="*/ 4335 w 10000"/>
                <a:gd name="connsiteY380" fmla="*/ 9437 h 10034"/>
                <a:gd name="connsiteX381" fmla="*/ 4348 w 10000"/>
                <a:gd name="connsiteY381" fmla="*/ 9467 h 10034"/>
                <a:gd name="connsiteX382" fmla="*/ 4354 w 10000"/>
                <a:gd name="connsiteY382" fmla="*/ 9491 h 10034"/>
                <a:gd name="connsiteX383" fmla="*/ 4360 w 10000"/>
                <a:gd name="connsiteY383" fmla="*/ 9510 h 10034"/>
                <a:gd name="connsiteX384" fmla="*/ 4373 w 10000"/>
                <a:gd name="connsiteY384" fmla="*/ 9516 h 10034"/>
                <a:gd name="connsiteX385" fmla="*/ 4210 w 10000"/>
                <a:gd name="connsiteY385" fmla="*/ 9642 h 10034"/>
                <a:gd name="connsiteX386" fmla="*/ 4072 w 10000"/>
                <a:gd name="connsiteY386" fmla="*/ 9746 h 10034"/>
                <a:gd name="connsiteX387" fmla="*/ 4009 w 10000"/>
                <a:gd name="connsiteY387" fmla="*/ 9805 h 10034"/>
                <a:gd name="connsiteX388" fmla="*/ 3952 w 10000"/>
                <a:gd name="connsiteY388" fmla="*/ 9871 h 10034"/>
                <a:gd name="connsiteX389" fmla="*/ 3890 w 10000"/>
                <a:gd name="connsiteY389" fmla="*/ 9950 h 10034"/>
                <a:gd name="connsiteX390" fmla="*/ 3833 w 10000"/>
                <a:gd name="connsiteY390" fmla="*/ 10034 h 10034"/>
                <a:gd name="connsiteX391" fmla="*/ 3733 w 10000"/>
                <a:gd name="connsiteY391" fmla="*/ 9992 h 10034"/>
                <a:gd name="connsiteX392" fmla="*/ 3664 w 10000"/>
                <a:gd name="connsiteY392" fmla="*/ 9950 h 10034"/>
                <a:gd name="connsiteX393" fmla="*/ 3607 w 10000"/>
                <a:gd name="connsiteY393" fmla="*/ 9907 h 10034"/>
                <a:gd name="connsiteX394" fmla="*/ 3563 w 10000"/>
                <a:gd name="connsiteY394" fmla="*/ 9859 h 10034"/>
                <a:gd name="connsiteX395" fmla="*/ 3532 w 10000"/>
                <a:gd name="connsiteY395" fmla="*/ 9799 h 10034"/>
                <a:gd name="connsiteX396" fmla="*/ 3513 w 10000"/>
                <a:gd name="connsiteY396" fmla="*/ 9740 h 10034"/>
                <a:gd name="connsiteX397" fmla="*/ 3482 w 10000"/>
                <a:gd name="connsiteY397" fmla="*/ 9666 h 10034"/>
                <a:gd name="connsiteX398" fmla="*/ 3457 w 10000"/>
                <a:gd name="connsiteY398" fmla="*/ 9594 h 10034"/>
                <a:gd name="connsiteX399" fmla="*/ 3400 w 10000"/>
                <a:gd name="connsiteY399" fmla="*/ 9455 h 10034"/>
                <a:gd name="connsiteX400" fmla="*/ 3325 w 10000"/>
                <a:gd name="connsiteY400" fmla="*/ 9323 h 10034"/>
                <a:gd name="connsiteX401" fmla="*/ 3237 w 10000"/>
                <a:gd name="connsiteY401" fmla="*/ 9185 h 10034"/>
                <a:gd name="connsiteX402" fmla="*/ 3143 w 10000"/>
                <a:gd name="connsiteY402" fmla="*/ 9040 h 10034"/>
                <a:gd name="connsiteX403" fmla="*/ 3049 w 10000"/>
                <a:gd name="connsiteY403" fmla="*/ 8907 h 10034"/>
                <a:gd name="connsiteX404" fmla="*/ 2967 w 10000"/>
                <a:gd name="connsiteY404" fmla="*/ 8775 h 10034"/>
                <a:gd name="connsiteX405" fmla="*/ 2892 w 10000"/>
                <a:gd name="connsiteY405" fmla="*/ 8655 h 10034"/>
                <a:gd name="connsiteX406" fmla="*/ 2829 w 10000"/>
                <a:gd name="connsiteY406" fmla="*/ 8552 h 10034"/>
                <a:gd name="connsiteX407" fmla="*/ 2773 w 10000"/>
                <a:gd name="connsiteY407" fmla="*/ 8437 h 10034"/>
                <a:gd name="connsiteX408" fmla="*/ 2735 w 10000"/>
                <a:gd name="connsiteY408" fmla="*/ 8335 h 10034"/>
                <a:gd name="connsiteX409" fmla="*/ 2698 w 10000"/>
                <a:gd name="connsiteY409" fmla="*/ 8227 h 10034"/>
                <a:gd name="connsiteX410" fmla="*/ 2666 w 10000"/>
                <a:gd name="connsiteY410" fmla="*/ 8118 h 10034"/>
                <a:gd name="connsiteX411" fmla="*/ 2629 w 10000"/>
                <a:gd name="connsiteY411" fmla="*/ 8009 h 10034"/>
                <a:gd name="connsiteX412" fmla="*/ 2597 w 10000"/>
                <a:gd name="connsiteY412" fmla="*/ 7901 h 10034"/>
                <a:gd name="connsiteX413" fmla="*/ 2553 w 10000"/>
                <a:gd name="connsiteY413" fmla="*/ 7780 h 10034"/>
                <a:gd name="connsiteX414" fmla="*/ 2497 w 10000"/>
                <a:gd name="connsiteY414" fmla="*/ 7661 h 10034"/>
                <a:gd name="connsiteX415" fmla="*/ 2359 w 10000"/>
                <a:gd name="connsiteY415" fmla="*/ 7467 h 10034"/>
                <a:gd name="connsiteX416" fmla="*/ 2208 w 10000"/>
                <a:gd name="connsiteY416" fmla="*/ 7286 h 10034"/>
                <a:gd name="connsiteX417" fmla="*/ 2139 w 10000"/>
                <a:gd name="connsiteY417" fmla="*/ 7203 h 10034"/>
                <a:gd name="connsiteX418" fmla="*/ 2070 w 10000"/>
                <a:gd name="connsiteY418" fmla="*/ 7106 h 10034"/>
                <a:gd name="connsiteX419" fmla="*/ 2008 w 10000"/>
                <a:gd name="connsiteY419" fmla="*/ 7016 h 10034"/>
                <a:gd name="connsiteX420" fmla="*/ 1957 w 10000"/>
                <a:gd name="connsiteY420" fmla="*/ 6919 h 10034"/>
                <a:gd name="connsiteX421" fmla="*/ 1888 w 10000"/>
                <a:gd name="connsiteY421" fmla="*/ 6684 h 10034"/>
                <a:gd name="connsiteX422" fmla="*/ 1832 w 10000"/>
                <a:gd name="connsiteY422" fmla="*/ 6467 h 10034"/>
                <a:gd name="connsiteX423" fmla="*/ 1782 w 10000"/>
                <a:gd name="connsiteY423" fmla="*/ 6257 h 10034"/>
                <a:gd name="connsiteX424" fmla="*/ 1757 w 10000"/>
                <a:gd name="connsiteY424" fmla="*/ 6045 h 10034"/>
                <a:gd name="connsiteX425" fmla="*/ 1725 w 10000"/>
                <a:gd name="connsiteY425" fmla="*/ 5840 h 10034"/>
                <a:gd name="connsiteX426" fmla="*/ 1713 w 10000"/>
                <a:gd name="connsiteY426" fmla="*/ 5624 h 10034"/>
                <a:gd name="connsiteX427" fmla="*/ 1706 w 10000"/>
                <a:gd name="connsiteY427" fmla="*/ 5401 h 10034"/>
                <a:gd name="connsiteX428" fmla="*/ 1706 w 10000"/>
                <a:gd name="connsiteY428" fmla="*/ 5178 h 10034"/>
                <a:gd name="connsiteX429" fmla="*/ 1681 w 10000"/>
                <a:gd name="connsiteY429" fmla="*/ 5172 h 10034"/>
                <a:gd name="connsiteX430" fmla="*/ 1650 w 10000"/>
                <a:gd name="connsiteY430" fmla="*/ 5166 h 10034"/>
                <a:gd name="connsiteX431" fmla="*/ 1625 w 10000"/>
                <a:gd name="connsiteY431" fmla="*/ 5160 h 10034"/>
                <a:gd name="connsiteX432" fmla="*/ 1606 w 10000"/>
                <a:gd name="connsiteY432" fmla="*/ 5136 h 10034"/>
                <a:gd name="connsiteX433" fmla="*/ 1581 w 10000"/>
                <a:gd name="connsiteY433" fmla="*/ 5124 h 10034"/>
                <a:gd name="connsiteX434" fmla="*/ 1568 w 10000"/>
                <a:gd name="connsiteY434" fmla="*/ 5106 h 10034"/>
                <a:gd name="connsiteX435" fmla="*/ 1550 w 10000"/>
                <a:gd name="connsiteY435" fmla="*/ 5082 h 10034"/>
                <a:gd name="connsiteX436" fmla="*/ 1543 w 10000"/>
                <a:gd name="connsiteY436" fmla="*/ 5058 h 10034"/>
                <a:gd name="connsiteX437" fmla="*/ 1518 w 10000"/>
                <a:gd name="connsiteY437" fmla="*/ 5009 h 10034"/>
                <a:gd name="connsiteX438" fmla="*/ 1506 w 10000"/>
                <a:gd name="connsiteY438" fmla="*/ 4955 h 10034"/>
                <a:gd name="connsiteX439" fmla="*/ 1499 w 10000"/>
                <a:gd name="connsiteY439" fmla="*/ 4895 h 10034"/>
                <a:gd name="connsiteX440" fmla="*/ 1499 w 10000"/>
                <a:gd name="connsiteY440" fmla="*/ 4841 h 10034"/>
                <a:gd name="connsiteX441" fmla="*/ 1443 w 10000"/>
                <a:gd name="connsiteY441" fmla="*/ 4877 h 10034"/>
                <a:gd name="connsiteX442" fmla="*/ 1405 w 10000"/>
                <a:gd name="connsiteY442" fmla="*/ 4919 h 10034"/>
                <a:gd name="connsiteX443" fmla="*/ 1361 w 10000"/>
                <a:gd name="connsiteY443" fmla="*/ 4961 h 10034"/>
                <a:gd name="connsiteX444" fmla="*/ 1317 w 10000"/>
                <a:gd name="connsiteY444" fmla="*/ 5009 h 10034"/>
                <a:gd name="connsiteX445" fmla="*/ 1261 w 10000"/>
                <a:gd name="connsiteY445" fmla="*/ 5106 h 10034"/>
                <a:gd name="connsiteX446" fmla="*/ 1205 w 10000"/>
                <a:gd name="connsiteY446" fmla="*/ 5208 h 10034"/>
                <a:gd name="connsiteX447" fmla="*/ 1167 w 10000"/>
                <a:gd name="connsiteY447" fmla="*/ 5251 h 10034"/>
                <a:gd name="connsiteX448" fmla="*/ 1142 w 10000"/>
                <a:gd name="connsiteY448" fmla="*/ 5292 h 10034"/>
                <a:gd name="connsiteX449" fmla="*/ 1104 w 10000"/>
                <a:gd name="connsiteY449" fmla="*/ 5334 h 10034"/>
                <a:gd name="connsiteX450" fmla="*/ 1073 w 10000"/>
                <a:gd name="connsiteY450" fmla="*/ 5364 h 10034"/>
                <a:gd name="connsiteX451" fmla="*/ 1029 w 10000"/>
                <a:gd name="connsiteY451" fmla="*/ 5395 h 10034"/>
                <a:gd name="connsiteX452" fmla="*/ 985 w 10000"/>
                <a:gd name="connsiteY452" fmla="*/ 5413 h 10034"/>
                <a:gd name="connsiteX453" fmla="*/ 928 w 10000"/>
                <a:gd name="connsiteY453" fmla="*/ 5425 h 10034"/>
                <a:gd name="connsiteX454" fmla="*/ 872 w 10000"/>
                <a:gd name="connsiteY454" fmla="*/ 5431 h 10034"/>
                <a:gd name="connsiteX455" fmla="*/ 841 w 10000"/>
                <a:gd name="connsiteY455" fmla="*/ 5425 h 10034"/>
                <a:gd name="connsiteX456" fmla="*/ 797 w 10000"/>
                <a:gd name="connsiteY456" fmla="*/ 5413 h 10034"/>
                <a:gd name="connsiteX457" fmla="*/ 753 w 10000"/>
                <a:gd name="connsiteY457" fmla="*/ 5395 h 10034"/>
                <a:gd name="connsiteX458" fmla="*/ 709 w 10000"/>
                <a:gd name="connsiteY458" fmla="*/ 5364 h 10034"/>
                <a:gd name="connsiteX459" fmla="*/ 659 w 10000"/>
                <a:gd name="connsiteY459" fmla="*/ 5328 h 10034"/>
                <a:gd name="connsiteX460" fmla="*/ 609 w 10000"/>
                <a:gd name="connsiteY460" fmla="*/ 5292 h 10034"/>
                <a:gd name="connsiteX461" fmla="*/ 565 w 10000"/>
                <a:gd name="connsiteY461" fmla="*/ 5251 h 10034"/>
                <a:gd name="connsiteX462" fmla="*/ 514 w 10000"/>
                <a:gd name="connsiteY462" fmla="*/ 5202 h 10034"/>
                <a:gd name="connsiteX463" fmla="*/ 471 w 10000"/>
                <a:gd name="connsiteY463" fmla="*/ 5154 h 10034"/>
                <a:gd name="connsiteX464" fmla="*/ 433 w 10000"/>
                <a:gd name="connsiteY464" fmla="*/ 5100 h 10034"/>
                <a:gd name="connsiteX465" fmla="*/ 389 w 10000"/>
                <a:gd name="connsiteY465" fmla="*/ 5046 h 10034"/>
                <a:gd name="connsiteX466" fmla="*/ 358 w 10000"/>
                <a:gd name="connsiteY466" fmla="*/ 4991 h 10034"/>
                <a:gd name="connsiteX467" fmla="*/ 326 w 10000"/>
                <a:gd name="connsiteY467" fmla="*/ 4943 h 10034"/>
                <a:gd name="connsiteX468" fmla="*/ 307 w 10000"/>
                <a:gd name="connsiteY468" fmla="*/ 4895 h 10034"/>
                <a:gd name="connsiteX469" fmla="*/ 295 w 10000"/>
                <a:gd name="connsiteY469" fmla="*/ 4847 h 10034"/>
                <a:gd name="connsiteX470" fmla="*/ 289 w 10000"/>
                <a:gd name="connsiteY470" fmla="*/ 4798 h 10034"/>
                <a:gd name="connsiteX471" fmla="*/ 320 w 10000"/>
                <a:gd name="connsiteY471" fmla="*/ 4780 h 10034"/>
                <a:gd name="connsiteX472" fmla="*/ 395 w 10000"/>
                <a:gd name="connsiteY472" fmla="*/ 4745 h 10034"/>
                <a:gd name="connsiteX473" fmla="*/ 483 w 10000"/>
                <a:gd name="connsiteY473" fmla="*/ 4709 h 10034"/>
                <a:gd name="connsiteX474" fmla="*/ 533 w 10000"/>
                <a:gd name="connsiteY474" fmla="*/ 4691 h 10034"/>
                <a:gd name="connsiteX475" fmla="*/ 483 w 10000"/>
                <a:gd name="connsiteY475" fmla="*/ 4691 h 10034"/>
                <a:gd name="connsiteX476" fmla="*/ 420 w 10000"/>
                <a:gd name="connsiteY476" fmla="*/ 4685 h 10034"/>
                <a:gd name="connsiteX477" fmla="*/ 370 w 10000"/>
                <a:gd name="connsiteY477" fmla="*/ 4673 h 10034"/>
                <a:gd name="connsiteX478" fmla="*/ 320 w 10000"/>
                <a:gd name="connsiteY478" fmla="*/ 4667 h 10034"/>
                <a:gd name="connsiteX479" fmla="*/ 276 w 10000"/>
                <a:gd name="connsiteY479" fmla="*/ 4648 h 10034"/>
                <a:gd name="connsiteX480" fmla="*/ 232 w 10000"/>
                <a:gd name="connsiteY480" fmla="*/ 4636 h 10034"/>
                <a:gd name="connsiteX481" fmla="*/ 188 w 10000"/>
                <a:gd name="connsiteY481" fmla="*/ 4618 h 10034"/>
                <a:gd name="connsiteX482" fmla="*/ 157 w 10000"/>
                <a:gd name="connsiteY482" fmla="*/ 4593 h 10034"/>
                <a:gd name="connsiteX483" fmla="*/ 132 w 10000"/>
                <a:gd name="connsiteY483" fmla="*/ 4569 h 10034"/>
                <a:gd name="connsiteX484" fmla="*/ 100 w 10000"/>
                <a:gd name="connsiteY484" fmla="*/ 4545 h 10034"/>
                <a:gd name="connsiteX485" fmla="*/ 75 w 10000"/>
                <a:gd name="connsiteY485" fmla="*/ 4515 h 10034"/>
                <a:gd name="connsiteX486" fmla="*/ 50 w 10000"/>
                <a:gd name="connsiteY486" fmla="*/ 4491 h 10034"/>
                <a:gd name="connsiteX487" fmla="*/ 19 w 10000"/>
                <a:gd name="connsiteY487" fmla="*/ 4419 h 10034"/>
                <a:gd name="connsiteX488" fmla="*/ 0 w 10000"/>
                <a:gd name="connsiteY488" fmla="*/ 4352 h 10034"/>
                <a:gd name="connsiteX489" fmla="*/ 63 w 10000"/>
                <a:gd name="connsiteY489" fmla="*/ 4304 h 10034"/>
                <a:gd name="connsiteX490" fmla="*/ 132 w 10000"/>
                <a:gd name="connsiteY490" fmla="*/ 4268 h 10034"/>
                <a:gd name="connsiteX491" fmla="*/ 201 w 10000"/>
                <a:gd name="connsiteY491" fmla="*/ 4239 h 10034"/>
                <a:gd name="connsiteX492" fmla="*/ 276 w 10000"/>
                <a:gd name="connsiteY492" fmla="*/ 4215 h 10034"/>
                <a:gd name="connsiteX493" fmla="*/ 420 w 10000"/>
                <a:gd name="connsiteY493" fmla="*/ 4185 h 10034"/>
                <a:gd name="connsiteX494" fmla="*/ 565 w 10000"/>
                <a:gd name="connsiteY494" fmla="*/ 4160 h 10034"/>
                <a:gd name="connsiteX495" fmla="*/ 640 w 10000"/>
                <a:gd name="connsiteY495" fmla="*/ 4148 h 10034"/>
                <a:gd name="connsiteX496" fmla="*/ 709 w 10000"/>
                <a:gd name="connsiteY496" fmla="*/ 4124 h 10034"/>
                <a:gd name="connsiteX497" fmla="*/ 772 w 10000"/>
                <a:gd name="connsiteY497" fmla="*/ 4106 h 10034"/>
                <a:gd name="connsiteX498" fmla="*/ 834 w 10000"/>
                <a:gd name="connsiteY498" fmla="*/ 4076 h 10034"/>
                <a:gd name="connsiteX499" fmla="*/ 891 w 10000"/>
                <a:gd name="connsiteY499" fmla="*/ 4046 h 10034"/>
                <a:gd name="connsiteX500" fmla="*/ 947 w 10000"/>
                <a:gd name="connsiteY500" fmla="*/ 3998 h 10034"/>
                <a:gd name="connsiteX501" fmla="*/ 997 w 10000"/>
                <a:gd name="connsiteY501" fmla="*/ 3943 h 10034"/>
                <a:gd name="connsiteX502" fmla="*/ 1035 w 10000"/>
                <a:gd name="connsiteY502" fmla="*/ 3876 h 10034"/>
                <a:gd name="connsiteX503" fmla="*/ 1010 w 10000"/>
                <a:gd name="connsiteY503" fmla="*/ 3864 h 10034"/>
                <a:gd name="connsiteX504" fmla="*/ 985 w 10000"/>
                <a:gd name="connsiteY504" fmla="*/ 3846 h 10034"/>
                <a:gd name="connsiteX505" fmla="*/ 947 w 10000"/>
                <a:gd name="connsiteY505" fmla="*/ 3822 h 10034"/>
                <a:gd name="connsiteX506" fmla="*/ 910 w 10000"/>
                <a:gd name="connsiteY506" fmla="*/ 3786 h 10034"/>
                <a:gd name="connsiteX507" fmla="*/ 822 w 10000"/>
                <a:gd name="connsiteY507" fmla="*/ 3714 h 10034"/>
                <a:gd name="connsiteX508" fmla="*/ 740 w 10000"/>
                <a:gd name="connsiteY508" fmla="*/ 3630 h 10034"/>
                <a:gd name="connsiteX509" fmla="*/ 665 w 10000"/>
                <a:gd name="connsiteY509" fmla="*/ 3539 h 10034"/>
                <a:gd name="connsiteX510" fmla="*/ 596 w 10000"/>
                <a:gd name="connsiteY510" fmla="*/ 3443 h 10034"/>
                <a:gd name="connsiteX511" fmla="*/ 577 w 10000"/>
                <a:gd name="connsiteY511" fmla="*/ 3401 h 10034"/>
                <a:gd name="connsiteX512" fmla="*/ 558 w 10000"/>
                <a:gd name="connsiteY512" fmla="*/ 3359 h 10034"/>
                <a:gd name="connsiteX513" fmla="*/ 540 w 10000"/>
                <a:gd name="connsiteY513" fmla="*/ 3316 h 10034"/>
                <a:gd name="connsiteX514" fmla="*/ 533 w 10000"/>
                <a:gd name="connsiteY514" fmla="*/ 3280 h 10034"/>
                <a:gd name="connsiteX515" fmla="*/ 508 w 10000"/>
                <a:gd name="connsiteY515" fmla="*/ 3274 h 10034"/>
                <a:gd name="connsiteX516" fmla="*/ 483 w 10000"/>
                <a:gd name="connsiteY516" fmla="*/ 3268 h 10034"/>
                <a:gd name="connsiteX517" fmla="*/ 458 w 10000"/>
                <a:gd name="connsiteY517" fmla="*/ 3256 h 10034"/>
                <a:gd name="connsiteX518" fmla="*/ 439 w 10000"/>
                <a:gd name="connsiteY518" fmla="*/ 3233 h 10034"/>
                <a:gd name="connsiteX519" fmla="*/ 402 w 10000"/>
                <a:gd name="connsiteY519" fmla="*/ 3190 h 10034"/>
                <a:gd name="connsiteX520" fmla="*/ 370 w 10000"/>
                <a:gd name="connsiteY520" fmla="*/ 3130 h 10034"/>
                <a:gd name="connsiteX521" fmla="*/ 370 w 10000"/>
                <a:gd name="connsiteY521" fmla="*/ 2985 h 10034"/>
                <a:gd name="connsiteX522" fmla="*/ 458 w 10000"/>
                <a:gd name="connsiteY522" fmla="*/ 2979 h 10034"/>
                <a:gd name="connsiteX523" fmla="*/ 540 w 10000"/>
                <a:gd name="connsiteY523" fmla="*/ 2973 h 10034"/>
                <a:gd name="connsiteX524" fmla="*/ 615 w 10000"/>
                <a:gd name="connsiteY524" fmla="*/ 2961 h 10034"/>
                <a:gd name="connsiteX525" fmla="*/ 684 w 10000"/>
                <a:gd name="connsiteY525" fmla="*/ 2937 h 10034"/>
                <a:gd name="connsiteX526" fmla="*/ 747 w 10000"/>
                <a:gd name="connsiteY526" fmla="*/ 2919 h 10034"/>
                <a:gd name="connsiteX527" fmla="*/ 809 w 10000"/>
                <a:gd name="connsiteY527" fmla="*/ 2888 h 10034"/>
                <a:gd name="connsiteX528" fmla="*/ 866 w 10000"/>
                <a:gd name="connsiteY528" fmla="*/ 2858 h 10034"/>
                <a:gd name="connsiteX529" fmla="*/ 922 w 10000"/>
                <a:gd name="connsiteY529" fmla="*/ 2822 h 10034"/>
                <a:gd name="connsiteX530" fmla="*/ 966 w 10000"/>
                <a:gd name="connsiteY530" fmla="*/ 2780 h 10034"/>
                <a:gd name="connsiteX531" fmla="*/ 1016 w 10000"/>
                <a:gd name="connsiteY531" fmla="*/ 2739 h 10034"/>
                <a:gd name="connsiteX532" fmla="*/ 1060 w 10000"/>
                <a:gd name="connsiteY532" fmla="*/ 2697 h 10034"/>
                <a:gd name="connsiteX533" fmla="*/ 1098 w 10000"/>
                <a:gd name="connsiteY533" fmla="*/ 2648 h 10034"/>
                <a:gd name="connsiteX534" fmla="*/ 1167 w 10000"/>
                <a:gd name="connsiteY534" fmla="*/ 2552 h 10034"/>
                <a:gd name="connsiteX535" fmla="*/ 1236 w 10000"/>
                <a:gd name="connsiteY535" fmla="*/ 2442 h 10034"/>
                <a:gd name="connsiteX536" fmla="*/ 1355 w 10000"/>
                <a:gd name="connsiteY536" fmla="*/ 2226 h 10034"/>
                <a:gd name="connsiteX537" fmla="*/ 1474 w 10000"/>
                <a:gd name="connsiteY537" fmla="*/ 2009 h 10034"/>
                <a:gd name="connsiteX538" fmla="*/ 1543 w 10000"/>
                <a:gd name="connsiteY538" fmla="*/ 1913 h 10034"/>
                <a:gd name="connsiteX539" fmla="*/ 1612 w 10000"/>
                <a:gd name="connsiteY539" fmla="*/ 1828 h 10034"/>
                <a:gd name="connsiteX540" fmla="*/ 1650 w 10000"/>
                <a:gd name="connsiteY540" fmla="*/ 1779 h 10034"/>
                <a:gd name="connsiteX541" fmla="*/ 1694 w 10000"/>
                <a:gd name="connsiteY541" fmla="*/ 1743 h 10034"/>
                <a:gd name="connsiteX542" fmla="*/ 1738 w 10000"/>
                <a:gd name="connsiteY542" fmla="*/ 1714 h 10034"/>
                <a:gd name="connsiteX543" fmla="*/ 1788 w 10000"/>
                <a:gd name="connsiteY543" fmla="*/ 1684 h 10034"/>
                <a:gd name="connsiteX544" fmla="*/ 1750 w 10000"/>
                <a:gd name="connsiteY544" fmla="*/ 1611 h 10034"/>
                <a:gd name="connsiteX545" fmla="*/ 1719 w 10000"/>
                <a:gd name="connsiteY545" fmla="*/ 1545 h 10034"/>
                <a:gd name="connsiteX546" fmla="*/ 1713 w 10000"/>
                <a:gd name="connsiteY546" fmla="*/ 1515 h 10034"/>
                <a:gd name="connsiteX547" fmla="*/ 1706 w 10000"/>
                <a:gd name="connsiteY547" fmla="*/ 1485 h 10034"/>
                <a:gd name="connsiteX548" fmla="*/ 1706 w 10000"/>
                <a:gd name="connsiteY548" fmla="*/ 1449 h 10034"/>
                <a:gd name="connsiteX549" fmla="*/ 1706 w 10000"/>
                <a:gd name="connsiteY549" fmla="*/ 1419 h 10034"/>
                <a:gd name="connsiteX550" fmla="*/ 1713 w 10000"/>
                <a:gd name="connsiteY550" fmla="*/ 1388 h 10034"/>
                <a:gd name="connsiteX551" fmla="*/ 1719 w 10000"/>
                <a:gd name="connsiteY551" fmla="*/ 1358 h 10034"/>
                <a:gd name="connsiteX552" fmla="*/ 1731 w 10000"/>
                <a:gd name="connsiteY552" fmla="*/ 1334 h 10034"/>
                <a:gd name="connsiteX553" fmla="*/ 1757 w 10000"/>
                <a:gd name="connsiteY553" fmla="*/ 1310 h 10034"/>
                <a:gd name="connsiteX554" fmla="*/ 1775 w 10000"/>
                <a:gd name="connsiteY554" fmla="*/ 1292 h 10034"/>
                <a:gd name="connsiteX555" fmla="*/ 1801 w 10000"/>
                <a:gd name="connsiteY555" fmla="*/ 1274 h 10034"/>
                <a:gd name="connsiteX556" fmla="*/ 1838 w 10000"/>
                <a:gd name="connsiteY556" fmla="*/ 1256 h 10034"/>
                <a:gd name="connsiteX557" fmla="*/ 1870 w 10000"/>
                <a:gd name="connsiteY557" fmla="*/ 1238 h 10034"/>
                <a:gd name="connsiteX558" fmla="*/ 1688 w 10000"/>
                <a:gd name="connsiteY558" fmla="*/ 1076 h 10034"/>
                <a:gd name="connsiteX559" fmla="*/ 1550 w 10000"/>
                <a:gd name="connsiteY559" fmla="*/ 954 h 10034"/>
                <a:gd name="connsiteX560" fmla="*/ 1487 w 10000"/>
                <a:gd name="connsiteY560" fmla="*/ 894 h 10034"/>
                <a:gd name="connsiteX561" fmla="*/ 1424 w 10000"/>
                <a:gd name="connsiteY561" fmla="*/ 828 h 10034"/>
                <a:gd name="connsiteX562" fmla="*/ 1361 w 10000"/>
                <a:gd name="connsiteY562" fmla="*/ 743 h 10034"/>
                <a:gd name="connsiteX563" fmla="*/ 1286 w 10000"/>
                <a:gd name="connsiteY563" fmla="*/ 642 h 10034"/>
                <a:gd name="connsiteX564" fmla="*/ 1286 w 10000"/>
                <a:gd name="connsiteY564" fmla="*/ 383 h 10034"/>
                <a:gd name="connsiteX565" fmla="*/ 1437 w 10000"/>
                <a:gd name="connsiteY565" fmla="*/ 383 h 10034"/>
                <a:gd name="connsiteX566" fmla="*/ 1606 w 10000"/>
                <a:gd name="connsiteY566" fmla="*/ 371 h 10034"/>
                <a:gd name="connsiteX567" fmla="*/ 1694 w 10000"/>
                <a:gd name="connsiteY567" fmla="*/ 365 h 10034"/>
                <a:gd name="connsiteX568" fmla="*/ 1775 w 10000"/>
                <a:gd name="connsiteY568" fmla="*/ 352 h 10034"/>
                <a:gd name="connsiteX569" fmla="*/ 1863 w 10000"/>
                <a:gd name="connsiteY569" fmla="*/ 333 h 10034"/>
                <a:gd name="connsiteX570" fmla="*/ 1945 w 10000"/>
                <a:gd name="connsiteY570" fmla="*/ 315 h 10034"/>
                <a:gd name="connsiteX571" fmla="*/ 2020 w 10000"/>
                <a:gd name="connsiteY571" fmla="*/ 297 h 10034"/>
                <a:gd name="connsiteX572" fmla="*/ 2102 w 10000"/>
                <a:gd name="connsiteY572" fmla="*/ 267 h 10034"/>
                <a:gd name="connsiteX573" fmla="*/ 2177 w 10000"/>
                <a:gd name="connsiteY573" fmla="*/ 237 h 10034"/>
                <a:gd name="connsiteX574" fmla="*/ 2151 w 10000"/>
                <a:gd name="connsiteY574" fmla="*/ 2 h 10034"/>
                <a:gd name="connsiteX575" fmla="*/ 2280 w 10000"/>
                <a:gd name="connsiteY575" fmla="*/ 31 h 10034"/>
                <a:gd name="connsiteX576" fmla="*/ 2385 w 10000"/>
                <a:gd name="connsiteY576" fmla="*/ 39 h 10034"/>
                <a:gd name="connsiteX577" fmla="*/ 2444 w 10000"/>
                <a:gd name="connsiteY577" fmla="*/ 68 h 10034"/>
                <a:gd name="connsiteX578" fmla="*/ 2415 w 10000"/>
                <a:gd name="connsiteY578" fmla="*/ 109 h 10034"/>
                <a:gd name="connsiteX0" fmla="*/ 2690 w 10000"/>
                <a:gd name="connsiteY0" fmla="*/ 145 h 10070"/>
                <a:gd name="connsiteX1" fmla="*/ 2509 w 10000"/>
                <a:gd name="connsiteY1" fmla="*/ 105 h 10070"/>
                <a:gd name="connsiteX2" fmla="*/ 2818 w 10000"/>
                <a:gd name="connsiteY2" fmla="*/ 71 h 10070"/>
                <a:gd name="connsiteX3" fmla="*/ 2776 w 10000"/>
                <a:gd name="connsiteY3" fmla="*/ 153 h 10070"/>
                <a:gd name="connsiteX4" fmla="*/ 2851 w 10000"/>
                <a:gd name="connsiteY4" fmla="*/ 106 h 10070"/>
                <a:gd name="connsiteX5" fmla="*/ 2880 w 10000"/>
                <a:gd name="connsiteY5" fmla="*/ 59 h 10070"/>
                <a:gd name="connsiteX6" fmla="*/ 3155 w 10000"/>
                <a:gd name="connsiteY6" fmla="*/ 136 h 10070"/>
                <a:gd name="connsiteX7" fmla="*/ 3162 w 10000"/>
                <a:gd name="connsiteY7" fmla="*/ 290 h 10070"/>
                <a:gd name="connsiteX8" fmla="*/ 3120 w 10000"/>
                <a:gd name="connsiteY8" fmla="*/ 415 h 10070"/>
                <a:gd name="connsiteX9" fmla="*/ 3152 w 10000"/>
                <a:gd name="connsiteY9" fmla="*/ 478 h 10070"/>
                <a:gd name="connsiteX10" fmla="*/ 3093 w 10000"/>
                <a:gd name="connsiteY10" fmla="*/ 563 h 10070"/>
                <a:gd name="connsiteX11" fmla="*/ 2992 w 10000"/>
                <a:gd name="connsiteY11" fmla="*/ 654 h 10070"/>
                <a:gd name="connsiteX12" fmla="*/ 3043 w 10000"/>
                <a:gd name="connsiteY12" fmla="*/ 678 h 10070"/>
                <a:gd name="connsiteX13" fmla="*/ 3087 w 10000"/>
                <a:gd name="connsiteY13" fmla="*/ 720 h 10070"/>
                <a:gd name="connsiteX14" fmla="*/ 3130 w 10000"/>
                <a:gd name="connsiteY14" fmla="*/ 767 h 10070"/>
                <a:gd name="connsiteX15" fmla="*/ 3174 w 10000"/>
                <a:gd name="connsiteY15" fmla="*/ 816 h 10070"/>
                <a:gd name="connsiteX16" fmla="*/ 3212 w 10000"/>
                <a:gd name="connsiteY16" fmla="*/ 876 h 10070"/>
                <a:gd name="connsiteX17" fmla="*/ 3256 w 10000"/>
                <a:gd name="connsiteY17" fmla="*/ 930 h 10070"/>
                <a:gd name="connsiteX18" fmla="*/ 3281 w 10000"/>
                <a:gd name="connsiteY18" fmla="*/ 990 h 10070"/>
                <a:gd name="connsiteX19" fmla="*/ 3312 w 10000"/>
                <a:gd name="connsiteY19" fmla="*/ 1057 h 10070"/>
                <a:gd name="connsiteX20" fmla="*/ 3331 w 10000"/>
                <a:gd name="connsiteY20" fmla="*/ 1124 h 10070"/>
                <a:gd name="connsiteX21" fmla="*/ 3043 w 10000"/>
                <a:gd name="connsiteY21" fmla="*/ 1124 h 10070"/>
                <a:gd name="connsiteX22" fmla="*/ 3043 w 10000"/>
                <a:gd name="connsiteY22" fmla="*/ 1310 h 10070"/>
                <a:gd name="connsiteX23" fmla="*/ 3074 w 10000"/>
                <a:gd name="connsiteY23" fmla="*/ 1388 h 10070"/>
                <a:gd name="connsiteX24" fmla="*/ 3118 w 10000"/>
                <a:gd name="connsiteY24" fmla="*/ 1455 h 10070"/>
                <a:gd name="connsiteX25" fmla="*/ 3168 w 10000"/>
                <a:gd name="connsiteY25" fmla="*/ 1515 h 10070"/>
                <a:gd name="connsiteX26" fmla="*/ 3225 w 10000"/>
                <a:gd name="connsiteY26" fmla="*/ 1557 h 10070"/>
                <a:gd name="connsiteX27" fmla="*/ 3281 w 10000"/>
                <a:gd name="connsiteY27" fmla="*/ 1599 h 10070"/>
                <a:gd name="connsiteX28" fmla="*/ 3350 w 10000"/>
                <a:gd name="connsiteY28" fmla="*/ 1629 h 10070"/>
                <a:gd name="connsiteX29" fmla="*/ 3413 w 10000"/>
                <a:gd name="connsiteY29" fmla="*/ 1659 h 10070"/>
                <a:gd name="connsiteX30" fmla="*/ 3488 w 10000"/>
                <a:gd name="connsiteY30" fmla="*/ 1684 h 10070"/>
                <a:gd name="connsiteX31" fmla="*/ 3626 w 10000"/>
                <a:gd name="connsiteY31" fmla="*/ 1738 h 10070"/>
                <a:gd name="connsiteX32" fmla="*/ 3764 w 10000"/>
                <a:gd name="connsiteY32" fmla="*/ 1791 h 10070"/>
                <a:gd name="connsiteX33" fmla="*/ 3827 w 10000"/>
                <a:gd name="connsiteY33" fmla="*/ 1828 h 10070"/>
                <a:gd name="connsiteX34" fmla="*/ 3890 w 10000"/>
                <a:gd name="connsiteY34" fmla="*/ 1876 h 10070"/>
                <a:gd name="connsiteX35" fmla="*/ 3946 w 10000"/>
                <a:gd name="connsiteY35" fmla="*/ 1925 h 10070"/>
                <a:gd name="connsiteX36" fmla="*/ 4003 w 10000"/>
                <a:gd name="connsiteY36" fmla="*/ 1979 h 10070"/>
                <a:gd name="connsiteX37" fmla="*/ 3959 w 10000"/>
                <a:gd name="connsiteY37" fmla="*/ 2540 h 10070"/>
                <a:gd name="connsiteX38" fmla="*/ 4034 w 10000"/>
                <a:gd name="connsiteY38" fmla="*/ 2594 h 10070"/>
                <a:gd name="connsiteX39" fmla="*/ 4141 w 10000"/>
                <a:gd name="connsiteY39" fmla="*/ 2660 h 10070"/>
                <a:gd name="connsiteX40" fmla="*/ 4260 w 10000"/>
                <a:gd name="connsiteY40" fmla="*/ 2720 h 10070"/>
                <a:gd name="connsiteX41" fmla="*/ 4398 w 10000"/>
                <a:gd name="connsiteY41" fmla="*/ 2775 h 10070"/>
                <a:gd name="connsiteX42" fmla="*/ 4536 w 10000"/>
                <a:gd name="connsiteY42" fmla="*/ 2828 h 10070"/>
                <a:gd name="connsiteX43" fmla="*/ 4668 w 10000"/>
                <a:gd name="connsiteY43" fmla="*/ 2870 h 10070"/>
                <a:gd name="connsiteX44" fmla="*/ 4724 w 10000"/>
                <a:gd name="connsiteY44" fmla="*/ 2888 h 10070"/>
                <a:gd name="connsiteX45" fmla="*/ 4780 w 10000"/>
                <a:gd name="connsiteY45" fmla="*/ 2900 h 10070"/>
                <a:gd name="connsiteX46" fmla="*/ 4831 w 10000"/>
                <a:gd name="connsiteY46" fmla="*/ 2906 h 10070"/>
                <a:gd name="connsiteX47" fmla="*/ 4875 w 10000"/>
                <a:gd name="connsiteY47" fmla="*/ 2906 h 10070"/>
                <a:gd name="connsiteX48" fmla="*/ 4887 w 10000"/>
                <a:gd name="connsiteY48" fmla="*/ 2949 h 10070"/>
                <a:gd name="connsiteX49" fmla="*/ 4918 w 10000"/>
                <a:gd name="connsiteY49" fmla="*/ 2985 h 10070"/>
                <a:gd name="connsiteX50" fmla="*/ 4950 w 10000"/>
                <a:gd name="connsiteY50" fmla="*/ 3003 h 10070"/>
                <a:gd name="connsiteX51" fmla="*/ 4987 w 10000"/>
                <a:gd name="connsiteY51" fmla="*/ 3015 h 10070"/>
                <a:gd name="connsiteX52" fmla="*/ 5019 w 10000"/>
                <a:gd name="connsiteY52" fmla="*/ 3027 h 10070"/>
                <a:gd name="connsiteX53" fmla="*/ 5063 w 10000"/>
                <a:gd name="connsiteY53" fmla="*/ 3027 h 10070"/>
                <a:gd name="connsiteX54" fmla="*/ 5107 w 10000"/>
                <a:gd name="connsiteY54" fmla="*/ 3021 h 10070"/>
                <a:gd name="connsiteX55" fmla="*/ 5157 w 10000"/>
                <a:gd name="connsiteY55" fmla="*/ 3015 h 10070"/>
                <a:gd name="connsiteX56" fmla="*/ 5245 w 10000"/>
                <a:gd name="connsiteY56" fmla="*/ 2997 h 10070"/>
                <a:gd name="connsiteX57" fmla="*/ 5345 w 10000"/>
                <a:gd name="connsiteY57" fmla="*/ 2973 h 10070"/>
                <a:gd name="connsiteX58" fmla="*/ 5383 w 10000"/>
                <a:gd name="connsiteY58" fmla="*/ 2973 h 10070"/>
                <a:gd name="connsiteX59" fmla="*/ 5427 w 10000"/>
                <a:gd name="connsiteY59" fmla="*/ 2967 h 10070"/>
                <a:gd name="connsiteX60" fmla="*/ 5464 w 10000"/>
                <a:gd name="connsiteY60" fmla="*/ 2973 h 10070"/>
                <a:gd name="connsiteX61" fmla="*/ 5502 w 10000"/>
                <a:gd name="connsiteY61" fmla="*/ 2979 h 10070"/>
                <a:gd name="connsiteX62" fmla="*/ 5558 w 10000"/>
                <a:gd name="connsiteY62" fmla="*/ 3015 h 10070"/>
                <a:gd name="connsiteX63" fmla="*/ 5596 w 10000"/>
                <a:gd name="connsiteY63" fmla="*/ 3045 h 10070"/>
                <a:gd name="connsiteX64" fmla="*/ 5634 w 10000"/>
                <a:gd name="connsiteY64" fmla="*/ 3087 h 10070"/>
                <a:gd name="connsiteX65" fmla="*/ 5665 w 10000"/>
                <a:gd name="connsiteY65" fmla="*/ 3123 h 10070"/>
                <a:gd name="connsiteX66" fmla="*/ 5696 w 10000"/>
                <a:gd name="connsiteY66" fmla="*/ 3160 h 10070"/>
                <a:gd name="connsiteX67" fmla="*/ 5734 w 10000"/>
                <a:gd name="connsiteY67" fmla="*/ 3196 h 10070"/>
                <a:gd name="connsiteX68" fmla="*/ 5759 w 10000"/>
                <a:gd name="connsiteY68" fmla="*/ 3214 h 10070"/>
                <a:gd name="connsiteX69" fmla="*/ 5778 w 10000"/>
                <a:gd name="connsiteY69" fmla="*/ 3226 h 10070"/>
                <a:gd name="connsiteX70" fmla="*/ 5803 w 10000"/>
                <a:gd name="connsiteY70" fmla="*/ 3238 h 10070"/>
                <a:gd name="connsiteX71" fmla="*/ 5834 w 10000"/>
                <a:gd name="connsiteY71" fmla="*/ 3244 h 10070"/>
                <a:gd name="connsiteX72" fmla="*/ 5935 w 10000"/>
                <a:gd name="connsiteY72" fmla="*/ 3263 h 10070"/>
                <a:gd name="connsiteX73" fmla="*/ 6073 w 10000"/>
                <a:gd name="connsiteY73" fmla="*/ 3298 h 10070"/>
                <a:gd name="connsiteX74" fmla="*/ 6230 w 10000"/>
                <a:gd name="connsiteY74" fmla="*/ 3334 h 10070"/>
                <a:gd name="connsiteX75" fmla="*/ 6405 w 10000"/>
                <a:gd name="connsiteY75" fmla="*/ 3377 h 10070"/>
                <a:gd name="connsiteX76" fmla="*/ 6568 w 10000"/>
                <a:gd name="connsiteY76" fmla="*/ 3407 h 10070"/>
                <a:gd name="connsiteX77" fmla="*/ 6719 w 10000"/>
                <a:gd name="connsiteY77" fmla="*/ 3431 h 10070"/>
                <a:gd name="connsiteX78" fmla="*/ 6788 w 10000"/>
                <a:gd name="connsiteY78" fmla="*/ 3437 h 10070"/>
                <a:gd name="connsiteX79" fmla="*/ 6838 w 10000"/>
                <a:gd name="connsiteY79" fmla="*/ 3443 h 10070"/>
                <a:gd name="connsiteX80" fmla="*/ 6888 w 10000"/>
                <a:gd name="connsiteY80" fmla="*/ 3437 h 10070"/>
                <a:gd name="connsiteX81" fmla="*/ 6913 w 10000"/>
                <a:gd name="connsiteY81" fmla="*/ 3425 h 10070"/>
                <a:gd name="connsiteX82" fmla="*/ 6888 w 10000"/>
                <a:gd name="connsiteY82" fmla="*/ 3383 h 10070"/>
                <a:gd name="connsiteX83" fmla="*/ 6857 w 10000"/>
                <a:gd name="connsiteY83" fmla="*/ 3334 h 10070"/>
                <a:gd name="connsiteX84" fmla="*/ 6838 w 10000"/>
                <a:gd name="connsiteY84" fmla="*/ 3286 h 10070"/>
                <a:gd name="connsiteX85" fmla="*/ 6826 w 10000"/>
                <a:gd name="connsiteY85" fmla="*/ 3232 h 10070"/>
                <a:gd name="connsiteX86" fmla="*/ 6794 w 10000"/>
                <a:gd name="connsiteY86" fmla="*/ 3141 h 10070"/>
                <a:gd name="connsiteX87" fmla="*/ 6788 w 10000"/>
                <a:gd name="connsiteY87" fmla="*/ 3093 h 10070"/>
                <a:gd name="connsiteX88" fmla="*/ 6788 w 10000"/>
                <a:gd name="connsiteY88" fmla="*/ 2906 h 10070"/>
                <a:gd name="connsiteX89" fmla="*/ 6788 w 10000"/>
                <a:gd name="connsiteY89" fmla="*/ 2720 h 10070"/>
                <a:gd name="connsiteX90" fmla="*/ 6995 w 10000"/>
                <a:gd name="connsiteY90" fmla="*/ 2720 h 10070"/>
                <a:gd name="connsiteX91" fmla="*/ 7033 w 10000"/>
                <a:gd name="connsiteY91" fmla="*/ 2786 h 10070"/>
                <a:gd name="connsiteX92" fmla="*/ 7058 w 10000"/>
                <a:gd name="connsiteY92" fmla="*/ 2828 h 10070"/>
                <a:gd name="connsiteX93" fmla="*/ 7095 w 10000"/>
                <a:gd name="connsiteY93" fmla="*/ 2864 h 10070"/>
                <a:gd name="connsiteX94" fmla="*/ 7127 w 10000"/>
                <a:gd name="connsiteY94" fmla="*/ 2906 h 10070"/>
                <a:gd name="connsiteX95" fmla="*/ 7120 w 10000"/>
                <a:gd name="connsiteY95" fmla="*/ 3003 h 10070"/>
                <a:gd name="connsiteX96" fmla="*/ 7102 w 10000"/>
                <a:gd name="connsiteY96" fmla="*/ 3063 h 10070"/>
                <a:gd name="connsiteX97" fmla="*/ 7089 w 10000"/>
                <a:gd name="connsiteY97" fmla="*/ 3111 h 10070"/>
                <a:gd name="connsiteX98" fmla="*/ 7077 w 10000"/>
                <a:gd name="connsiteY98" fmla="*/ 3166 h 10070"/>
                <a:gd name="connsiteX99" fmla="*/ 7208 w 10000"/>
                <a:gd name="connsiteY99" fmla="*/ 3202 h 10070"/>
                <a:gd name="connsiteX100" fmla="*/ 7334 w 10000"/>
                <a:gd name="connsiteY100" fmla="*/ 3238 h 10070"/>
                <a:gd name="connsiteX101" fmla="*/ 7396 w 10000"/>
                <a:gd name="connsiteY101" fmla="*/ 3257 h 10070"/>
                <a:gd name="connsiteX102" fmla="*/ 7459 w 10000"/>
                <a:gd name="connsiteY102" fmla="*/ 3269 h 10070"/>
                <a:gd name="connsiteX103" fmla="*/ 7522 w 10000"/>
                <a:gd name="connsiteY103" fmla="*/ 3275 h 10070"/>
                <a:gd name="connsiteX104" fmla="*/ 7585 w 10000"/>
                <a:gd name="connsiteY104" fmla="*/ 3280 h 10070"/>
                <a:gd name="connsiteX105" fmla="*/ 7591 w 10000"/>
                <a:gd name="connsiteY105" fmla="*/ 3304 h 10070"/>
                <a:gd name="connsiteX106" fmla="*/ 7604 w 10000"/>
                <a:gd name="connsiteY106" fmla="*/ 3328 h 10070"/>
                <a:gd name="connsiteX107" fmla="*/ 7622 w 10000"/>
                <a:gd name="connsiteY107" fmla="*/ 3346 h 10070"/>
                <a:gd name="connsiteX108" fmla="*/ 7654 w 10000"/>
                <a:gd name="connsiteY108" fmla="*/ 3364 h 10070"/>
                <a:gd name="connsiteX109" fmla="*/ 7704 w 10000"/>
                <a:gd name="connsiteY109" fmla="*/ 3383 h 10070"/>
                <a:gd name="connsiteX110" fmla="*/ 7748 w 10000"/>
                <a:gd name="connsiteY110" fmla="*/ 3389 h 10070"/>
                <a:gd name="connsiteX111" fmla="*/ 7798 w 10000"/>
                <a:gd name="connsiteY111" fmla="*/ 3389 h 10070"/>
                <a:gd name="connsiteX112" fmla="*/ 7836 w 10000"/>
                <a:gd name="connsiteY112" fmla="*/ 3377 h 10070"/>
                <a:gd name="connsiteX113" fmla="*/ 7880 w 10000"/>
                <a:gd name="connsiteY113" fmla="*/ 3358 h 10070"/>
                <a:gd name="connsiteX114" fmla="*/ 7911 w 10000"/>
                <a:gd name="connsiteY114" fmla="*/ 3340 h 10070"/>
                <a:gd name="connsiteX115" fmla="*/ 7949 w 10000"/>
                <a:gd name="connsiteY115" fmla="*/ 3316 h 10070"/>
                <a:gd name="connsiteX116" fmla="*/ 7980 w 10000"/>
                <a:gd name="connsiteY116" fmla="*/ 3286 h 10070"/>
                <a:gd name="connsiteX117" fmla="*/ 8011 w 10000"/>
                <a:gd name="connsiteY117" fmla="*/ 3257 h 10070"/>
                <a:gd name="connsiteX118" fmla="*/ 8036 w 10000"/>
                <a:gd name="connsiteY118" fmla="*/ 3226 h 10070"/>
                <a:gd name="connsiteX119" fmla="*/ 8087 w 10000"/>
                <a:gd name="connsiteY119" fmla="*/ 3147 h 10070"/>
                <a:gd name="connsiteX120" fmla="*/ 8118 w 10000"/>
                <a:gd name="connsiteY120" fmla="*/ 3075 h 10070"/>
                <a:gd name="connsiteX121" fmla="*/ 8149 w 10000"/>
                <a:gd name="connsiteY121" fmla="*/ 3009 h 10070"/>
                <a:gd name="connsiteX122" fmla="*/ 8168 w 10000"/>
                <a:gd name="connsiteY122" fmla="*/ 2943 h 10070"/>
                <a:gd name="connsiteX123" fmla="*/ 8231 w 10000"/>
                <a:gd name="connsiteY123" fmla="*/ 2876 h 10070"/>
                <a:gd name="connsiteX124" fmla="*/ 8294 w 10000"/>
                <a:gd name="connsiteY124" fmla="*/ 2810 h 10070"/>
                <a:gd name="connsiteX125" fmla="*/ 8363 w 10000"/>
                <a:gd name="connsiteY125" fmla="*/ 2757 h 10070"/>
                <a:gd name="connsiteX126" fmla="*/ 8432 w 10000"/>
                <a:gd name="connsiteY126" fmla="*/ 2696 h 10070"/>
                <a:gd name="connsiteX127" fmla="*/ 8507 w 10000"/>
                <a:gd name="connsiteY127" fmla="*/ 2648 h 10070"/>
                <a:gd name="connsiteX128" fmla="*/ 8576 w 10000"/>
                <a:gd name="connsiteY128" fmla="*/ 2600 h 10070"/>
                <a:gd name="connsiteX129" fmla="*/ 8651 w 10000"/>
                <a:gd name="connsiteY129" fmla="*/ 2558 h 10070"/>
                <a:gd name="connsiteX130" fmla="*/ 8726 w 10000"/>
                <a:gd name="connsiteY130" fmla="*/ 2514 h 10070"/>
                <a:gd name="connsiteX131" fmla="*/ 8808 w 10000"/>
                <a:gd name="connsiteY131" fmla="*/ 2472 h 10070"/>
                <a:gd name="connsiteX132" fmla="*/ 8890 w 10000"/>
                <a:gd name="connsiteY132" fmla="*/ 2436 h 10070"/>
                <a:gd name="connsiteX133" fmla="*/ 8971 w 10000"/>
                <a:gd name="connsiteY133" fmla="*/ 2406 h 10070"/>
                <a:gd name="connsiteX134" fmla="*/ 9059 w 10000"/>
                <a:gd name="connsiteY134" fmla="*/ 2376 h 10070"/>
                <a:gd name="connsiteX135" fmla="*/ 9235 w 10000"/>
                <a:gd name="connsiteY135" fmla="*/ 2322 h 10070"/>
                <a:gd name="connsiteX136" fmla="*/ 9417 w 10000"/>
                <a:gd name="connsiteY136" fmla="*/ 2279 h 10070"/>
                <a:gd name="connsiteX137" fmla="*/ 9454 w 10000"/>
                <a:gd name="connsiteY137" fmla="*/ 2328 h 10070"/>
                <a:gd name="connsiteX138" fmla="*/ 9504 w 10000"/>
                <a:gd name="connsiteY138" fmla="*/ 2388 h 10070"/>
                <a:gd name="connsiteX139" fmla="*/ 9573 w 10000"/>
                <a:gd name="connsiteY139" fmla="*/ 2454 h 10070"/>
                <a:gd name="connsiteX140" fmla="*/ 9642 w 10000"/>
                <a:gd name="connsiteY140" fmla="*/ 2527 h 10070"/>
                <a:gd name="connsiteX141" fmla="*/ 9718 w 10000"/>
                <a:gd name="connsiteY141" fmla="*/ 2588 h 10070"/>
                <a:gd name="connsiteX142" fmla="*/ 9799 w 10000"/>
                <a:gd name="connsiteY142" fmla="*/ 2636 h 10070"/>
                <a:gd name="connsiteX143" fmla="*/ 9837 w 10000"/>
                <a:gd name="connsiteY143" fmla="*/ 2660 h 10070"/>
                <a:gd name="connsiteX144" fmla="*/ 9875 w 10000"/>
                <a:gd name="connsiteY144" fmla="*/ 2672 h 10070"/>
                <a:gd name="connsiteX145" fmla="*/ 9918 w 10000"/>
                <a:gd name="connsiteY145" fmla="*/ 2684 h 10070"/>
                <a:gd name="connsiteX146" fmla="*/ 9956 w 10000"/>
                <a:gd name="connsiteY146" fmla="*/ 2684 h 10070"/>
                <a:gd name="connsiteX147" fmla="*/ 10000 w 10000"/>
                <a:gd name="connsiteY147" fmla="*/ 2612 h 10070"/>
                <a:gd name="connsiteX148" fmla="*/ 9975 w 10000"/>
                <a:gd name="connsiteY148" fmla="*/ 2739 h 10070"/>
                <a:gd name="connsiteX149" fmla="*/ 9944 w 10000"/>
                <a:gd name="connsiteY149" fmla="*/ 2882 h 10070"/>
                <a:gd name="connsiteX150" fmla="*/ 9931 w 10000"/>
                <a:gd name="connsiteY150" fmla="*/ 2949 h 10070"/>
                <a:gd name="connsiteX151" fmla="*/ 9906 w 10000"/>
                <a:gd name="connsiteY151" fmla="*/ 3009 h 10070"/>
                <a:gd name="connsiteX152" fmla="*/ 9887 w 10000"/>
                <a:gd name="connsiteY152" fmla="*/ 3033 h 10070"/>
                <a:gd name="connsiteX153" fmla="*/ 9875 w 10000"/>
                <a:gd name="connsiteY153" fmla="*/ 3057 h 10070"/>
                <a:gd name="connsiteX154" fmla="*/ 9856 w 10000"/>
                <a:gd name="connsiteY154" fmla="*/ 3075 h 10070"/>
                <a:gd name="connsiteX155" fmla="*/ 9837 w 10000"/>
                <a:gd name="connsiteY155" fmla="*/ 3093 h 10070"/>
                <a:gd name="connsiteX156" fmla="*/ 9749 w 10000"/>
                <a:gd name="connsiteY156" fmla="*/ 3111 h 10070"/>
                <a:gd name="connsiteX157" fmla="*/ 9605 w 10000"/>
                <a:gd name="connsiteY157" fmla="*/ 3160 h 10070"/>
                <a:gd name="connsiteX158" fmla="*/ 9536 w 10000"/>
                <a:gd name="connsiteY158" fmla="*/ 3202 h 10070"/>
                <a:gd name="connsiteX159" fmla="*/ 9479 w 10000"/>
                <a:gd name="connsiteY159" fmla="*/ 3238 h 10070"/>
                <a:gd name="connsiteX160" fmla="*/ 9448 w 10000"/>
                <a:gd name="connsiteY160" fmla="*/ 3257 h 10070"/>
                <a:gd name="connsiteX161" fmla="*/ 9435 w 10000"/>
                <a:gd name="connsiteY161" fmla="*/ 3275 h 10070"/>
                <a:gd name="connsiteX162" fmla="*/ 9423 w 10000"/>
                <a:gd name="connsiteY162" fmla="*/ 3298 h 10070"/>
                <a:gd name="connsiteX163" fmla="*/ 9417 w 10000"/>
                <a:gd name="connsiteY163" fmla="*/ 3316 h 10070"/>
                <a:gd name="connsiteX164" fmla="*/ 9423 w 10000"/>
                <a:gd name="connsiteY164" fmla="*/ 3527 h 10070"/>
                <a:gd name="connsiteX165" fmla="*/ 9417 w 10000"/>
                <a:gd name="connsiteY165" fmla="*/ 3768 h 10070"/>
                <a:gd name="connsiteX166" fmla="*/ 9398 w 10000"/>
                <a:gd name="connsiteY166" fmla="*/ 3828 h 10070"/>
                <a:gd name="connsiteX167" fmla="*/ 9391 w 10000"/>
                <a:gd name="connsiteY167" fmla="*/ 3894 h 10070"/>
                <a:gd name="connsiteX168" fmla="*/ 9379 w 10000"/>
                <a:gd name="connsiteY168" fmla="*/ 3948 h 10070"/>
                <a:gd name="connsiteX169" fmla="*/ 9366 w 10000"/>
                <a:gd name="connsiteY169" fmla="*/ 4003 h 10070"/>
                <a:gd name="connsiteX170" fmla="*/ 9348 w 10000"/>
                <a:gd name="connsiteY170" fmla="*/ 4052 h 10070"/>
                <a:gd name="connsiteX171" fmla="*/ 9316 w 10000"/>
                <a:gd name="connsiteY171" fmla="*/ 4100 h 10070"/>
                <a:gd name="connsiteX172" fmla="*/ 9285 w 10000"/>
                <a:gd name="connsiteY172" fmla="*/ 4136 h 10070"/>
                <a:gd name="connsiteX173" fmla="*/ 9247 w 10000"/>
                <a:gd name="connsiteY173" fmla="*/ 4166 h 10070"/>
                <a:gd name="connsiteX174" fmla="*/ 9228 w 10000"/>
                <a:gd name="connsiteY174" fmla="*/ 4184 h 10070"/>
                <a:gd name="connsiteX175" fmla="*/ 9184 w 10000"/>
                <a:gd name="connsiteY175" fmla="*/ 4190 h 10070"/>
                <a:gd name="connsiteX176" fmla="*/ 9141 w 10000"/>
                <a:gd name="connsiteY176" fmla="*/ 4196 h 10070"/>
                <a:gd name="connsiteX177" fmla="*/ 9090 w 10000"/>
                <a:gd name="connsiteY177" fmla="*/ 4202 h 10070"/>
                <a:gd name="connsiteX178" fmla="*/ 9040 w 10000"/>
                <a:gd name="connsiteY178" fmla="*/ 4208 h 10070"/>
                <a:gd name="connsiteX179" fmla="*/ 8996 w 10000"/>
                <a:gd name="connsiteY179" fmla="*/ 4227 h 10070"/>
                <a:gd name="connsiteX180" fmla="*/ 8977 w 10000"/>
                <a:gd name="connsiteY180" fmla="*/ 4233 h 10070"/>
                <a:gd name="connsiteX181" fmla="*/ 8965 w 10000"/>
                <a:gd name="connsiteY181" fmla="*/ 4251 h 10070"/>
                <a:gd name="connsiteX182" fmla="*/ 8959 w 10000"/>
                <a:gd name="connsiteY182" fmla="*/ 4263 h 10070"/>
                <a:gd name="connsiteX183" fmla="*/ 8959 w 10000"/>
                <a:gd name="connsiteY183" fmla="*/ 4281 h 10070"/>
                <a:gd name="connsiteX184" fmla="*/ 8952 w 10000"/>
                <a:gd name="connsiteY184" fmla="*/ 4352 h 10070"/>
                <a:gd name="connsiteX185" fmla="*/ 8952 w 10000"/>
                <a:gd name="connsiteY185" fmla="*/ 4437 h 10070"/>
                <a:gd name="connsiteX186" fmla="*/ 8940 w 10000"/>
                <a:gd name="connsiteY186" fmla="*/ 4527 h 10070"/>
                <a:gd name="connsiteX187" fmla="*/ 8927 w 10000"/>
                <a:gd name="connsiteY187" fmla="*/ 4611 h 10070"/>
                <a:gd name="connsiteX188" fmla="*/ 8908 w 10000"/>
                <a:gd name="connsiteY188" fmla="*/ 4697 h 10070"/>
                <a:gd name="connsiteX189" fmla="*/ 8890 w 10000"/>
                <a:gd name="connsiteY189" fmla="*/ 4775 h 10070"/>
                <a:gd name="connsiteX190" fmla="*/ 8864 w 10000"/>
                <a:gd name="connsiteY190" fmla="*/ 4846 h 10070"/>
                <a:gd name="connsiteX191" fmla="*/ 8833 w 10000"/>
                <a:gd name="connsiteY191" fmla="*/ 4913 h 10070"/>
                <a:gd name="connsiteX192" fmla="*/ 8538 w 10000"/>
                <a:gd name="connsiteY192" fmla="*/ 4424 h 10070"/>
                <a:gd name="connsiteX193" fmla="*/ 8526 w 10000"/>
                <a:gd name="connsiteY193" fmla="*/ 4449 h 10070"/>
                <a:gd name="connsiteX194" fmla="*/ 8494 w 10000"/>
                <a:gd name="connsiteY194" fmla="*/ 4503 h 10070"/>
                <a:gd name="connsiteX195" fmla="*/ 8463 w 10000"/>
                <a:gd name="connsiteY195" fmla="*/ 4533 h 10070"/>
                <a:gd name="connsiteX196" fmla="*/ 8438 w 10000"/>
                <a:gd name="connsiteY196" fmla="*/ 4557 h 10070"/>
                <a:gd name="connsiteX197" fmla="*/ 8407 w 10000"/>
                <a:gd name="connsiteY197" fmla="*/ 4575 h 10070"/>
                <a:gd name="connsiteX198" fmla="*/ 8375 w 10000"/>
                <a:gd name="connsiteY198" fmla="*/ 4581 h 10070"/>
                <a:gd name="connsiteX199" fmla="*/ 8338 w 10000"/>
                <a:gd name="connsiteY199" fmla="*/ 4575 h 10070"/>
                <a:gd name="connsiteX200" fmla="*/ 8312 w 10000"/>
                <a:gd name="connsiteY200" fmla="*/ 4569 h 10070"/>
                <a:gd name="connsiteX201" fmla="*/ 8287 w 10000"/>
                <a:gd name="connsiteY201" fmla="*/ 4551 h 10070"/>
                <a:gd name="connsiteX202" fmla="*/ 8256 w 10000"/>
                <a:gd name="connsiteY202" fmla="*/ 4533 h 10070"/>
                <a:gd name="connsiteX203" fmla="*/ 8237 w 10000"/>
                <a:gd name="connsiteY203" fmla="*/ 4503 h 10070"/>
                <a:gd name="connsiteX204" fmla="*/ 8225 w 10000"/>
                <a:gd name="connsiteY204" fmla="*/ 4479 h 10070"/>
                <a:gd name="connsiteX205" fmla="*/ 8206 w 10000"/>
                <a:gd name="connsiteY205" fmla="*/ 4455 h 10070"/>
                <a:gd name="connsiteX206" fmla="*/ 8206 w 10000"/>
                <a:gd name="connsiteY206" fmla="*/ 4424 h 10070"/>
                <a:gd name="connsiteX207" fmla="*/ 8206 w 10000"/>
                <a:gd name="connsiteY207" fmla="*/ 4388 h 10070"/>
                <a:gd name="connsiteX208" fmla="*/ 8225 w 10000"/>
                <a:gd name="connsiteY208" fmla="*/ 4352 h 10070"/>
                <a:gd name="connsiteX209" fmla="*/ 8237 w 10000"/>
                <a:gd name="connsiteY209" fmla="*/ 4316 h 10070"/>
                <a:gd name="connsiteX210" fmla="*/ 8250 w 10000"/>
                <a:gd name="connsiteY210" fmla="*/ 4281 h 10070"/>
                <a:gd name="connsiteX211" fmla="*/ 8300 w 10000"/>
                <a:gd name="connsiteY211" fmla="*/ 4214 h 10070"/>
                <a:gd name="connsiteX212" fmla="*/ 8356 w 10000"/>
                <a:gd name="connsiteY212" fmla="*/ 4148 h 10070"/>
                <a:gd name="connsiteX213" fmla="*/ 8407 w 10000"/>
                <a:gd name="connsiteY213" fmla="*/ 4088 h 10070"/>
                <a:gd name="connsiteX214" fmla="*/ 8457 w 10000"/>
                <a:gd name="connsiteY214" fmla="*/ 4022 h 10070"/>
                <a:gd name="connsiteX215" fmla="*/ 8469 w 10000"/>
                <a:gd name="connsiteY215" fmla="*/ 3985 h 10070"/>
                <a:gd name="connsiteX216" fmla="*/ 8482 w 10000"/>
                <a:gd name="connsiteY216" fmla="*/ 3954 h 10070"/>
                <a:gd name="connsiteX217" fmla="*/ 8501 w 10000"/>
                <a:gd name="connsiteY217" fmla="*/ 3912 h 10070"/>
                <a:gd name="connsiteX218" fmla="*/ 8501 w 10000"/>
                <a:gd name="connsiteY218" fmla="*/ 3876 h 10070"/>
                <a:gd name="connsiteX219" fmla="*/ 7748 w 10000"/>
                <a:gd name="connsiteY219" fmla="*/ 3876 h 10070"/>
                <a:gd name="connsiteX220" fmla="*/ 7723 w 10000"/>
                <a:gd name="connsiteY220" fmla="*/ 3870 h 10070"/>
                <a:gd name="connsiteX221" fmla="*/ 7685 w 10000"/>
                <a:gd name="connsiteY221" fmla="*/ 3852 h 10070"/>
                <a:gd name="connsiteX222" fmla="*/ 7660 w 10000"/>
                <a:gd name="connsiteY222" fmla="*/ 3816 h 10070"/>
                <a:gd name="connsiteX223" fmla="*/ 7635 w 10000"/>
                <a:gd name="connsiteY223" fmla="*/ 3780 h 10070"/>
                <a:gd name="connsiteX224" fmla="*/ 7616 w 10000"/>
                <a:gd name="connsiteY224" fmla="*/ 3732 h 10070"/>
                <a:gd name="connsiteX225" fmla="*/ 7597 w 10000"/>
                <a:gd name="connsiteY225" fmla="*/ 3684 h 10070"/>
                <a:gd name="connsiteX226" fmla="*/ 7591 w 10000"/>
                <a:gd name="connsiteY226" fmla="*/ 3630 h 10070"/>
                <a:gd name="connsiteX227" fmla="*/ 7585 w 10000"/>
                <a:gd name="connsiteY227" fmla="*/ 3575 h 10070"/>
                <a:gd name="connsiteX228" fmla="*/ 7547 w 10000"/>
                <a:gd name="connsiteY228" fmla="*/ 3575 h 10070"/>
                <a:gd name="connsiteX229" fmla="*/ 7516 w 10000"/>
                <a:gd name="connsiteY229" fmla="*/ 3569 h 10070"/>
                <a:gd name="connsiteX230" fmla="*/ 7478 w 10000"/>
                <a:gd name="connsiteY230" fmla="*/ 3563 h 10070"/>
                <a:gd name="connsiteX231" fmla="*/ 7447 w 10000"/>
                <a:gd name="connsiteY231" fmla="*/ 3551 h 10070"/>
                <a:gd name="connsiteX232" fmla="*/ 7415 w 10000"/>
                <a:gd name="connsiteY232" fmla="*/ 3533 h 10070"/>
                <a:gd name="connsiteX233" fmla="*/ 7396 w 10000"/>
                <a:gd name="connsiteY233" fmla="*/ 3515 h 10070"/>
                <a:gd name="connsiteX234" fmla="*/ 7384 w 10000"/>
                <a:gd name="connsiteY234" fmla="*/ 3485 h 10070"/>
                <a:gd name="connsiteX235" fmla="*/ 7378 w 10000"/>
                <a:gd name="connsiteY235" fmla="*/ 3461 h 10070"/>
                <a:gd name="connsiteX236" fmla="*/ 7321 w 10000"/>
                <a:gd name="connsiteY236" fmla="*/ 3461 h 10070"/>
                <a:gd name="connsiteX237" fmla="*/ 7271 w 10000"/>
                <a:gd name="connsiteY237" fmla="*/ 3461 h 10070"/>
                <a:gd name="connsiteX238" fmla="*/ 7221 w 10000"/>
                <a:gd name="connsiteY238" fmla="*/ 3461 h 10070"/>
                <a:gd name="connsiteX239" fmla="*/ 7171 w 10000"/>
                <a:gd name="connsiteY239" fmla="*/ 3461 h 10070"/>
                <a:gd name="connsiteX240" fmla="*/ 7127 w 10000"/>
                <a:gd name="connsiteY240" fmla="*/ 3467 h 10070"/>
                <a:gd name="connsiteX241" fmla="*/ 7095 w 10000"/>
                <a:gd name="connsiteY241" fmla="*/ 3473 h 10070"/>
                <a:gd name="connsiteX242" fmla="*/ 7051 w 10000"/>
                <a:gd name="connsiteY242" fmla="*/ 3491 h 10070"/>
                <a:gd name="connsiteX243" fmla="*/ 7008 w 10000"/>
                <a:gd name="connsiteY243" fmla="*/ 3515 h 10070"/>
                <a:gd name="connsiteX244" fmla="*/ 6976 w 10000"/>
                <a:gd name="connsiteY244" fmla="*/ 3545 h 10070"/>
                <a:gd name="connsiteX245" fmla="*/ 6939 w 10000"/>
                <a:gd name="connsiteY245" fmla="*/ 3575 h 10070"/>
                <a:gd name="connsiteX246" fmla="*/ 6920 w 10000"/>
                <a:gd name="connsiteY246" fmla="*/ 3612 h 10070"/>
                <a:gd name="connsiteX247" fmla="*/ 6913 w 10000"/>
                <a:gd name="connsiteY247" fmla="*/ 3648 h 10070"/>
                <a:gd name="connsiteX248" fmla="*/ 6926 w 10000"/>
                <a:gd name="connsiteY248" fmla="*/ 3672 h 10070"/>
                <a:gd name="connsiteX249" fmla="*/ 6964 w 10000"/>
                <a:gd name="connsiteY249" fmla="*/ 3702 h 10070"/>
                <a:gd name="connsiteX250" fmla="*/ 7008 w 10000"/>
                <a:gd name="connsiteY250" fmla="*/ 3738 h 10070"/>
                <a:gd name="connsiteX251" fmla="*/ 7070 w 10000"/>
                <a:gd name="connsiteY251" fmla="*/ 3774 h 10070"/>
                <a:gd name="connsiteX252" fmla="*/ 7133 w 10000"/>
                <a:gd name="connsiteY252" fmla="*/ 3810 h 10070"/>
                <a:gd name="connsiteX253" fmla="*/ 7196 w 10000"/>
                <a:gd name="connsiteY253" fmla="*/ 3840 h 10070"/>
                <a:gd name="connsiteX254" fmla="*/ 7252 w 10000"/>
                <a:gd name="connsiteY254" fmla="*/ 3864 h 10070"/>
                <a:gd name="connsiteX255" fmla="*/ 7290 w 10000"/>
                <a:gd name="connsiteY255" fmla="*/ 3876 h 10070"/>
                <a:gd name="connsiteX256" fmla="*/ 7208 w 10000"/>
                <a:gd name="connsiteY256" fmla="*/ 3936 h 10070"/>
                <a:gd name="connsiteX257" fmla="*/ 7114 w 10000"/>
                <a:gd name="connsiteY257" fmla="*/ 4010 h 10070"/>
                <a:gd name="connsiteX258" fmla="*/ 7070 w 10000"/>
                <a:gd name="connsiteY258" fmla="*/ 4046 h 10070"/>
                <a:gd name="connsiteX259" fmla="*/ 7033 w 10000"/>
                <a:gd name="connsiteY259" fmla="*/ 4088 h 10070"/>
                <a:gd name="connsiteX260" fmla="*/ 7020 w 10000"/>
                <a:gd name="connsiteY260" fmla="*/ 4106 h 10070"/>
                <a:gd name="connsiteX261" fmla="*/ 7008 w 10000"/>
                <a:gd name="connsiteY261" fmla="*/ 4124 h 10070"/>
                <a:gd name="connsiteX262" fmla="*/ 7001 w 10000"/>
                <a:gd name="connsiteY262" fmla="*/ 4148 h 10070"/>
                <a:gd name="connsiteX263" fmla="*/ 6995 w 10000"/>
                <a:gd name="connsiteY263" fmla="*/ 4166 h 10070"/>
                <a:gd name="connsiteX264" fmla="*/ 7001 w 10000"/>
                <a:gd name="connsiteY264" fmla="*/ 4196 h 10070"/>
                <a:gd name="connsiteX265" fmla="*/ 7008 w 10000"/>
                <a:gd name="connsiteY265" fmla="*/ 4214 h 10070"/>
                <a:gd name="connsiteX266" fmla="*/ 7026 w 10000"/>
                <a:gd name="connsiteY266" fmla="*/ 4239 h 10070"/>
                <a:gd name="connsiteX267" fmla="*/ 7039 w 10000"/>
                <a:gd name="connsiteY267" fmla="*/ 4263 h 10070"/>
                <a:gd name="connsiteX268" fmla="*/ 7089 w 10000"/>
                <a:gd name="connsiteY268" fmla="*/ 4310 h 10070"/>
                <a:gd name="connsiteX269" fmla="*/ 7146 w 10000"/>
                <a:gd name="connsiteY269" fmla="*/ 4358 h 10070"/>
                <a:gd name="connsiteX270" fmla="*/ 7208 w 10000"/>
                <a:gd name="connsiteY270" fmla="*/ 4400 h 10070"/>
                <a:gd name="connsiteX271" fmla="*/ 7277 w 10000"/>
                <a:gd name="connsiteY271" fmla="*/ 4437 h 10070"/>
                <a:gd name="connsiteX272" fmla="*/ 7315 w 10000"/>
                <a:gd name="connsiteY272" fmla="*/ 4449 h 10070"/>
                <a:gd name="connsiteX273" fmla="*/ 7346 w 10000"/>
                <a:gd name="connsiteY273" fmla="*/ 4455 h 10070"/>
                <a:gd name="connsiteX274" fmla="*/ 7384 w 10000"/>
                <a:gd name="connsiteY274" fmla="*/ 4461 h 10070"/>
                <a:gd name="connsiteX275" fmla="*/ 7415 w 10000"/>
                <a:gd name="connsiteY275" fmla="*/ 4467 h 10070"/>
                <a:gd name="connsiteX276" fmla="*/ 7585 w 10000"/>
                <a:gd name="connsiteY276" fmla="*/ 5094 h 10070"/>
                <a:gd name="connsiteX277" fmla="*/ 7491 w 10000"/>
                <a:gd name="connsiteY277" fmla="*/ 5094 h 10070"/>
                <a:gd name="connsiteX278" fmla="*/ 7403 w 10000"/>
                <a:gd name="connsiteY278" fmla="*/ 5094 h 10070"/>
                <a:gd name="connsiteX279" fmla="*/ 7321 w 10000"/>
                <a:gd name="connsiteY279" fmla="*/ 5094 h 10070"/>
                <a:gd name="connsiteX280" fmla="*/ 7252 w 10000"/>
                <a:gd name="connsiteY280" fmla="*/ 5094 h 10070"/>
                <a:gd name="connsiteX281" fmla="*/ 7208 w 10000"/>
                <a:gd name="connsiteY281" fmla="*/ 5088 h 10070"/>
                <a:gd name="connsiteX282" fmla="*/ 7164 w 10000"/>
                <a:gd name="connsiteY282" fmla="*/ 5057 h 10070"/>
                <a:gd name="connsiteX283" fmla="*/ 7133 w 10000"/>
                <a:gd name="connsiteY283" fmla="*/ 5045 h 10070"/>
                <a:gd name="connsiteX284" fmla="*/ 7102 w 10000"/>
                <a:gd name="connsiteY284" fmla="*/ 5033 h 10070"/>
                <a:gd name="connsiteX285" fmla="*/ 7070 w 10000"/>
                <a:gd name="connsiteY285" fmla="*/ 5027 h 10070"/>
                <a:gd name="connsiteX286" fmla="*/ 7039 w 10000"/>
                <a:gd name="connsiteY286" fmla="*/ 5021 h 10070"/>
                <a:gd name="connsiteX287" fmla="*/ 7008 w 10000"/>
                <a:gd name="connsiteY287" fmla="*/ 5033 h 10070"/>
                <a:gd name="connsiteX288" fmla="*/ 6957 w 10000"/>
                <a:gd name="connsiteY288" fmla="*/ 5063 h 10070"/>
                <a:gd name="connsiteX289" fmla="*/ 6895 w 10000"/>
                <a:gd name="connsiteY289" fmla="*/ 5106 h 10070"/>
                <a:gd name="connsiteX290" fmla="*/ 6819 w 10000"/>
                <a:gd name="connsiteY290" fmla="*/ 5154 h 10070"/>
                <a:gd name="connsiteX291" fmla="*/ 6744 w 10000"/>
                <a:gd name="connsiteY291" fmla="*/ 5214 h 10070"/>
                <a:gd name="connsiteX292" fmla="*/ 6681 w 10000"/>
                <a:gd name="connsiteY292" fmla="*/ 5262 h 10070"/>
                <a:gd name="connsiteX293" fmla="*/ 6637 w 10000"/>
                <a:gd name="connsiteY293" fmla="*/ 5298 h 10070"/>
                <a:gd name="connsiteX294" fmla="*/ 6625 w 10000"/>
                <a:gd name="connsiteY294" fmla="*/ 5322 h 10070"/>
                <a:gd name="connsiteX295" fmla="*/ 6750 w 10000"/>
                <a:gd name="connsiteY295" fmla="*/ 5394 h 10070"/>
                <a:gd name="connsiteX296" fmla="*/ 6744 w 10000"/>
                <a:gd name="connsiteY296" fmla="*/ 5431 h 10070"/>
                <a:gd name="connsiteX297" fmla="*/ 6725 w 10000"/>
                <a:gd name="connsiteY297" fmla="*/ 5473 h 10070"/>
                <a:gd name="connsiteX298" fmla="*/ 6706 w 10000"/>
                <a:gd name="connsiteY298" fmla="*/ 5504 h 10070"/>
                <a:gd name="connsiteX299" fmla="*/ 6688 w 10000"/>
                <a:gd name="connsiteY299" fmla="*/ 5546 h 10070"/>
                <a:gd name="connsiteX300" fmla="*/ 6637 w 10000"/>
                <a:gd name="connsiteY300" fmla="*/ 5600 h 10070"/>
                <a:gd name="connsiteX301" fmla="*/ 6581 w 10000"/>
                <a:gd name="connsiteY301" fmla="*/ 5654 h 10070"/>
                <a:gd name="connsiteX302" fmla="*/ 6518 w 10000"/>
                <a:gd name="connsiteY302" fmla="*/ 5702 h 10070"/>
                <a:gd name="connsiteX303" fmla="*/ 6443 w 10000"/>
                <a:gd name="connsiteY303" fmla="*/ 5745 h 10070"/>
                <a:gd name="connsiteX304" fmla="*/ 6374 w 10000"/>
                <a:gd name="connsiteY304" fmla="*/ 5781 h 10070"/>
                <a:gd name="connsiteX305" fmla="*/ 6299 w 10000"/>
                <a:gd name="connsiteY305" fmla="*/ 5816 h 10070"/>
                <a:gd name="connsiteX306" fmla="*/ 6223 w 10000"/>
                <a:gd name="connsiteY306" fmla="*/ 5864 h 10070"/>
                <a:gd name="connsiteX307" fmla="*/ 6154 w 10000"/>
                <a:gd name="connsiteY307" fmla="*/ 5900 h 10070"/>
                <a:gd name="connsiteX308" fmla="*/ 6092 w 10000"/>
                <a:gd name="connsiteY308" fmla="*/ 5943 h 10070"/>
                <a:gd name="connsiteX309" fmla="*/ 6035 w 10000"/>
                <a:gd name="connsiteY309" fmla="*/ 5991 h 10070"/>
                <a:gd name="connsiteX310" fmla="*/ 6004 w 10000"/>
                <a:gd name="connsiteY310" fmla="*/ 6015 h 10070"/>
                <a:gd name="connsiteX311" fmla="*/ 5985 w 10000"/>
                <a:gd name="connsiteY311" fmla="*/ 6039 h 10070"/>
                <a:gd name="connsiteX312" fmla="*/ 5966 w 10000"/>
                <a:gd name="connsiteY312" fmla="*/ 6069 h 10070"/>
                <a:gd name="connsiteX313" fmla="*/ 5947 w 10000"/>
                <a:gd name="connsiteY313" fmla="*/ 6099 h 10070"/>
                <a:gd name="connsiteX314" fmla="*/ 5935 w 10000"/>
                <a:gd name="connsiteY314" fmla="*/ 6137 h 10070"/>
                <a:gd name="connsiteX315" fmla="*/ 5922 w 10000"/>
                <a:gd name="connsiteY315" fmla="*/ 6167 h 10070"/>
                <a:gd name="connsiteX316" fmla="*/ 5916 w 10000"/>
                <a:gd name="connsiteY316" fmla="*/ 6209 h 10070"/>
                <a:gd name="connsiteX317" fmla="*/ 5916 w 10000"/>
                <a:gd name="connsiteY317" fmla="*/ 6251 h 10070"/>
                <a:gd name="connsiteX318" fmla="*/ 5859 w 10000"/>
                <a:gd name="connsiteY318" fmla="*/ 6269 h 10070"/>
                <a:gd name="connsiteX319" fmla="*/ 5809 w 10000"/>
                <a:gd name="connsiteY319" fmla="*/ 6287 h 10070"/>
                <a:gd name="connsiteX320" fmla="*/ 5765 w 10000"/>
                <a:gd name="connsiteY320" fmla="*/ 6310 h 10070"/>
                <a:gd name="connsiteX321" fmla="*/ 5721 w 10000"/>
                <a:gd name="connsiteY321" fmla="*/ 6334 h 10070"/>
                <a:gd name="connsiteX322" fmla="*/ 5634 w 10000"/>
                <a:gd name="connsiteY322" fmla="*/ 6395 h 10070"/>
                <a:gd name="connsiteX323" fmla="*/ 5558 w 10000"/>
                <a:gd name="connsiteY323" fmla="*/ 6467 h 10070"/>
                <a:gd name="connsiteX324" fmla="*/ 5420 w 10000"/>
                <a:gd name="connsiteY324" fmla="*/ 6630 h 10070"/>
                <a:gd name="connsiteX325" fmla="*/ 5289 w 10000"/>
                <a:gd name="connsiteY325" fmla="*/ 6804 h 10070"/>
                <a:gd name="connsiteX326" fmla="*/ 5220 w 10000"/>
                <a:gd name="connsiteY326" fmla="*/ 6895 h 10070"/>
                <a:gd name="connsiteX327" fmla="*/ 5151 w 10000"/>
                <a:gd name="connsiteY327" fmla="*/ 6973 h 10070"/>
                <a:gd name="connsiteX328" fmla="*/ 5075 w 10000"/>
                <a:gd name="connsiteY328" fmla="*/ 7046 h 10070"/>
                <a:gd name="connsiteX329" fmla="*/ 4994 w 10000"/>
                <a:gd name="connsiteY329" fmla="*/ 7112 h 10070"/>
                <a:gd name="connsiteX330" fmla="*/ 4944 w 10000"/>
                <a:gd name="connsiteY330" fmla="*/ 7142 h 10070"/>
                <a:gd name="connsiteX331" fmla="*/ 4893 w 10000"/>
                <a:gd name="connsiteY331" fmla="*/ 7166 h 10070"/>
                <a:gd name="connsiteX332" fmla="*/ 4849 w 10000"/>
                <a:gd name="connsiteY332" fmla="*/ 7190 h 10070"/>
                <a:gd name="connsiteX333" fmla="*/ 4793 w 10000"/>
                <a:gd name="connsiteY333" fmla="*/ 7215 h 10070"/>
                <a:gd name="connsiteX334" fmla="*/ 4730 w 10000"/>
                <a:gd name="connsiteY334" fmla="*/ 7233 h 10070"/>
                <a:gd name="connsiteX335" fmla="*/ 4674 w 10000"/>
                <a:gd name="connsiteY335" fmla="*/ 7245 h 10070"/>
                <a:gd name="connsiteX336" fmla="*/ 4605 w 10000"/>
                <a:gd name="connsiteY336" fmla="*/ 7251 h 10070"/>
                <a:gd name="connsiteX337" fmla="*/ 4536 w 10000"/>
                <a:gd name="connsiteY337" fmla="*/ 7251 h 10070"/>
                <a:gd name="connsiteX338" fmla="*/ 4536 w 10000"/>
                <a:gd name="connsiteY338" fmla="*/ 7304 h 10070"/>
                <a:gd name="connsiteX339" fmla="*/ 4536 w 10000"/>
                <a:gd name="connsiteY339" fmla="*/ 7358 h 10070"/>
                <a:gd name="connsiteX340" fmla="*/ 4536 w 10000"/>
                <a:gd name="connsiteY340" fmla="*/ 7400 h 10070"/>
                <a:gd name="connsiteX341" fmla="*/ 4536 w 10000"/>
                <a:gd name="connsiteY341" fmla="*/ 7437 h 10070"/>
                <a:gd name="connsiteX342" fmla="*/ 4536 w 10000"/>
                <a:gd name="connsiteY342" fmla="*/ 7503 h 10070"/>
                <a:gd name="connsiteX343" fmla="*/ 4536 w 10000"/>
                <a:gd name="connsiteY343" fmla="*/ 7606 h 10070"/>
                <a:gd name="connsiteX344" fmla="*/ 4536 w 10000"/>
                <a:gd name="connsiteY344" fmla="*/ 7715 h 10070"/>
                <a:gd name="connsiteX345" fmla="*/ 4548 w 10000"/>
                <a:gd name="connsiteY345" fmla="*/ 7828 h 10070"/>
                <a:gd name="connsiteX346" fmla="*/ 4561 w 10000"/>
                <a:gd name="connsiteY346" fmla="*/ 7889 h 10070"/>
                <a:gd name="connsiteX347" fmla="*/ 4573 w 10000"/>
                <a:gd name="connsiteY347" fmla="*/ 7943 h 10070"/>
                <a:gd name="connsiteX348" fmla="*/ 4586 w 10000"/>
                <a:gd name="connsiteY348" fmla="*/ 7991 h 10070"/>
                <a:gd name="connsiteX349" fmla="*/ 4611 w 10000"/>
                <a:gd name="connsiteY349" fmla="*/ 8033 h 10070"/>
                <a:gd name="connsiteX350" fmla="*/ 4636 w 10000"/>
                <a:gd name="connsiteY350" fmla="*/ 8076 h 10070"/>
                <a:gd name="connsiteX351" fmla="*/ 4668 w 10000"/>
                <a:gd name="connsiteY351" fmla="*/ 8106 h 10070"/>
                <a:gd name="connsiteX352" fmla="*/ 4705 w 10000"/>
                <a:gd name="connsiteY352" fmla="*/ 8130 h 10070"/>
                <a:gd name="connsiteX353" fmla="*/ 4749 w 10000"/>
                <a:gd name="connsiteY353" fmla="*/ 8142 h 10070"/>
                <a:gd name="connsiteX354" fmla="*/ 4711 w 10000"/>
                <a:gd name="connsiteY354" fmla="*/ 8238 h 10070"/>
                <a:gd name="connsiteX355" fmla="*/ 4668 w 10000"/>
                <a:gd name="connsiteY355" fmla="*/ 8323 h 10070"/>
                <a:gd name="connsiteX356" fmla="*/ 4617 w 10000"/>
                <a:gd name="connsiteY356" fmla="*/ 8401 h 10070"/>
                <a:gd name="connsiteX357" fmla="*/ 4573 w 10000"/>
                <a:gd name="connsiteY357" fmla="*/ 8473 h 10070"/>
                <a:gd name="connsiteX358" fmla="*/ 4523 w 10000"/>
                <a:gd name="connsiteY358" fmla="*/ 8558 h 10070"/>
                <a:gd name="connsiteX359" fmla="*/ 4492 w 10000"/>
                <a:gd name="connsiteY359" fmla="*/ 8636 h 10070"/>
                <a:gd name="connsiteX360" fmla="*/ 4473 w 10000"/>
                <a:gd name="connsiteY360" fmla="*/ 8672 h 10070"/>
                <a:gd name="connsiteX361" fmla="*/ 4467 w 10000"/>
                <a:gd name="connsiteY361" fmla="*/ 8715 h 10070"/>
                <a:gd name="connsiteX362" fmla="*/ 4460 w 10000"/>
                <a:gd name="connsiteY362" fmla="*/ 8763 h 10070"/>
                <a:gd name="connsiteX363" fmla="*/ 4454 w 10000"/>
                <a:gd name="connsiteY363" fmla="*/ 8805 h 10070"/>
                <a:gd name="connsiteX364" fmla="*/ 4460 w 10000"/>
                <a:gd name="connsiteY364" fmla="*/ 8822 h 10070"/>
                <a:gd name="connsiteX365" fmla="*/ 4467 w 10000"/>
                <a:gd name="connsiteY365" fmla="*/ 8834 h 10070"/>
                <a:gd name="connsiteX366" fmla="*/ 4479 w 10000"/>
                <a:gd name="connsiteY366" fmla="*/ 8846 h 10070"/>
                <a:gd name="connsiteX367" fmla="*/ 4504 w 10000"/>
                <a:gd name="connsiteY367" fmla="*/ 8858 h 10070"/>
                <a:gd name="connsiteX368" fmla="*/ 4542 w 10000"/>
                <a:gd name="connsiteY368" fmla="*/ 8882 h 10070"/>
                <a:gd name="connsiteX369" fmla="*/ 4580 w 10000"/>
                <a:gd name="connsiteY369" fmla="*/ 8888 h 10070"/>
                <a:gd name="connsiteX370" fmla="*/ 4580 w 10000"/>
                <a:gd name="connsiteY370" fmla="*/ 9106 h 10070"/>
                <a:gd name="connsiteX371" fmla="*/ 4529 w 10000"/>
                <a:gd name="connsiteY371" fmla="*/ 9191 h 10070"/>
                <a:gd name="connsiteX372" fmla="*/ 4492 w 10000"/>
                <a:gd name="connsiteY372" fmla="*/ 9281 h 10070"/>
                <a:gd name="connsiteX373" fmla="*/ 4460 w 10000"/>
                <a:gd name="connsiteY373" fmla="*/ 9316 h 10070"/>
                <a:gd name="connsiteX374" fmla="*/ 4429 w 10000"/>
                <a:gd name="connsiteY374" fmla="*/ 9341 h 10070"/>
                <a:gd name="connsiteX375" fmla="*/ 4404 w 10000"/>
                <a:gd name="connsiteY375" fmla="*/ 9353 h 10070"/>
                <a:gd name="connsiteX376" fmla="*/ 4385 w 10000"/>
                <a:gd name="connsiteY376" fmla="*/ 9359 h 10070"/>
                <a:gd name="connsiteX377" fmla="*/ 4360 w 10000"/>
                <a:gd name="connsiteY377" fmla="*/ 9365 h 10070"/>
                <a:gd name="connsiteX378" fmla="*/ 4329 w 10000"/>
                <a:gd name="connsiteY378" fmla="*/ 9365 h 10070"/>
                <a:gd name="connsiteX379" fmla="*/ 4329 w 10000"/>
                <a:gd name="connsiteY379" fmla="*/ 9413 h 10070"/>
                <a:gd name="connsiteX380" fmla="*/ 4335 w 10000"/>
                <a:gd name="connsiteY380" fmla="*/ 9473 h 10070"/>
                <a:gd name="connsiteX381" fmla="*/ 4348 w 10000"/>
                <a:gd name="connsiteY381" fmla="*/ 9503 h 10070"/>
                <a:gd name="connsiteX382" fmla="*/ 4354 w 10000"/>
                <a:gd name="connsiteY382" fmla="*/ 9527 h 10070"/>
                <a:gd name="connsiteX383" fmla="*/ 4360 w 10000"/>
                <a:gd name="connsiteY383" fmla="*/ 9546 h 10070"/>
                <a:gd name="connsiteX384" fmla="*/ 4373 w 10000"/>
                <a:gd name="connsiteY384" fmla="*/ 9552 h 10070"/>
                <a:gd name="connsiteX385" fmla="*/ 4210 w 10000"/>
                <a:gd name="connsiteY385" fmla="*/ 9678 h 10070"/>
                <a:gd name="connsiteX386" fmla="*/ 4072 w 10000"/>
                <a:gd name="connsiteY386" fmla="*/ 9782 h 10070"/>
                <a:gd name="connsiteX387" fmla="*/ 4009 w 10000"/>
                <a:gd name="connsiteY387" fmla="*/ 9841 h 10070"/>
                <a:gd name="connsiteX388" fmla="*/ 3952 w 10000"/>
                <a:gd name="connsiteY388" fmla="*/ 9907 h 10070"/>
                <a:gd name="connsiteX389" fmla="*/ 3890 w 10000"/>
                <a:gd name="connsiteY389" fmla="*/ 9986 h 10070"/>
                <a:gd name="connsiteX390" fmla="*/ 3833 w 10000"/>
                <a:gd name="connsiteY390" fmla="*/ 10070 h 10070"/>
                <a:gd name="connsiteX391" fmla="*/ 3733 w 10000"/>
                <a:gd name="connsiteY391" fmla="*/ 10028 h 10070"/>
                <a:gd name="connsiteX392" fmla="*/ 3664 w 10000"/>
                <a:gd name="connsiteY392" fmla="*/ 9986 h 10070"/>
                <a:gd name="connsiteX393" fmla="*/ 3607 w 10000"/>
                <a:gd name="connsiteY393" fmla="*/ 9943 h 10070"/>
                <a:gd name="connsiteX394" fmla="*/ 3563 w 10000"/>
                <a:gd name="connsiteY394" fmla="*/ 9895 h 10070"/>
                <a:gd name="connsiteX395" fmla="*/ 3532 w 10000"/>
                <a:gd name="connsiteY395" fmla="*/ 9835 h 10070"/>
                <a:gd name="connsiteX396" fmla="*/ 3513 w 10000"/>
                <a:gd name="connsiteY396" fmla="*/ 9776 h 10070"/>
                <a:gd name="connsiteX397" fmla="*/ 3482 w 10000"/>
                <a:gd name="connsiteY397" fmla="*/ 9702 h 10070"/>
                <a:gd name="connsiteX398" fmla="*/ 3457 w 10000"/>
                <a:gd name="connsiteY398" fmla="*/ 9630 h 10070"/>
                <a:gd name="connsiteX399" fmla="*/ 3400 w 10000"/>
                <a:gd name="connsiteY399" fmla="*/ 9491 h 10070"/>
                <a:gd name="connsiteX400" fmla="*/ 3325 w 10000"/>
                <a:gd name="connsiteY400" fmla="*/ 9359 h 10070"/>
                <a:gd name="connsiteX401" fmla="*/ 3237 w 10000"/>
                <a:gd name="connsiteY401" fmla="*/ 9221 h 10070"/>
                <a:gd name="connsiteX402" fmla="*/ 3143 w 10000"/>
                <a:gd name="connsiteY402" fmla="*/ 9076 h 10070"/>
                <a:gd name="connsiteX403" fmla="*/ 3049 w 10000"/>
                <a:gd name="connsiteY403" fmla="*/ 8943 h 10070"/>
                <a:gd name="connsiteX404" fmla="*/ 2967 w 10000"/>
                <a:gd name="connsiteY404" fmla="*/ 8811 h 10070"/>
                <a:gd name="connsiteX405" fmla="*/ 2892 w 10000"/>
                <a:gd name="connsiteY405" fmla="*/ 8691 h 10070"/>
                <a:gd name="connsiteX406" fmla="*/ 2829 w 10000"/>
                <a:gd name="connsiteY406" fmla="*/ 8588 h 10070"/>
                <a:gd name="connsiteX407" fmla="*/ 2773 w 10000"/>
                <a:gd name="connsiteY407" fmla="*/ 8473 h 10070"/>
                <a:gd name="connsiteX408" fmla="*/ 2735 w 10000"/>
                <a:gd name="connsiteY408" fmla="*/ 8371 h 10070"/>
                <a:gd name="connsiteX409" fmla="*/ 2698 w 10000"/>
                <a:gd name="connsiteY409" fmla="*/ 8263 h 10070"/>
                <a:gd name="connsiteX410" fmla="*/ 2666 w 10000"/>
                <a:gd name="connsiteY410" fmla="*/ 8154 h 10070"/>
                <a:gd name="connsiteX411" fmla="*/ 2629 w 10000"/>
                <a:gd name="connsiteY411" fmla="*/ 8045 h 10070"/>
                <a:gd name="connsiteX412" fmla="*/ 2597 w 10000"/>
                <a:gd name="connsiteY412" fmla="*/ 7937 h 10070"/>
                <a:gd name="connsiteX413" fmla="*/ 2553 w 10000"/>
                <a:gd name="connsiteY413" fmla="*/ 7816 h 10070"/>
                <a:gd name="connsiteX414" fmla="*/ 2497 w 10000"/>
                <a:gd name="connsiteY414" fmla="*/ 7697 h 10070"/>
                <a:gd name="connsiteX415" fmla="*/ 2359 w 10000"/>
                <a:gd name="connsiteY415" fmla="*/ 7503 h 10070"/>
                <a:gd name="connsiteX416" fmla="*/ 2208 w 10000"/>
                <a:gd name="connsiteY416" fmla="*/ 7322 h 10070"/>
                <a:gd name="connsiteX417" fmla="*/ 2139 w 10000"/>
                <a:gd name="connsiteY417" fmla="*/ 7239 h 10070"/>
                <a:gd name="connsiteX418" fmla="*/ 2070 w 10000"/>
                <a:gd name="connsiteY418" fmla="*/ 7142 h 10070"/>
                <a:gd name="connsiteX419" fmla="*/ 2008 w 10000"/>
                <a:gd name="connsiteY419" fmla="*/ 7052 h 10070"/>
                <a:gd name="connsiteX420" fmla="*/ 1957 w 10000"/>
                <a:gd name="connsiteY420" fmla="*/ 6955 h 10070"/>
                <a:gd name="connsiteX421" fmla="*/ 1888 w 10000"/>
                <a:gd name="connsiteY421" fmla="*/ 6720 h 10070"/>
                <a:gd name="connsiteX422" fmla="*/ 1832 w 10000"/>
                <a:gd name="connsiteY422" fmla="*/ 6503 h 10070"/>
                <a:gd name="connsiteX423" fmla="*/ 1782 w 10000"/>
                <a:gd name="connsiteY423" fmla="*/ 6293 h 10070"/>
                <a:gd name="connsiteX424" fmla="*/ 1757 w 10000"/>
                <a:gd name="connsiteY424" fmla="*/ 6081 h 10070"/>
                <a:gd name="connsiteX425" fmla="*/ 1725 w 10000"/>
                <a:gd name="connsiteY425" fmla="*/ 5876 h 10070"/>
                <a:gd name="connsiteX426" fmla="*/ 1713 w 10000"/>
                <a:gd name="connsiteY426" fmla="*/ 5660 h 10070"/>
                <a:gd name="connsiteX427" fmla="*/ 1706 w 10000"/>
                <a:gd name="connsiteY427" fmla="*/ 5437 h 10070"/>
                <a:gd name="connsiteX428" fmla="*/ 1706 w 10000"/>
                <a:gd name="connsiteY428" fmla="*/ 5214 h 10070"/>
                <a:gd name="connsiteX429" fmla="*/ 1681 w 10000"/>
                <a:gd name="connsiteY429" fmla="*/ 5208 h 10070"/>
                <a:gd name="connsiteX430" fmla="*/ 1650 w 10000"/>
                <a:gd name="connsiteY430" fmla="*/ 5202 h 10070"/>
                <a:gd name="connsiteX431" fmla="*/ 1625 w 10000"/>
                <a:gd name="connsiteY431" fmla="*/ 5196 h 10070"/>
                <a:gd name="connsiteX432" fmla="*/ 1606 w 10000"/>
                <a:gd name="connsiteY432" fmla="*/ 5172 h 10070"/>
                <a:gd name="connsiteX433" fmla="*/ 1581 w 10000"/>
                <a:gd name="connsiteY433" fmla="*/ 5160 h 10070"/>
                <a:gd name="connsiteX434" fmla="*/ 1568 w 10000"/>
                <a:gd name="connsiteY434" fmla="*/ 5142 h 10070"/>
                <a:gd name="connsiteX435" fmla="*/ 1550 w 10000"/>
                <a:gd name="connsiteY435" fmla="*/ 5118 h 10070"/>
                <a:gd name="connsiteX436" fmla="*/ 1543 w 10000"/>
                <a:gd name="connsiteY436" fmla="*/ 5094 h 10070"/>
                <a:gd name="connsiteX437" fmla="*/ 1518 w 10000"/>
                <a:gd name="connsiteY437" fmla="*/ 5045 h 10070"/>
                <a:gd name="connsiteX438" fmla="*/ 1506 w 10000"/>
                <a:gd name="connsiteY438" fmla="*/ 4991 h 10070"/>
                <a:gd name="connsiteX439" fmla="*/ 1499 w 10000"/>
                <a:gd name="connsiteY439" fmla="*/ 4931 h 10070"/>
                <a:gd name="connsiteX440" fmla="*/ 1499 w 10000"/>
                <a:gd name="connsiteY440" fmla="*/ 4877 h 10070"/>
                <a:gd name="connsiteX441" fmla="*/ 1443 w 10000"/>
                <a:gd name="connsiteY441" fmla="*/ 4913 h 10070"/>
                <a:gd name="connsiteX442" fmla="*/ 1405 w 10000"/>
                <a:gd name="connsiteY442" fmla="*/ 4955 h 10070"/>
                <a:gd name="connsiteX443" fmla="*/ 1361 w 10000"/>
                <a:gd name="connsiteY443" fmla="*/ 4997 h 10070"/>
                <a:gd name="connsiteX444" fmla="*/ 1317 w 10000"/>
                <a:gd name="connsiteY444" fmla="*/ 5045 h 10070"/>
                <a:gd name="connsiteX445" fmla="*/ 1261 w 10000"/>
                <a:gd name="connsiteY445" fmla="*/ 5142 h 10070"/>
                <a:gd name="connsiteX446" fmla="*/ 1205 w 10000"/>
                <a:gd name="connsiteY446" fmla="*/ 5244 h 10070"/>
                <a:gd name="connsiteX447" fmla="*/ 1167 w 10000"/>
                <a:gd name="connsiteY447" fmla="*/ 5287 h 10070"/>
                <a:gd name="connsiteX448" fmla="*/ 1142 w 10000"/>
                <a:gd name="connsiteY448" fmla="*/ 5328 h 10070"/>
                <a:gd name="connsiteX449" fmla="*/ 1104 w 10000"/>
                <a:gd name="connsiteY449" fmla="*/ 5370 h 10070"/>
                <a:gd name="connsiteX450" fmla="*/ 1073 w 10000"/>
                <a:gd name="connsiteY450" fmla="*/ 5400 h 10070"/>
                <a:gd name="connsiteX451" fmla="*/ 1029 w 10000"/>
                <a:gd name="connsiteY451" fmla="*/ 5431 h 10070"/>
                <a:gd name="connsiteX452" fmla="*/ 985 w 10000"/>
                <a:gd name="connsiteY452" fmla="*/ 5449 h 10070"/>
                <a:gd name="connsiteX453" fmla="*/ 928 w 10000"/>
                <a:gd name="connsiteY453" fmla="*/ 5461 h 10070"/>
                <a:gd name="connsiteX454" fmla="*/ 872 w 10000"/>
                <a:gd name="connsiteY454" fmla="*/ 5467 h 10070"/>
                <a:gd name="connsiteX455" fmla="*/ 841 w 10000"/>
                <a:gd name="connsiteY455" fmla="*/ 5461 h 10070"/>
                <a:gd name="connsiteX456" fmla="*/ 797 w 10000"/>
                <a:gd name="connsiteY456" fmla="*/ 5449 h 10070"/>
                <a:gd name="connsiteX457" fmla="*/ 753 w 10000"/>
                <a:gd name="connsiteY457" fmla="*/ 5431 h 10070"/>
                <a:gd name="connsiteX458" fmla="*/ 709 w 10000"/>
                <a:gd name="connsiteY458" fmla="*/ 5400 h 10070"/>
                <a:gd name="connsiteX459" fmla="*/ 659 w 10000"/>
                <a:gd name="connsiteY459" fmla="*/ 5364 h 10070"/>
                <a:gd name="connsiteX460" fmla="*/ 609 w 10000"/>
                <a:gd name="connsiteY460" fmla="*/ 5328 h 10070"/>
                <a:gd name="connsiteX461" fmla="*/ 565 w 10000"/>
                <a:gd name="connsiteY461" fmla="*/ 5287 h 10070"/>
                <a:gd name="connsiteX462" fmla="*/ 514 w 10000"/>
                <a:gd name="connsiteY462" fmla="*/ 5238 h 10070"/>
                <a:gd name="connsiteX463" fmla="*/ 471 w 10000"/>
                <a:gd name="connsiteY463" fmla="*/ 5190 h 10070"/>
                <a:gd name="connsiteX464" fmla="*/ 433 w 10000"/>
                <a:gd name="connsiteY464" fmla="*/ 5136 h 10070"/>
                <a:gd name="connsiteX465" fmla="*/ 389 w 10000"/>
                <a:gd name="connsiteY465" fmla="*/ 5082 h 10070"/>
                <a:gd name="connsiteX466" fmla="*/ 358 w 10000"/>
                <a:gd name="connsiteY466" fmla="*/ 5027 h 10070"/>
                <a:gd name="connsiteX467" fmla="*/ 326 w 10000"/>
                <a:gd name="connsiteY467" fmla="*/ 4979 h 10070"/>
                <a:gd name="connsiteX468" fmla="*/ 307 w 10000"/>
                <a:gd name="connsiteY468" fmla="*/ 4931 h 10070"/>
                <a:gd name="connsiteX469" fmla="*/ 295 w 10000"/>
                <a:gd name="connsiteY469" fmla="*/ 4883 h 10070"/>
                <a:gd name="connsiteX470" fmla="*/ 289 w 10000"/>
                <a:gd name="connsiteY470" fmla="*/ 4834 h 10070"/>
                <a:gd name="connsiteX471" fmla="*/ 320 w 10000"/>
                <a:gd name="connsiteY471" fmla="*/ 4816 h 10070"/>
                <a:gd name="connsiteX472" fmla="*/ 395 w 10000"/>
                <a:gd name="connsiteY472" fmla="*/ 4781 h 10070"/>
                <a:gd name="connsiteX473" fmla="*/ 483 w 10000"/>
                <a:gd name="connsiteY473" fmla="*/ 4745 h 10070"/>
                <a:gd name="connsiteX474" fmla="*/ 533 w 10000"/>
                <a:gd name="connsiteY474" fmla="*/ 4727 h 10070"/>
                <a:gd name="connsiteX475" fmla="*/ 483 w 10000"/>
                <a:gd name="connsiteY475" fmla="*/ 4727 h 10070"/>
                <a:gd name="connsiteX476" fmla="*/ 420 w 10000"/>
                <a:gd name="connsiteY476" fmla="*/ 4721 h 10070"/>
                <a:gd name="connsiteX477" fmla="*/ 370 w 10000"/>
                <a:gd name="connsiteY477" fmla="*/ 4709 h 10070"/>
                <a:gd name="connsiteX478" fmla="*/ 320 w 10000"/>
                <a:gd name="connsiteY478" fmla="*/ 4703 h 10070"/>
                <a:gd name="connsiteX479" fmla="*/ 276 w 10000"/>
                <a:gd name="connsiteY479" fmla="*/ 4684 h 10070"/>
                <a:gd name="connsiteX480" fmla="*/ 232 w 10000"/>
                <a:gd name="connsiteY480" fmla="*/ 4672 h 10070"/>
                <a:gd name="connsiteX481" fmla="*/ 188 w 10000"/>
                <a:gd name="connsiteY481" fmla="*/ 4654 h 10070"/>
                <a:gd name="connsiteX482" fmla="*/ 157 w 10000"/>
                <a:gd name="connsiteY482" fmla="*/ 4629 h 10070"/>
                <a:gd name="connsiteX483" fmla="*/ 132 w 10000"/>
                <a:gd name="connsiteY483" fmla="*/ 4605 h 10070"/>
                <a:gd name="connsiteX484" fmla="*/ 100 w 10000"/>
                <a:gd name="connsiteY484" fmla="*/ 4581 h 10070"/>
                <a:gd name="connsiteX485" fmla="*/ 75 w 10000"/>
                <a:gd name="connsiteY485" fmla="*/ 4551 h 10070"/>
                <a:gd name="connsiteX486" fmla="*/ 50 w 10000"/>
                <a:gd name="connsiteY486" fmla="*/ 4527 h 10070"/>
                <a:gd name="connsiteX487" fmla="*/ 19 w 10000"/>
                <a:gd name="connsiteY487" fmla="*/ 4455 h 10070"/>
                <a:gd name="connsiteX488" fmla="*/ 0 w 10000"/>
                <a:gd name="connsiteY488" fmla="*/ 4388 h 10070"/>
                <a:gd name="connsiteX489" fmla="*/ 63 w 10000"/>
                <a:gd name="connsiteY489" fmla="*/ 4340 h 10070"/>
                <a:gd name="connsiteX490" fmla="*/ 132 w 10000"/>
                <a:gd name="connsiteY490" fmla="*/ 4304 h 10070"/>
                <a:gd name="connsiteX491" fmla="*/ 201 w 10000"/>
                <a:gd name="connsiteY491" fmla="*/ 4275 h 10070"/>
                <a:gd name="connsiteX492" fmla="*/ 276 w 10000"/>
                <a:gd name="connsiteY492" fmla="*/ 4251 h 10070"/>
                <a:gd name="connsiteX493" fmla="*/ 420 w 10000"/>
                <a:gd name="connsiteY493" fmla="*/ 4221 h 10070"/>
                <a:gd name="connsiteX494" fmla="*/ 565 w 10000"/>
                <a:gd name="connsiteY494" fmla="*/ 4196 h 10070"/>
                <a:gd name="connsiteX495" fmla="*/ 640 w 10000"/>
                <a:gd name="connsiteY495" fmla="*/ 4184 h 10070"/>
                <a:gd name="connsiteX496" fmla="*/ 709 w 10000"/>
                <a:gd name="connsiteY496" fmla="*/ 4160 h 10070"/>
                <a:gd name="connsiteX497" fmla="*/ 772 w 10000"/>
                <a:gd name="connsiteY497" fmla="*/ 4142 h 10070"/>
                <a:gd name="connsiteX498" fmla="*/ 834 w 10000"/>
                <a:gd name="connsiteY498" fmla="*/ 4112 h 10070"/>
                <a:gd name="connsiteX499" fmla="*/ 891 w 10000"/>
                <a:gd name="connsiteY499" fmla="*/ 4082 h 10070"/>
                <a:gd name="connsiteX500" fmla="*/ 947 w 10000"/>
                <a:gd name="connsiteY500" fmla="*/ 4034 h 10070"/>
                <a:gd name="connsiteX501" fmla="*/ 997 w 10000"/>
                <a:gd name="connsiteY501" fmla="*/ 3979 h 10070"/>
                <a:gd name="connsiteX502" fmla="*/ 1035 w 10000"/>
                <a:gd name="connsiteY502" fmla="*/ 3912 h 10070"/>
                <a:gd name="connsiteX503" fmla="*/ 1010 w 10000"/>
                <a:gd name="connsiteY503" fmla="*/ 3900 h 10070"/>
                <a:gd name="connsiteX504" fmla="*/ 985 w 10000"/>
                <a:gd name="connsiteY504" fmla="*/ 3882 h 10070"/>
                <a:gd name="connsiteX505" fmla="*/ 947 w 10000"/>
                <a:gd name="connsiteY505" fmla="*/ 3858 h 10070"/>
                <a:gd name="connsiteX506" fmla="*/ 910 w 10000"/>
                <a:gd name="connsiteY506" fmla="*/ 3822 h 10070"/>
                <a:gd name="connsiteX507" fmla="*/ 822 w 10000"/>
                <a:gd name="connsiteY507" fmla="*/ 3750 h 10070"/>
                <a:gd name="connsiteX508" fmla="*/ 740 w 10000"/>
                <a:gd name="connsiteY508" fmla="*/ 3666 h 10070"/>
                <a:gd name="connsiteX509" fmla="*/ 665 w 10000"/>
                <a:gd name="connsiteY509" fmla="*/ 3575 h 10070"/>
                <a:gd name="connsiteX510" fmla="*/ 596 w 10000"/>
                <a:gd name="connsiteY510" fmla="*/ 3479 h 10070"/>
                <a:gd name="connsiteX511" fmla="*/ 577 w 10000"/>
                <a:gd name="connsiteY511" fmla="*/ 3437 h 10070"/>
                <a:gd name="connsiteX512" fmla="*/ 558 w 10000"/>
                <a:gd name="connsiteY512" fmla="*/ 3395 h 10070"/>
                <a:gd name="connsiteX513" fmla="*/ 540 w 10000"/>
                <a:gd name="connsiteY513" fmla="*/ 3352 h 10070"/>
                <a:gd name="connsiteX514" fmla="*/ 533 w 10000"/>
                <a:gd name="connsiteY514" fmla="*/ 3316 h 10070"/>
                <a:gd name="connsiteX515" fmla="*/ 508 w 10000"/>
                <a:gd name="connsiteY515" fmla="*/ 3310 h 10070"/>
                <a:gd name="connsiteX516" fmla="*/ 483 w 10000"/>
                <a:gd name="connsiteY516" fmla="*/ 3304 h 10070"/>
                <a:gd name="connsiteX517" fmla="*/ 458 w 10000"/>
                <a:gd name="connsiteY517" fmla="*/ 3292 h 10070"/>
                <a:gd name="connsiteX518" fmla="*/ 439 w 10000"/>
                <a:gd name="connsiteY518" fmla="*/ 3269 h 10070"/>
                <a:gd name="connsiteX519" fmla="*/ 402 w 10000"/>
                <a:gd name="connsiteY519" fmla="*/ 3226 h 10070"/>
                <a:gd name="connsiteX520" fmla="*/ 370 w 10000"/>
                <a:gd name="connsiteY520" fmla="*/ 3166 h 10070"/>
                <a:gd name="connsiteX521" fmla="*/ 370 w 10000"/>
                <a:gd name="connsiteY521" fmla="*/ 3021 h 10070"/>
                <a:gd name="connsiteX522" fmla="*/ 458 w 10000"/>
                <a:gd name="connsiteY522" fmla="*/ 3015 h 10070"/>
                <a:gd name="connsiteX523" fmla="*/ 540 w 10000"/>
                <a:gd name="connsiteY523" fmla="*/ 3009 h 10070"/>
                <a:gd name="connsiteX524" fmla="*/ 615 w 10000"/>
                <a:gd name="connsiteY524" fmla="*/ 2997 h 10070"/>
                <a:gd name="connsiteX525" fmla="*/ 684 w 10000"/>
                <a:gd name="connsiteY525" fmla="*/ 2973 h 10070"/>
                <a:gd name="connsiteX526" fmla="*/ 747 w 10000"/>
                <a:gd name="connsiteY526" fmla="*/ 2955 h 10070"/>
                <a:gd name="connsiteX527" fmla="*/ 809 w 10000"/>
                <a:gd name="connsiteY527" fmla="*/ 2924 h 10070"/>
                <a:gd name="connsiteX528" fmla="*/ 866 w 10000"/>
                <a:gd name="connsiteY528" fmla="*/ 2894 h 10070"/>
                <a:gd name="connsiteX529" fmla="*/ 922 w 10000"/>
                <a:gd name="connsiteY529" fmla="*/ 2858 h 10070"/>
                <a:gd name="connsiteX530" fmla="*/ 966 w 10000"/>
                <a:gd name="connsiteY530" fmla="*/ 2816 h 10070"/>
                <a:gd name="connsiteX531" fmla="*/ 1016 w 10000"/>
                <a:gd name="connsiteY531" fmla="*/ 2775 h 10070"/>
                <a:gd name="connsiteX532" fmla="*/ 1060 w 10000"/>
                <a:gd name="connsiteY532" fmla="*/ 2733 h 10070"/>
                <a:gd name="connsiteX533" fmla="*/ 1098 w 10000"/>
                <a:gd name="connsiteY533" fmla="*/ 2684 h 10070"/>
                <a:gd name="connsiteX534" fmla="*/ 1167 w 10000"/>
                <a:gd name="connsiteY534" fmla="*/ 2588 h 10070"/>
                <a:gd name="connsiteX535" fmla="*/ 1236 w 10000"/>
                <a:gd name="connsiteY535" fmla="*/ 2478 h 10070"/>
                <a:gd name="connsiteX536" fmla="*/ 1355 w 10000"/>
                <a:gd name="connsiteY536" fmla="*/ 2262 h 10070"/>
                <a:gd name="connsiteX537" fmla="*/ 1474 w 10000"/>
                <a:gd name="connsiteY537" fmla="*/ 2045 h 10070"/>
                <a:gd name="connsiteX538" fmla="*/ 1543 w 10000"/>
                <a:gd name="connsiteY538" fmla="*/ 1949 h 10070"/>
                <a:gd name="connsiteX539" fmla="*/ 1612 w 10000"/>
                <a:gd name="connsiteY539" fmla="*/ 1864 h 10070"/>
                <a:gd name="connsiteX540" fmla="*/ 1650 w 10000"/>
                <a:gd name="connsiteY540" fmla="*/ 1815 h 10070"/>
                <a:gd name="connsiteX541" fmla="*/ 1694 w 10000"/>
                <a:gd name="connsiteY541" fmla="*/ 1779 h 10070"/>
                <a:gd name="connsiteX542" fmla="*/ 1738 w 10000"/>
                <a:gd name="connsiteY542" fmla="*/ 1750 h 10070"/>
                <a:gd name="connsiteX543" fmla="*/ 1788 w 10000"/>
                <a:gd name="connsiteY543" fmla="*/ 1720 h 10070"/>
                <a:gd name="connsiteX544" fmla="*/ 1750 w 10000"/>
                <a:gd name="connsiteY544" fmla="*/ 1647 h 10070"/>
                <a:gd name="connsiteX545" fmla="*/ 1719 w 10000"/>
                <a:gd name="connsiteY545" fmla="*/ 1581 h 10070"/>
                <a:gd name="connsiteX546" fmla="*/ 1713 w 10000"/>
                <a:gd name="connsiteY546" fmla="*/ 1551 h 10070"/>
                <a:gd name="connsiteX547" fmla="*/ 1706 w 10000"/>
                <a:gd name="connsiteY547" fmla="*/ 1521 h 10070"/>
                <a:gd name="connsiteX548" fmla="*/ 1706 w 10000"/>
                <a:gd name="connsiteY548" fmla="*/ 1485 h 10070"/>
                <a:gd name="connsiteX549" fmla="*/ 1706 w 10000"/>
                <a:gd name="connsiteY549" fmla="*/ 1455 h 10070"/>
                <a:gd name="connsiteX550" fmla="*/ 1713 w 10000"/>
                <a:gd name="connsiteY550" fmla="*/ 1424 h 10070"/>
                <a:gd name="connsiteX551" fmla="*/ 1719 w 10000"/>
                <a:gd name="connsiteY551" fmla="*/ 1394 h 10070"/>
                <a:gd name="connsiteX552" fmla="*/ 1731 w 10000"/>
                <a:gd name="connsiteY552" fmla="*/ 1370 h 10070"/>
                <a:gd name="connsiteX553" fmla="*/ 1757 w 10000"/>
                <a:gd name="connsiteY553" fmla="*/ 1346 h 10070"/>
                <a:gd name="connsiteX554" fmla="*/ 1775 w 10000"/>
                <a:gd name="connsiteY554" fmla="*/ 1328 h 10070"/>
                <a:gd name="connsiteX555" fmla="*/ 1801 w 10000"/>
                <a:gd name="connsiteY555" fmla="*/ 1310 h 10070"/>
                <a:gd name="connsiteX556" fmla="*/ 1838 w 10000"/>
                <a:gd name="connsiteY556" fmla="*/ 1292 h 10070"/>
                <a:gd name="connsiteX557" fmla="*/ 1870 w 10000"/>
                <a:gd name="connsiteY557" fmla="*/ 1274 h 10070"/>
                <a:gd name="connsiteX558" fmla="*/ 1688 w 10000"/>
                <a:gd name="connsiteY558" fmla="*/ 1112 h 10070"/>
                <a:gd name="connsiteX559" fmla="*/ 1550 w 10000"/>
                <a:gd name="connsiteY559" fmla="*/ 990 h 10070"/>
                <a:gd name="connsiteX560" fmla="*/ 1487 w 10000"/>
                <a:gd name="connsiteY560" fmla="*/ 930 h 10070"/>
                <a:gd name="connsiteX561" fmla="*/ 1424 w 10000"/>
                <a:gd name="connsiteY561" fmla="*/ 864 h 10070"/>
                <a:gd name="connsiteX562" fmla="*/ 1361 w 10000"/>
                <a:gd name="connsiteY562" fmla="*/ 779 h 10070"/>
                <a:gd name="connsiteX563" fmla="*/ 1286 w 10000"/>
                <a:gd name="connsiteY563" fmla="*/ 678 h 10070"/>
                <a:gd name="connsiteX564" fmla="*/ 1286 w 10000"/>
                <a:gd name="connsiteY564" fmla="*/ 419 h 10070"/>
                <a:gd name="connsiteX565" fmla="*/ 1437 w 10000"/>
                <a:gd name="connsiteY565" fmla="*/ 419 h 10070"/>
                <a:gd name="connsiteX566" fmla="*/ 1606 w 10000"/>
                <a:gd name="connsiteY566" fmla="*/ 407 h 10070"/>
                <a:gd name="connsiteX567" fmla="*/ 1694 w 10000"/>
                <a:gd name="connsiteY567" fmla="*/ 401 h 10070"/>
                <a:gd name="connsiteX568" fmla="*/ 1775 w 10000"/>
                <a:gd name="connsiteY568" fmla="*/ 388 h 10070"/>
                <a:gd name="connsiteX569" fmla="*/ 1863 w 10000"/>
                <a:gd name="connsiteY569" fmla="*/ 369 h 10070"/>
                <a:gd name="connsiteX570" fmla="*/ 1945 w 10000"/>
                <a:gd name="connsiteY570" fmla="*/ 351 h 10070"/>
                <a:gd name="connsiteX571" fmla="*/ 2020 w 10000"/>
                <a:gd name="connsiteY571" fmla="*/ 333 h 10070"/>
                <a:gd name="connsiteX572" fmla="*/ 2102 w 10000"/>
                <a:gd name="connsiteY572" fmla="*/ 303 h 10070"/>
                <a:gd name="connsiteX573" fmla="*/ 1925 w 10000"/>
                <a:gd name="connsiteY573" fmla="*/ 1 h 10070"/>
                <a:gd name="connsiteX574" fmla="*/ 2151 w 10000"/>
                <a:gd name="connsiteY574" fmla="*/ 38 h 10070"/>
                <a:gd name="connsiteX575" fmla="*/ 2280 w 10000"/>
                <a:gd name="connsiteY575" fmla="*/ 67 h 10070"/>
                <a:gd name="connsiteX576" fmla="*/ 2385 w 10000"/>
                <a:gd name="connsiteY576" fmla="*/ 75 h 10070"/>
                <a:gd name="connsiteX577" fmla="*/ 2444 w 10000"/>
                <a:gd name="connsiteY577" fmla="*/ 104 h 10070"/>
                <a:gd name="connsiteX578" fmla="*/ 2415 w 10000"/>
                <a:gd name="connsiteY578" fmla="*/ 145 h 10070"/>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775 w 10000"/>
                <a:gd name="connsiteY568" fmla="*/ 402 h 10084"/>
                <a:gd name="connsiteX569" fmla="*/ 1863 w 10000"/>
                <a:gd name="connsiteY569" fmla="*/ 383 h 10084"/>
                <a:gd name="connsiteX570" fmla="*/ 1945 w 10000"/>
                <a:gd name="connsiteY570" fmla="*/ 365 h 10084"/>
                <a:gd name="connsiteX571" fmla="*/ 2020 w 10000"/>
                <a:gd name="connsiteY571" fmla="*/ 347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775 w 10000"/>
                <a:gd name="connsiteY568" fmla="*/ 402 h 10084"/>
                <a:gd name="connsiteX569" fmla="*/ 1863 w 10000"/>
                <a:gd name="connsiteY569" fmla="*/ 383 h 10084"/>
                <a:gd name="connsiteX570" fmla="*/ 1945 w 10000"/>
                <a:gd name="connsiteY570" fmla="*/ 365 h 10084"/>
                <a:gd name="connsiteX571" fmla="*/ 1670 w 10000"/>
                <a:gd name="connsiteY571" fmla="*/ 49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775 w 10000"/>
                <a:gd name="connsiteY568" fmla="*/ 402 h 10084"/>
                <a:gd name="connsiteX569" fmla="*/ 1863 w 10000"/>
                <a:gd name="connsiteY569" fmla="*/ 383 h 10084"/>
                <a:gd name="connsiteX570" fmla="*/ 1612 w 10000"/>
                <a:gd name="connsiteY570" fmla="*/ 158 h 10084"/>
                <a:gd name="connsiteX571" fmla="*/ 1670 w 10000"/>
                <a:gd name="connsiteY571" fmla="*/ 49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775 w 10000"/>
                <a:gd name="connsiteY568" fmla="*/ 402 h 10084"/>
                <a:gd name="connsiteX569" fmla="*/ 1497 w 10000"/>
                <a:gd name="connsiteY569" fmla="*/ 247 h 10084"/>
                <a:gd name="connsiteX570" fmla="*/ 1612 w 10000"/>
                <a:gd name="connsiteY570" fmla="*/ 158 h 10084"/>
                <a:gd name="connsiteX571" fmla="*/ 1670 w 10000"/>
                <a:gd name="connsiteY571" fmla="*/ 49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539 w 10000"/>
                <a:gd name="connsiteY568" fmla="*/ 324 h 10084"/>
                <a:gd name="connsiteX569" fmla="*/ 1497 w 10000"/>
                <a:gd name="connsiteY569" fmla="*/ 247 h 10084"/>
                <a:gd name="connsiteX570" fmla="*/ 1612 w 10000"/>
                <a:gd name="connsiteY570" fmla="*/ 158 h 10084"/>
                <a:gd name="connsiteX571" fmla="*/ 1670 w 10000"/>
                <a:gd name="connsiteY571" fmla="*/ 49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539 w 10000"/>
                <a:gd name="connsiteY568" fmla="*/ 324 h 10084"/>
                <a:gd name="connsiteX569" fmla="*/ 1497 w 10000"/>
                <a:gd name="connsiteY569" fmla="*/ 247 h 10084"/>
                <a:gd name="connsiteX570" fmla="*/ 1531 w 10000"/>
                <a:gd name="connsiteY570" fmla="*/ 100 h 10084"/>
                <a:gd name="connsiteX571" fmla="*/ 1670 w 10000"/>
                <a:gd name="connsiteY571" fmla="*/ 49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9 h 10084"/>
                <a:gd name="connsiteX1" fmla="*/ 2509 w 10000"/>
                <a:gd name="connsiteY1" fmla="*/ 119 h 10084"/>
                <a:gd name="connsiteX2" fmla="*/ 2818 w 10000"/>
                <a:gd name="connsiteY2" fmla="*/ 85 h 10084"/>
                <a:gd name="connsiteX3" fmla="*/ 2776 w 10000"/>
                <a:gd name="connsiteY3" fmla="*/ 167 h 10084"/>
                <a:gd name="connsiteX4" fmla="*/ 2851 w 10000"/>
                <a:gd name="connsiteY4" fmla="*/ 120 h 10084"/>
                <a:gd name="connsiteX5" fmla="*/ 2880 w 10000"/>
                <a:gd name="connsiteY5" fmla="*/ 73 h 10084"/>
                <a:gd name="connsiteX6" fmla="*/ 3155 w 10000"/>
                <a:gd name="connsiteY6" fmla="*/ 150 h 10084"/>
                <a:gd name="connsiteX7" fmla="*/ 3162 w 10000"/>
                <a:gd name="connsiteY7" fmla="*/ 304 h 10084"/>
                <a:gd name="connsiteX8" fmla="*/ 3120 w 10000"/>
                <a:gd name="connsiteY8" fmla="*/ 429 h 10084"/>
                <a:gd name="connsiteX9" fmla="*/ 3152 w 10000"/>
                <a:gd name="connsiteY9" fmla="*/ 492 h 10084"/>
                <a:gd name="connsiteX10" fmla="*/ 3093 w 10000"/>
                <a:gd name="connsiteY10" fmla="*/ 577 h 10084"/>
                <a:gd name="connsiteX11" fmla="*/ 2992 w 10000"/>
                <a:gd name="connsiteY11" fmla="*/ 668 h 10084"/>
                <a:gd name="connsiteX12" fmla="*/ 3043 w 10000"/>
                <a:gd name="connsiteY12" fmla="*/ 692 h 10084"/>
                <a:gd name="connsiteX13" fmla="*/ 3087 w 10000"/>
                <a:gd name="connsiteY13" fmla="*/ 734 h 10084"/>
                <a:gd name="connsiteX14" fmla="*/ 3130 w 10000"/>
                <a:gd name="connsiteY14" fmla="*/ 781 h 10084"/>
                <a:gd name="connsiteX15" fmla="*/ 3174 w 10000"/>
                <a:gd name="connsiteY15" fmla="*/ 830 h 10084"/>
                <a:gd name="connsiteX16" fmla="*/ 3212 w 10000"/>
                <a:gd name="connsiteY16" fmla="*/ 890 h 10084"/>
                <a:gd name="connsiteX17" fmla="*/ 3256 w 10000"/>
                <a:gd name="connsiteY17" fmla="*/ 944 h 10084"/>
                <a:gd name="connsiteX18" fmla="*/ 3281 w 10000"/>
                <a:gd name="connsiteY18" fmla="*/ 1004 h 10084"/>
                <a:gd name="connsiteX19" fmla="*/ 3312 w 10000"/>
                <a:gd name="connsiteY19" fmla="*/ 1071 h 10084"/>
                <a:gd name="connsiteX20" fmla="*/ 3331 w 10000"/>
                <a:gd name="connsiteY20" fmla="*/ 1138 h 10084"/>
                <a:gd name="connsiteX21" fmla="*/ 3043 w 10000"/>
                <a:gd name="connsiteY21" fmla="*/ 1138 h 10084"/>
                <a:gd name="connsiteX22" fmla="*/ 3043 w 10000"/>
                <a:gd name="connsiteY22" fmla="*/ 1324 h 10084"/>
                <a:gd name="connsiteX23" fmla="*/ 3074 w 10000"/>
                <a:gd name="connsiteY23" fmla="*/ 1402 h 10084"/>
                <a:gd name="connsiteX24" fmla="*/ 3118 w 10000"/>
                <a:gd name="connsiteY24" fmla="*/ 1469 h 10084"/>
                <a:gd name="connsiteX25" fmla="*/ 3168 w 10000"/>
                <a:gd name="connsiteY25" fmla="*/ 1529 h 10084"/>
                <a:gd name="connsiteX26" fmla="*/ 3225 w 10000"/>
                <a:gd name="connsiteY26" fmla="*/ 1571 h 10084"/>
                <a:gd name="connsiteX27" fmla="*/ 3281 w 10000"/>
                <a:gd name="connsiteY27" fmla="*/ 1613 h 10084"/>
                <a:gd name="connsiteX28" fmla="*/ 3350 w 10000"/>
                <a:gd name="connsiteY28" fmla="*/ 1643 h 10084"/>
                <a:gd name="connsiteX29" fmla="*/ 3413 w 10000"/>
                <a:gd name="connsiteY29" fmla="*/ 1673 h 10084"/>
                <a:gd name="connsiteX30" fmla="*/ 3488 w 10000"/>
                <a:gd name="connsiteY30" fmla="*/ 1698 h 10084"/>
                <a:gd name="connsiteX31" fmla="*/ 3626 w 10000"/>
                <a:gd name="connsiteY31" fmla="*/ 1752 h 10084"/>
                <a:gd name="connsiteX32" fmla="*/ 3764 w 10000"/>
                <a:gd name="connsiteY32" fmla="*/ 1805 h 10084"/>
                <a:gd name="connsiteX33" fmla="*/ 3827 w 10000"/>
                <a:gd name="connsiteY33" fmla="*/ 1842 h 10084"/>
                <a:gd name="connsiteX34" fmla="*/ 3890 w 10000"/>
                <a:gd name="connsiteY34" fmla="*/ 1890 h 10084"/>
                <a:gd name="connsiteX35" fmla="*/ 3946 w 10000"/>
                <a:gd name="connsiteY35" fmla="*/ 1939 h 10084"/>
                <a:gd name="connsiteX36" fmla="*/ 4003 w 10000"/>
                <a:gd name="connsiteY36" fmla="*/ 1993 h 10084"/>
                <a:gd name="connsiteX37" fmla="*/ 3959 w 10000"/>
                <a:gd name="connsiteY37" fmla="*/ 2554 h 10084"/>
                <a:gd name="connsiteX38" fmla="*/ 4034 w 10000"/>
                <a:gd name="connsiteY38" fmla="*/ 2608 h 10084"/>
                <a:gd name="connsiteX39" fmla="*/ 4141 w 10000"/>
                <a:gd name="connsiteY39" fmla="*/ 2674 h 10084"/>
                <a:gd name="connsiteX40" fmla="*/ 4260 w 10000"/>
                <a:gd name="connsiteY40" fmla="*/ 2734 h 10084"/>
                <a:gd name="connsiteX41" fmla="*/ 4398 w 10000"/>
                <a:gd name="connsiteY41" fmla="*/ 2789 h 10084"/>
                <a:gd name="connsiteX42" fmla="*/ 4536 w 10000"/>
                <a:gd name="connsiteY42" fmla="*/ 2842 h 10084"/>
                <a:gd name="connsiteX43" fmla="*/ 4668 w 10000"/>
                <a:gd name="connsiteY43" fmla="*/ 2884 h 10084"/>
                <a:gd name="connsiteX44" fmla="*/ 4724 w 10000"/>
                <a:gd name="connsiteY44" fmla="*/ 2902 h 10084"/>
                <a:gd name="connsiteX45" fmla="*/ 4780 w 10000"/>
                <a:gd name="connsiteY45" fmla="*/ 2914 h 10084"/>
                <a:gd name="connsiteX46" fmla="*/ 4831 w 10000"/>
                <a:gd name="connsiteY46" fmla="*/ 2920 h 10084"/>
                <a:gd name="connsiteX47" fmla="*/ 4875 w 10000"/>
                <a:gd name="connsiteY47" fmla="*/ 2920 h 10084"/>
                <a:gd name="connsiteX48" fmla="*/ 4887 w 10000"/>
                <a:gd name="connsiteY48" fmla="*/ 2963 h 10084"/>
                <a:gd name="connsiteX49" fmla="*/ 4918 w 10000"/>
                <a:gd name="connsiteY49" fmla="*/ 2999 h 10084"/>
                <a:gd name="connsiteX50" fmla="*/ 4950 w 10000"/>
                <a:gd name="connsiteY50" fmla="*/ 3017 h 10084"/>
                <a:gd name="connsiteX51" fmla="*/ 4987 w 10000"/>
                <a:gd name="connsiteY51" fmla="*/ 3029 h 10084"/>
                <a:gd name="connsiteX52" fmla="*/ 5019 w 10000"/>
                <a:gd name="connsiteY52" fmla="*/ 3041 h 10084"/>
                <a:gd name="connsiteX53" fmla="*/ 5063 w 10000"/>
                <a:gd name="connsiteY53" fmla="*/ 3041 h 10084"/>
                <a:gd name="connsiteX54" fmla="*/ 5107 w 10000"/>
                <a:gd name="connsiteY54" fmla="*/ 3035 h 10084"/>
                <a:gd name="connsiteX55" fmla="*/ 5157 w 10000"/>
                <a:gd name="connsiteY55" fmla="*/ 3029 h 10084"/>
                <a:gd name="connsiteX56" fmla="*/ 5245 w 10000"/>
                <a:gd name="connsiteY56" fmla="*/ 3011 h 10084"/>
                <a:gd name="connsiteX57" fmla="*/ 5345 w 10000"/>
                <a:gd name="connsiteY57" fmla="*/ 2987 h 10084"/>
                <a:gd name="connsiteX58" fmla="*/ 5383 w 10000"/>
                <a:gd name="connsiteY58" fmla="*/ 2987 h 10084"/>
                <a:gd name="connsiteX59" fmla="*/ 5427 w 10000"/>
                <a:gd name="connsiteY59" fmla="*/ 2981 h 10084"/>
                <a:gd name="connsiteX60" fmla="*/ 5464 w 10000"/>
                <a:gd name="connsiteY60" fmla="*/ 2987 h 10084"/>
                <a:gd name="connsiteX61" fmla="*/ 5502 w 10000"/>
                <a:gd name="connsiteY61" fmla="*/ 2993 h 10084"/>
                <a:gd name="connsiteX62" fmla="*/ 5558 w 10000"/>
                <a:gd name="connsiteY62" fmla="*/ 3029 h 10084"/>
                <a:gd name="connsiteX63" fmla="*/ 5596 w 10000"/>
                <a:gd name="connsiteY63" fmla="*/ 3059 h 10084"/>
                <a:gd name="connsiteX64" fmla="*/ 5634 w 10000"/>
                <a:gd name="connsiteY64" fmla="*/ 3101 h 10084"/>
                <a:gd name="connsiteX65" fmla="*/ 5665 w 10000"/>
                <a:gd name="connsiteY65" fmla="*/ 3137 h 10084"/>
                <a:gd name="connsiteX66" fmla="*/ 5696 w 10000"/>
                <a:gd name="connsiteY66" fmla="*/ 3174 h 10084"/>
                <a:gd name="connsiteX67" fmla="*/ 5734 w 10000"/>
                <a:gd name="connsiteY67" fmla="*/ 3210 h 10084"/>
                <a:gd name="connsiteX68" fmla="*/ 5759 w 10000"/>
                <a:gd name="connsiteY68" fmla="*/ 3228 h 10084"/>
                <a:gd name="connsiteX69" fmla="*/ 5778 w 10000"/>
                <a:gd name="connsiteY69" fmla="*/ 3240 h 10084"/>
                <a:gd name="connsiteX70" fmla="*/ 5803 w 10000"/>
                <a:gd name="connsiteY70" fmla="*/ 3252 h 10084"/>
                <a:gd name="connsiteX71" fmla="*/ 5834 w 10000"/>
                <a:gd name="connsiteY71" fmla="*/ 3258 h 10084"/>
                <a:gd name="connsiteX72" fmla="*/ 5935 w 10000"/>
                <a:gd name="connsiteY72" fmla="*/ 3277 h 10084"/>
                <a:gd name="connsiteX73" fmla="*/ 6073 w 10000"/>
                <a:gd name="connsiteY73" fmla="*/ 3312 h 10084"/>
                <a:gd name="connsiteX74" fmla="*/ 6230 w 10000"/>
                <a:gd name="connsiteY74" fmla="*/ 3348 h 10084"/>
                <a:gd name="connsiteX75" fmla="*/ 6405 w 10000"/>
                <a:gd name="connsiteY75" fmla="*/ 3391 h 10084"/>
                <a:gd name="connsiteX76" fmla="*/ 6568 w 10000"/>
                <a:gd name="connsiteY76" fmla="*/ 3421 h 10084"/>
                <a:gd name="connsiteX77" fmla="*/ 6719 w 10000"/>
                <a:gd name="connsiteY77" fmla="*/ 3445 h 10084"/>
                <a:gd name="connsiteX78" fmla="*/ 6788 w 10000"/>
                <a:gd name="connsiteY78" fmla="*/ 3451 h 10084"/>
                <a:gd name="connsiteX79" fmla="*/ 6838 w 10000"/>
                <a:gd name="connsiteY79" fmla="*/ 3457 h 10084"/>
                <a:gd name="connsiteX80" fmla="*/ 6888 w 10000"/>
                <a:gd name="connsiteY80" fmla="*/ 3451 h 10084"/>
                <a:gd name="connsiteX81" fmla="*/ 6913 w 10000"/>
                <a:gd name="connsiteY81" fmla="*/ 3439 h 10084"/>
                <a:gd name="connsiteX82" fmla="*/ 6888 w 10000"/>
                <a:gd name="connsiteY82" fmla="*/ 3397 h 10084"/>
                <a:gd name="connsiteX83" fmla="*/ 6857 w 10000"/>
                <a:gd name="connsiteY83" fmla="*/ 3348 h 10084"/>
                <a:gd name="connsiteX84" fmla="*/ 6838 w 10000"/>
                <a:gd name="connsiteY84" fmla="*/ 3300 h 10084"/>
                <a:gd name="connsiteX85" fmla="*/ 6826 w 10000"/>
                <a:gd name="connsiteY85" fmla="*/ 3246 h 10084"/>
                <a:gd name="connsiteX86" fmla="*/ 6794 w 10000"/>
                <a:gd name="connsiteY86" fmla="*/ 3155 h 10084"/>
                <a:gd name="connsiteX87" fmla="*/ 6788 w 10000"/>
                <a:gd name="connsiteY87" fmla="*/ 3107 h 10084"/>
                <a:gd name="connsiteX88" fmla="*/ 6788 w 10000"/>
                <a:gd name="connsiteY88" fmla="*/ 2920 h 10084"/>
                <a:gd name="connsiteX89" fmla="*/ 6788 w 10000"/>
                <a:gd name="connsiteY89" fmla="*/ 2734 h 10084"/>
                <a:gd name="connsiteX90" fmla="*/ 6995 w 10000"/>
                <a:gd name="connsiteY90" fmla="*/ 2734 h 10084"/>
                <a:gd name="connsiteX91" fmla="*/ 7033 w 10000"/>
                <a:gd name="connsiteY91" fmla="*/ 2800 h 10084"/>
                <a:gd name="connsiteX92" fmla="*/ 7058 w 10000"/>
                <a:gd name="connsiteY92" fmla="*/ 2842 h 10084"/>
                <a:gd name="connsiteX93" fmla="*/ 7095 w 10000"/>
                <a:gd name="connsiteY93" fmla="*/ 2878 h 10084"/>
                <a:gd name="connsiteX94" fmla="*/ 7127 w 10000"/>
                <a:gd name="connsiteY94" fmla="*/ 2920 h 10084"/>
                <a:gd name="connsiteX95" fmla="*/ 7120 w 10000"/>
                <a:gd name="connsiteY95" fmla="*/ 3017 h 10084"/>
                <a:gd name="connsiteX96" fmla="*/ 7102 w 10000"/>
                <a:gd name="connsiteY96" fmla="*/ 3077 h 10084"/>
                <a:gd name="connsiteX97" fmla="*/ 7089 w 10000"/>
                <a:gd name="connsiteY97" fmla="*/ 3125 h 10084"/>
                <a:gd name="connsiteX98" fmla="*/ 7077 w 10000"/>
                <a:gd name="connsiteY98" fmla="*/ 3180 h 10084"/>
                <a:gd name="connsiteX99" fmla="*/ 7208 w 10000"/>
                <a:gd name="connsiteY99" fmla="*/ 3216 h 10084"/>
                <a:gd name="connsiteX100" fmla="*/ 7334 w 10000"/>
                <a:gd name="connsiteY100" fmla="*/ 3252 h 10084"/>
                <a:gd name="connsiteX101" fmla="*/ 7396 w 10000"/>
                <a:gd name="connsiteY101" fmla="*/ 3271 h 10084"/>
                <a:gd name="connsiteX102" fmla="*/ 7459 w 10000"/>
                <a:gd name="connsiteY102" fmla="*/ 3283 h 10084"/>
                <a:gd name="connsiteX103" fmla="*/ 7522 w 10000"/>
                <a:gd name="connsiteY103" fmla="*/ 3289 h 10084"/>
                <a:gd name="connsiteX104" fmla="*/ 7585 w 10000"/>
                <a:gd name="connsiteY104" fmla="*/ 3294 h 10084"/>
                <a:gd name="connsiteX105" fmla="*/ 7591 w 10000"/>
                <a:gd name="connsiteY105" fmla="*/ 3318 h 10084"/>
                <a:gd name="connsiteX106" fmla="*/ 7604 w 10000"/>
                <a:gd name="connsiteY106" fmla="*/ 3342 h 10084"/>
                <a:gd name="connsiteX107" fmla="*/ 7622 w 10000"/>
                <a:gd name="connsiteY107" fmla="*/ 3360 h 10084"/>
                <a:gd name="connsiteX108" fmla="*/ 7654 w 10000"/>
                <a:gd name="connsiteY108" fmla="*/ 3378 h 10084"/>
                <a:gd name="connsiteX109" fmla="*/ 7704 w 10000"/>
                <a:gd name="connsiteY109" fmla="*/ 3397 h 10084"/>
                <a:gd name="connsiteX110" fmla="*/ 7748 w 10000"/>
                <a:gd name="connsiteY110" fmla="*/ 3403 h 10084"/>
                <a:gd name="connsiteX111" fmla="*/ 7798 w 10000"/>
                <a:gd name="connsiteY111" fmla="*/ 3403 h 10084"/>
                <a:gd name="connsiteX112" fmla="*/ 7836 w 10000"/>
                <a:gd name="connsiteY112" fmla="*/ 3391 h 10084"/>
                <a:gd name="connsiteX113" fmla="*/ 7880 w 10000"/>
                <a:gd name="connsiteY113" fmla="*/ 3372 h 10084"/>
                <a:gd name="connsiteX114" fmla="*/ 7911 w 10000"/>
                <a:gd name="connsiteY114" fmla="*/ 3354 h 10084"/>
                <a:gd name="connsiteX115" fmla="*/ 7949 w 10000"/>
                <a:gd name="connsiteY115" fmla="*/ 3330 h 10084"/>
                <a:gd name="connsiteX116" fmla="*/ 7980 w 10000"/>
                <a:gd name="connsiteY116" fmla="*/ 3300 h 10084"/>
                <a:gd name="connsiteX117" fmla="*/ 8011 w 10000"/>
                <a:gd name="connsiteY117" fmla="*/ 3271 h 10084"/>
                <a:gd name="connsiteX118" fmla="*/ 8036 w 10000"/>
                <a:gd name="connsiteY118" fmla="*/ 3240 h 10084"/>
                <a:gd name="connsiteX119" fmla="*/ 8087 w 10000"/>
                <a:gd name="connsiteY119" fmla="*/ 3161 h 10084"/>
                <a:gd name="connsiteX120" fmla="*/ 8118 w 10000"/>
                <a:gd name="connsiteY120" fmla="*/ 3089 h 10084"/>
                <a:gd name="connsiteX121" fmla="*/ 8149 w 10000"/>
                <a:gd name="connsiteY121" fmla="*/ 3023 h 10084"/>
                <a:gd name="connsiteX122" fmla="*/ 8168 w 10000"/>
                <a:gd name="connsiteY122" fmla="*/ 2957 h 10084"/>
                <a:gd name="connsiteX123" fmla="*/ 8231 w 10000"/>
                <a:gd name="connsiteY123" fmla="*/ 2890 h 10084"/>
                <a:gd name="connsiteX124" fmla="*/ 8294 w 10000"/>
                <a:gd name="connsiteY124" fmla="*/ 2824 h 10084"/>
                <a:gd name="connsiteX125" fmla="*/ 8363 w 10000"/>
                <a:gd name="connsiteY125" fmla="*/ 2771 h 10084"/>
                <a:gd name="connsiteX126" fmla="*/ 8432 w 10000"/>
                <a:gd name="connsiteY126" fmla="*/ 2710 h 10084"/>
                <a:gd name="connsiteX127" fmla="*/ 8507 w 10000"/>
                <a:gd name="connsiteY127" fmla="*/ 2662 h 10084"/>
                <a:gd name="connsiteX128" fmla="*/ 8576 w 10000"/>
                <a:gd name="connsiteY128" fmla="*/ 2614 h 10084"/>
                <a:gd name="connsiteX129" fmla="*/ 8651 w 10000"/>
                <a:gd name="connsiteY129" fmla="*/ 2572 h 10084"/>
                <a:gd name="connsiteX130" fmla="*/ 8726 w 10000"/>
                <a:gd name="connsiteY130" fmla="*/ 2528 h 10084"/>
                <a:gd name="connsiteX131" fmla="*/ 8808 w 10000"/>
                <a:gd name="connsiteY131" fmla="*/ 2486 h 10084"/>
                <a:gd name="connsiteX132" fmla="*/ 8890 w 10000"/>
                <a:gd name="connsiteY132" fmla="*/ 2450 h 10084"/>
                <a:gd name="connsiteX133" fmla="*/ 8971 w 10000"/>
                <a:gd name="connsiteY133" fmla="*/ 2420 h 10084"/>
                <a:gd name="connsiteX134" fmla="*/ 9059 w 10000"/>
                <a:gd name="connsiteY134" fmla="*/ 2390 h 10084"/>
                <a:gd name="connsiteX135" fmla="*/ 9235 w 10000"/>
                <a:gd name="connsiteY135" fmla="*/ 2336 h 10084"/>
                <a:gd name="connsiteX136" fmla="*/ 9417 w 10000"/>
                <a:gd name="connsiteY136" fmla="*/ 2293 h 10084"/>
                <a:gd name="connsiteX137" fmla="*/ 9454 w 10000"/>
                <a:gd name="connsiteY137" fmla="*/ 2342 h 10084"/>
                <a:gd name="connsiteX138" fmla="*/ 9504 w 10000"/>
                <a:gd name="connsiteY138" fmla="*/ 2402 h 10084"/>
                <a:gd name="connsiteX139" fmla="*/ 9573 w 10000"/>
                <a:gd name="connsiteY139" fmla="*/ 2468 h 10084"/>
                <a:gd name="connsiteX140" fmla="*/ 9642 w 10000"/>
                <a:gd name="connsiteY140" fmla="*/ 2541 h 10084"/>
                <a:gd name="connsiteX141" fmla="*/ 9718 w 10000"/>
                <a:gd name="connsiteY141" fmla="*/ 2602 h 10084"/>
                <a:gd name="connsiteX142" fmla="*/ 9799 w 10000"/>
                <a:gd name="connsiteY142" fmla="*/ 2650 h 10084"/>
                <a:gd name="connsiteX143" fmla="*/ 9837 w 10000"/>
                <a:gd name="connsiteY143" fmla="*/ 2674 h 10084"/>
                <a:gd name="connsiteX144" fmla="*/ 9875 w 10000"/>
                <a:gd name="connsiteY144" fmla="*/ 2686 h 10084"/>
                <a:gd name="connsiteX145" fmla="*/ 9918 w 10000"/>
                <a:gd name="connsiteY145" fmla="*/ 2698 h 10084"/>
                <a:gd name="connsiteX146" fmla="*/ 9956 w 10000"/>
                <a:gd name="connsiteY146" fmla="*/ 2698 h 10084"/>
                <a:gd name="connsiteX147" fmla="*/ 10000 w 10000"/>
                <a:gd name="connsiteY147" fmla="*/ 2626 h 10084"/>
                <a:gd name="connsiteX148" fmla="*/ 9975 w 10000"/>
                <a:gd name="connsiteY148" fmla="*/ 2753 h 10084"/>
                <a:gd name="connsiteX149" fmla="*/ 9944 w 10000"/>
                <a:gd name="connsiteY149" fmla="*/ 2896 h 10084"/>
                <a:gd name="connsiteX150" fmla="*/ 9931 w 10000"/>
                <a:gd name="connsiteY150" fmla="*/ 2963 h 10084"/>
                <a:gd name="connsiteX151" fmla="*/ 9906 w 10000"/>
                <a:gd name="connsiteY151" fmla="*/ 3023 h 10084"/>
                <a:gd name="connsiteX152" fmla="*/ 9887 w 10000"/>
                <a:gd name="connsiteY152" fmla="*/ 3047 h 10084"/>
                <a:gd name="connsiteX153" fmla="*/ 9875 w 10000"/>
                <a:gd name="connsiteY153" fmla="*/ 3071 h 10084"/>
                <a:gd name="connsiteX154" fmla="*/ 9856 w 10000"/>
                <a:gd name="connsiteY154" fmla="*/ 3089 h 10084"/>
                <a:gd name="connsiteX155" fmla="*/ 9837 w 10000"/>
                <a:gd name="connsiteY155" fmla="*/ 3107 h 10084"/>
                <a:gd name="connsiteX156" fmla="*/ 9749 w 10000"/>
                <a:gd name="connsiteY156" fmla="*/ 3125 h 10084"/>
                <a:gd name="connsiteX157" fmla="*/ 9605 w 10000"/>
                <a:gd name="connsiteY157" fmla="*/ 3174 h 10084"/>
                <a:gd name="connsiteX158" fmla="*/ 9536 w 10000"/>
                <a:gd name="connsiteY158" fmla="*/ 3216 h 10084"/>
                <a:gd name="connsiteX159" fmla="*/ 9479 w 10000"/>
                <a:gd name="connsiteY159" fmla="*/ 3252 h 10084"/>
                <a:gd name="connsiteX160" fmla="*/ 9448 w 10000"/>
                <a:gd name="connsiteY160" fmla="*/ 3271 h 10084"/>
                <a:gd name="connsiteX161" fmla="*/ 9435 w 10000"/>
                <a:gd name="connsiteY161" fmla="*/ 3289 h 10084"/>
                <a:gd name="connsiteX162" fmla="*/ 9423 w 10000"/>
                <a:gd name="connsiteY162" fmla="*/ 3312 h 10084"/>
                <a:gd name="connsiteX163" fmla="*/ 9417 w 10000"/>
                <a:gd name="connsiteY163" fmla="*/ 3330 h 10084"/>
                <a:gd name="connsiteX164" fmla="*/ 9423 w 10000"/>
                <a:gd name="connsiteY164" fmla="*/ 3541 h 10084"/>
                <a:gd name="connsiteX165" fmla="*/ 9417 w 10000"/>
                <a:gd name="connsiteY165" fmla="*/ 3782 h 10084"/>
                <a:gd name="connsiteX166" fmla="*/ 9398 w 10000"/>
                <a:gd name="connsiteY166" fmla="*/ 3842 h 10084"/>
                <a:gd name="connsiteX167" fmla="*/ 9391 w 10000"/>
                <a:gd name="connsiteY167" fmla="*/ 3908 h 10084"/>
                <a:gd name="connsiteX168" fmla="*/ 9379 w 10000"/>
                <a:gd name="connsiteY168" fmla="*/ 3962 h 10084"/>
                <a:gd name="connsiteX169" fmla="*/ 9366 w 10000"/>
                <a:gd name="connsiteY169" fmla="*/ 4017 h 10084"/>
                <a:gd name="connsiteX170" fmla="*/ 9348 w 10000"/>
                <a:gd name="connsiteY170" fmla="*/ 4066 h 10084"/>
                <a:gd name="connsiteX171" fmla="*/ 9316 w 10000"/>
                <a:gd name="connsiteY171" fmla="*/ 4114 h 10084"/>
                <a:gd name="connsiteX172" fmla="*/ 9285 w 10000"/>
                <a:gd name="connsiteY172" fmla="*/ 4150 h 10084"/>
                <a:gd name="connsiteX173" fmla="*/ 9247 w 10000"/>
                <a:gd name="connsiteY173" fmla="*/ 4180 h 10084"/>
                <a:gd name="connsiteX174" fmla="*/ 9228 w 10000"/>
                <a:gd name="connsiteY174" fmla="*/ 4198 h 10084"/>
                <a:gd name="connsiteX175" fmla="*/ 9184 w 10000"/>
                <a:gd name="connsiteY175" fmla="*/ 4204 h 10084"/>
                <a:gd name="connsiteX176" fmla="*/ 9141 w 10000"/>
                <a:gd name="connsiteY176" fmla="*/ 4210 h 10084"/>
                <a:gd name="connsiteX177" fmla="*/ 9090 w 10000"/>
                <a:gd name="connsiteY177" fmla="*/ 4216 h 10084"/>
                <a:gd name="connsiteX178" fmla="*/ 9040 w 10000"/>
                <a:gd name="connsiteY178" fmla="*/ 4222 h 10084"/>
                <a:gd name="connsiteX179" fmla="*/ 8996 w 10000"/>
                <a:gd name="connsiteY179" fmla="*/ 4241 h 10084"/>
                <a:gd name="connsiteX180" fmla="*/ 8977 w 10000"/>
                <a:gd name="connsiteY180" fmla="*/ 4247 h 10084"/>
                <a:gd name="connsiteX181" fmla="*/ 8965 w 10000"/>
                <a:gd name="connsiteY181" fmla="*/ 4265 h 10084"/>
                <a:gd name="connsiteX182" fmla="*/ 8959 w 10000"/>
                <a:gd name="connsiteY182" fmla="*/ 4277 h 10084"/>
                <a:gd name="connsiteX183" fmla="*/ 8959 w 10000"/>
                <a:gd name="connsiteY183" fmla="*/ 4295 h 10084"/>
                <a:gd name="connsiteX184" fmla="*/ 8952 w 10000"/>
                <a:gd name="connsiteY184" fmla="*/ 4366 h 10084"/>
                <a:gd name="connsiteX185" fmla="*/ 8952 w 10000"/>
                <a:gd name="connsiteY185" fmla="*/ 4451 h 10084"/>
                <a:gd name="connsiteX186" fmla="*/ 8940 w 10000"/>
                <a:gd name="connsiteY186" fmla="*/ 4541 h 10084"/>
                <a:gd name="connsiteX187" fmla="*/ 8927 w 10000"/>
                <a:gd name="connsiteY187" fmla="*/ 4625 h 10084"/>
                <a:gd name="connsiteX188" fmla="*/ 8908 w 10000"/>
                <a:gd name="connsiteY188" fmla="*/ 4711 h 10084"/>
                <a:gd name="connsiteX189" fmla="*/ 8890 w 10000"/>
                <a:gd name="connsiteY189" fmla="*/ 4789 h 10084"/>
                <a:gd name="connsiteX190" fmla="*/ 8864 w 10000"/>
                <a:gd name="connsiteY190" fmla="*/ 4860 h 10084"/>
                <a:gd name="connsiteX191" fmla="*/ 8833 w 10000"/>
                <a:gd name="connsiteY191" fmla="*/ 4927 h 10084"/>
                <a:gd name="connsiteX192" fmla="*/ 8538 w 10000"/>
                <a:gd name="connsiteY192" fmla="*/ 4438 h 10084"/>
                <a:gd name="connsiteX193" fmla="*/ 8526 w 10000"/>
                <a:gd name="connsiteY193" fmla="*/ 4463 h 10084"/>
                <a:gd name="connsiteX194" fmla="*/ 8494 w 10000"/>
                <a:gd name="connsiteY194" fmla="*/ 4517 h 10084"/>
                <a:gd name="connsiteX195" fmla="*/ 8463 w 10000"/>
                <a:gd name="connsiteY195" fmla="*/ 4547 h 10084"/>
                <a:gd name="connsiteX196" fmla="*/ 8438 w 10000"/>
                <a:gd name="connsiteY196" fmla="*/ 4571 h 10084"/>
                <a:gd name="connsiteX197" fmla="*/ 8407 w 10000"/>
                <a:gd name="connsiteY197" fmla="*/ 4589 h 10084"/>
                <a:gd name="connsiteX198" fmla="*/ 8375 w 10000"/>
                <a:gd name="connsiteY198" fmla="*/ 4595 h 10084"/>
                <a:gd name="connsiteX199" fmla="*/ 8338 w 10000"/>
                <a:gd name="connsiteY199" fmla="*/ 4589 h 10084"/>
                <a:gd name="connsiteX200" fmla="*/ 8312 w 10000"/>
                <a:gd name="connsiteY200" fmla="*/ 4583 h 10084"/>
                <a:gd name="connsiteX201" fmla="*/ 8287 w 10000"/>
                <a:gd name="connsiteY201" fmla="*/ 4565 h 10084"/>
                <a:gd name="connsiteX202" fmla="*/ 8256 w 10000"/>
                <a:gd name="connsiteY202" fmla="*/ 4547 h 10084"/>
                <a:gd name="connsiteX203" fmla="*/ 8237 w 10000"/>
                <a:gd name="connsiteY203" fmla="*/ 4517 h 10084"/>
                <a:gd name="connsiteX204" fmla="*/ 8225 w 10000"/>
                <a:gd name="connsiteY204" fmla="*/ 4493 h 10084"/>
                <a:gd name="connsiteX205" fmla="*/ 8206 w 10000"/>
                <a:gd name="connsiteY205" fmla="*/ 4469 h 10084"/>
                <a:gd name="connsiteX206" fmla="*/ 8206 w 10000"/>
                <a:gd name="connsiteY206" fmla="*/ 4438 h 10084"/>
                <a:gd name="connsiteX207" fmla="*/ 8206 w 10000"/>
                <a:gd name="connsiteY207" fmla="*/ 4402 h 10084"/>
                <a:gd name="connsiteX208" fmla="*/ 8225 w 10000"/>
                <a:gd name="connsiteY208" fmla="*/ 4366 h 10084"/>
                <a:gd name="connsiteX209" fmla="*/ 8237 w 10000"/>
                <a:gd name="connsiteY209" fmla="*/ 4330 h 10084"/>
                <a:gd name="connsiteX210" fmla="*/ 8250 w 10000"/>
                <a:gd name="connsiteY210" fmla="*/ 4295 h 10084"/>
                <a:gd name="connsiteX211" fmla="*/ 8300 w 10000"/>
                <a:gd name="connsiteY211" fmla="*/ 4228 h 10084"/>
                <a:gd name="connsiteX212" fmla="*/ 8356 w 10000"/>
                <a:gd name="connsiteY212" fmla="*/ 4162 h 10084"/>
                <a:gd name="connsiteX213" fmla="*/ 8407 w 10000"/>
                <a:gd name="connsiteY213" fmla="*/ 4102 h 10084"/>
                <a:gd name="connsiteX214" fmla="*/ 8457 w 10000"/>
                <a:gd name="connsiteY214" fmla="*/ 4036 h 10084"/>
                <a:gd name="connsiteX215" fmla="*/ 8469 w 10000"/>
                <a:gd name="connsiteY215" fmla="*/ 3999 h 10084"/>
                <a:gd name="connsiteX216" fmla="*/ 8482 w 10000"/>
                <a:gd name="connsiteY216" fmla="*/ 3968 h 10084"/>
                <a:gd name="connsiteX217" fmla="*/ 8501 w 10000"/>
                <a:gd name="connsiteY217" fmla="*/ 3926 h 10084"/>
                <a:gd name="connsiteX218" fmla="*/ 8501 w 10000"/>
                <a:gd name="connsiteY218" fmla="*/ 3890 h 10084"/>
                <a:gd name="connsiteX219" fmla="*/ 7748 w 10000"/>
                <a:gd name="connsiteY219" fmla="*/ 3890 h 10084"/>
                <a:gd name="connsiteX220" fmla="*/ 7723 w 10000"/>
                <a:gd name="connsiteY220" fmla="*/ 3884 h 10084"/>
                <a:gd name="connsiteX221" fmla="*/ 7685 w 10000"/>
                <a:gd name="connsiteY221" fmla="*/ 3866 h 10084"/>
                <a:gd name="connsiteX222" fmla="*/ 7660 w 10000"/>
                <a:gd name="connsiteY222" fmla="*/ 3830 h 10084"/>
                <a:gd name="connsiteX223" fmla="*/ 7635 w 10000"/>
                <a:gd name="connsiteY223" fmla="*/ 3794 h 10084"/>
                <a:gd name="connsiteX224" fmla="*/ 7616 w 10000"/>
                <a:gd name="connsiteY224" fmla="*/ 3746 h 10084"/>
                <a:gd name="connsiteX225" fmla="*/ 7597 w 10000"/>
                <a:gd name="connsiteY225" fmla="*/ 3698 h 10084"/>
                <a:gd name="connsiteX226" fmla="*/ 7591 w 10000"/>
                <a:gd name="connsiteY226" fmla="*/ 3644 h 10084"/>
                <a:gd name="connsiteX227" fmla="*/ 7585 w 10000"/>
                <a:gd name="connsiteY227" fmla="*/ 3589 h 10084"/>
                <a:gd name="connsiteX228" fmla="*/ 7547 w 10000"/>
                <a:gd name="connsiteY228" fmla="*/ 3589 h 10084"/>
                <a:gd name="connsiteX229" fmla="*/ 7516 w 10000"/>
                <a:gd name="connsiteY229" fmla="*/ 3583 h 10084"/>
                <a:gd name="connsiteX230" fmla="*/ 7478 w 10000"/>
                <a:gd name="connsiteY230" fmla="*/ 3577 h 10084"/>
                <a:gd name="connsiteX231" fmla="*/ 7447 w 10000"/>
                <a:gd name="connsiteY231" fmla="*/ 3565 h 10084"/>
                <a:gd name="connsiteX232" fmla="*/ 7415 w 10000"/>
                <a:gd name="connsiteY232" fmla="*/ 3547 h 10084"/>
                <a:gd name="connsiteX233" fmla="*/ 7396 w 10000"/>
                <a:gd name="connsiteY233" fmla="*/ 3529 h 10084"/>
                <a:gd name="connsiteX234" fmla="*/ 7384 w 10000"/>
                <a:gd name="connsiteY234" fmla="*/ 3499 h 10084"/>
                <a:gd name="connsiteX235" fmla="*/ 7378 w 10000"/>
                <a:gd name="connsiteY235" fmla="*/ 3475 h 10084"/>
                <a:gd name="connsiteX236" fmla="*/ 7321 w 10000"/>
                <a:gd name="connsiteY236" fmla="*/ 3475 h 10084"/>
                <a:gd name="connsiteX237" fmla="*/ 7271 w 10000"/>
                <a:gd name="connsiteY237" fmla="*/ 3475 h 10084"/>
                <a:gd name="connsiteX238" fmla="*/ 7221 w 10000"/>
                <a:gd name="connsiteY238" fmla="*/ 3475 h 10084"/>
                <a:gd name="connsiteX239" fmla="*/ 7171 w 10000"/>
                <a:gd name="connsiteY239" fmla="*/ 3475 h 10084"/>
                <a:gd name="connsiteX240" fmla="*/ 7127 w 10000"/>
                <a:gd name="connsiteY240" fmla="*/ 3481 h 10084"/>
                <a:gd name="connsiteX241" fmla="*/ 7095 w 10000"/>
                <a:gd name="connsiteY241" fmla="*/ 3487 h 10084"/>
                <a:gd name="connsiteX242" fmla="*/ 7051 w 10000"/>
                <a:gd name="connsiteY242" fmla="*/ 3505 h 10084"/>
                <a:gd name="connsiteX243" fmla="*/ 7008 w 10000"/>
                <a:gd name="connsiteY243" fmla="*/ 3529 h 10084"/>
                <a:gd name="connsiteX244" fmla="*/ 6976 w 10000"/>
                <a:gd name="connsiteY244" fmla="*/ 3559 h 10084"/>
                <a:gd name="connsiteX245" fmla="*/ 6939 w 10000"/>
                <a:gd name="connsiteY245" fmla="*/ 3589 h 10084"/>
                <a:gd name="connsiteX246" fmla="*/ 6920 w 10000"/>
                <a:gd name="connsiteY246" fmla="*/ 3626 h 10084"/>
                <a:gd name="connsiteX247" fmla="*/ 6913 w 10000"/>
                <a:gd name="connsiteY247" fmla="*/ 3662 h 10084"/>
                <a:gd name="connsiteX248" fmla="*/ 6926 w 10000"/>
                <a:gd name="connsiteY248" fmla="*/ 3686 h 10084"/>
                <a:gd name="connsiteX249" fmla="*/ 6964 w 10000"/>
                <a:gd name="connsiteY249" fmla="*/ 3716 h 10084"/>
                <a:gd name="connsiteX250" fmla="*/ 7008 w 10000"/>
                <a:gd name="connsiteY250" fmla="*/ 3752 h 10084"/>
                <a:gd name="connsiteX251" fmla="*/ 7070 w 10000"/>
                <a:gd name="connsiteY251" fmla="*/ 3788 h 10084"/>
                <a:gd name="connsiteX252" fmla="*/ 7133 w 10000"/>
                <a:gd name="connsiteY252" fmla="*/ 3824 h 10084"/>
                <a:gd name="connsiteX253" fmla="*/ 7196 w 10000"/>
                <a:gd name="connsiteY253" fmla="*/ 3854 h 10084"/>
                <a:gd name="connsiteX254" fmla="*/ 7252 w 10000"/>
                <a:gd name="connsiteY254" fmla="*/ 3878 h 10084"/>
                <a:gd name="connsiteX255" fmla="*/ 7290 w 10000"/>
                <a:gd name="connsiteY255" fmla="*/ 3890 h 10084"/>
                <a:gd name="connsiteX256" fmla="*/ 7208 w 10000"/>
                <a:gd name="connsiteY256" fmla="*/ 3950 h 10084"/>
                <a:gd name="connsiteX257" fmla="*/ 7114 w 10000"/>
                <a:gd name="connsiteY257" fmla="*/ 4024 h 10084"/>
                <a:gd name="connsiteX258" fmla="*/ 7070 w 10000"/>
                <a:gd name="connsiteY258" fmla="*/ 4060 h 10084"/>
                <a:gd name="connsiteX259" fmla="*/ 7033 w 10000"/>
                <a:gd name="connsiteY259" fmla="*/ 4102 h 10084"/>
                <a:gd name="connsiteX260" fmla="*/ 7020 w 10000"/>
                <a:gd name="connsiteY260" fmla="*/ 4120 h 10084"/>
                <a:gd name="connsiteX261" fmla="*/ 7008 w 10000"/>
                <a:gd name="connsiteY261" fmla="*/ 4138 h 10084"/>
                <a:gd name="connsiteX262" fmla="*/ 7001 w 10000"/>
                <a:gd name="connsiteY262" fmla="*/ 4162 h 10084"/>
                <a:gd name="connsiteX263" fmla="*/ 6995 w 10000"/>
                <a:gd name="connsiteY263" fmla="*/ 4180 h 10084"/>
                <a:gd name="connsiteX264" fmla="*/ 7001 w 10000"/>
                <a:gd name="connsiteY264" fmla="*/ 4210 h 10084"/>
                <a:gd name="connsiteX265" fmla="*/ 7008 w 10000"/>
                <a:gd name="connsiteY265" fmla="*/ 4228 h 10084"/>
                <a:gd name="connsiteX266" fmla="*/ 7026 w 10000"/>
                <a:gd name="connsiteY266" fmla="*/ 4253 h 10084"/>
                <a:gd name="connsiteX267" fmla="*/ 7039 w 10000"/>
                <a:gd name="connsiteY267" fmla="*/ 4277 h 10084"/>
                <a:gd name="connsiteX268" fmla="*/ 7089 w 10000"/>
                <a:gd name="connsiteY268" fmla="*/ 4324 h 10084"/>
                <a:gd name="connsiteX269" fmla="*/ 7146 w 10000"/>
                <a:gd name="connsiteY269" fmla="*/ 4372 h 10084"/>
                <a:gd name="connsiteX270" fmla="*/ 7208 w 10000"/>
                <a:gd name="connsiteY270" fmla="*/ 4414 h 10084"/>
                <a:gd name="connsiteX271" fmla="*/ 7277 w 10000"/>
                <a:gd name="connsiteY271" fmla="*/ 4451 h 10084"/>
                <a:gd name="connsiteX272" fmla="*/ 7315 w 10000"/>
                <a:gd name="connsiteY272" fmla="*/ 4463 h 10084"/>
                <a:gd name="connsiteX273" fmla="*/ 7346 w 10000"/>
                <a:gd name="connsiteY273" fmla="*/ 4469 h 10084"/>
                <a:gd name="connsiteX274" fmla="*/ 7384 w 10000"/>
                <a:gd name="connsiteY274" fmla="*/ 4475 h 10084"/>
                <a:gd name="connsiteX275" fmla="*/ 7415 w 10000"/>
                <a:gd name="connsiteY275" fmla="*/ 4481 h 10084"/>
                <a:gd name="connsiteX276" fmla="*/ 7585 w 10000"/>
                <a:gd name="connsiteY276" fmla="*/ 5108 h 10084"/>
                <a:gd name="connsiteX277" fmla="*/ 7491 w 10000"/>
                <a:gd name="connsiteY277" fmla="*/ 5108 h 10084"/>
                <a:gd name="connsiteX278" fmla="*/ 7403 w 10000"/>
                <a:gd name="connsiteY278" fmla="*/ 5108 h 10084"/>
                <a:gd name="connsiteX279" fmla="*/ 7321 w 10000"/>
                <a:gd name="connsiteY279" fmla="*/ 5108 h 10084"/>
                <a:gd name="connsiteX280" fmla="*/ 7252 w 10000"/>
                <a:gd name="connsiteY280" fmla="*/ 5108 h 10084"/>
                <a:gd name="connsiteX281" fmla="*/ 7208 w 10000"/>
                <a:gd name="connsiteY281" fmla="*/ 5102 h 10084"/>
                <a:gd name="connsiteX282" fmla="*/ 7164 w 10000"/>
                <a:gd name="connsiteY282" fmla="*/ 5071 h 10084"/>
                <a:gd name="connsiteX283" fmla="*/ 7133 w 10000"/>
                <a:gd name="connsiteY283" fmla="*/ 5059 h 10084"/>
                <a:gd name="connsiteX284" fmla="*/ 7102 w 10000"/>
                <a:gd name="connsiteY284" fmla="*/ 5047 h 10084"/>
                <a:gd name="connsiteX285" fmla="*/ 7070 w 10000"/>
                <a:gd name="connsiteY285" fmla="*/ 5041 h 10084"/>
                <a:gd name="connsiteX286" fmla="*/ 7039 w 10000"/>
                <a:gd name="connsiteY286" fmla="*/ 5035 h 10084"/>
                <a:gd name="connsiteX287" fmla="*/ 7008 w 10000"/>
                <a:gd name="connsiteY287" fmla="*/ 5047 h 10084"/>
                <a:gd name="connsiteX288" fmla="*/ 6957 w 10000"/>
                <a:gd name="connsiteY288" fmla="*/ 5077 h 10084"/>
                <a:gd name="connsiteX289" fmla="*/ 6895 w 10000"/>
                <a:gd name="connsiteY289" fmla="*/ 5120 h 10084"/>
                <a:gd name="connsiteX290" fmla="*/ 6819 w 10000"/>
                <a:gd name="connsiteY290" fmla="*/ 5168 h 10084"/>
                <a:gd name="connsiteX291" fmla="*/ 6744 w 10000"/>
                <a:gd name="connsiteY291" fmla="*/ 5228 h 10084"/>
                <a:gd name="connsiteX292" fmla="*/ 6681 w 10000"/>
                <a:gd name="connsiteY292" fmla="*/ 5276 h 10084"/>
                <a:gd name="connsiteX293" fmla="*/ 6637 w 10000"/>
                <a:gd name="connsiteY293" fmla="*/ 5312 h 10084"/>
                <a:gd name="connsiteX294" fmla="*/ 6625 w 10000"/>
                <a:gd name="connsiteY294" fmla="*/ 5336 h 10084"/>
                <a:gd name="connsiteX295" fmla="*/ 6750 w 10000"/>
                <a:gd name="connsiteY295" fmla="*/ 5408 h 10084"/>
                <a:gd name="connsiteX296" fmla="*/ 6744 w 10000"/>
                <a:gd name="connsiteY296" fmla="*/ 5445 h 10084"/>
                <a:gd name="connsiteX297" fmla="*/ 6725 w 10000"/>
                <a:gd name="connsiteY297" fmla="*/ 5487 h 10084"/>
                <a:gd name="connsiteX298" fmla="*/ 6706 w 10000"/>
                <a:gd name="connsiteY298" fmla="*/ 5518 h 10084"/>
                <a:gd name="connsiteX299" fmla="*/ 6688 w 10000"/>
                <a:gd name="connsiteY299" fmla="*/ 5560 h 10084"/>
                <a:gd name="connsiteX300" fmla="*/ 6637 w 10000"/>
                <a:gd name="connsiteY300" fmla="*/ 5614 h 10084"/>
                <a:gd name="connsiteX301" fmla="*/ 6581 w 10000"/>
                <a:gd name="connsiteY301" fmla="*/ 5668 h 10084"/>
                <a:gd name="connsiteX302" fmla="*/ 6518 w 10000"/>
                <a:gd name="connsiteY302" fmla="*/ 5716 h 10084"/>
                <a:gd name="connsiteX303" fmla="*/ 6443 w 10000"/>
                <a:gd name="connsiteY303" fmla="*/ 5759 h 10084"/>
                <a:gd name="connsiteX304" fmla="*/ 6374 w 10000"/>
                <a:gd name="connsiteY304" fmla="*/ 5795 h 10084"/>
                <a:gd name="connsiteX305" fmla="*/ 6299 w 10000"/>
                <a:gd name="connsiteY305" fmla="*/ 5830 h 10084"/>
                <a:gd name="connsiteX306" fmla="*/ 6223 w 10000"/>
                <a:gd name="connsiteY306" fmla="*/ 5878 h 10084"/>
                <a:gd name="connsiteX307" fmla="*/ 6154 w 10000"/>
                <a:gd name="connsiteY307" fmla="*/ 5914 h 10084"/>
                <a:gd name="connsiteX308" fmla="*/ 6092 w 10000"/>
                <a:gd name="connsiteY308" fmla="*/ 5957 h 10084"/>
                <a:gd name="connsiteX309" fmla="*/ 6035 w 10000"/>
                <a:gd name="connsiteY309" fmla="*/ 6005 h 10084"/>
                <a:gd name="connsiteX310" fmla="*/ 6004 w 10000"/>
                <a:gd name="connsiteY310" fmla="*/ 6029 h 10084"/>
                <a:gd name="connsiteX311" fmla="*/ 5985 w 10000"/>
                <a:gd name="connsiteY311" fmla="*/ 6053 h 10084"/>
                <a:gd name="connsiteX312" fmla="*/ 5966 w 10000"/>
                <a:gd name="connsiteY312" fmla="*/ 6083 h 10084"/>
                <a:gd name="connsiteX313" fmla="*/ 5947 w 10000"/>
                <a:gd name="connsiteY313" fmla="*/ 6113 h 10084"/>
                <a:gd name="connsiteX314" fmla="*/ 5935 w 10000"/>
                <a:gd name="connsiteY314" fmla="*/ 6151 h 10084"/>
                <a:gd name="connsiteX315" fmla="*/ 5922 w 10000"/>
                <a:gd name="connsiteY315" fmla="*/ 6181 h 10084"/>
                <a:gd name="connsiteX316" fmla="*/ 5916 w 10000"/>
                <a:gd name="connsiteY316" fmla="*/ 6223 h 10084"/>
                <a:gd name="connsiteX317" fmla="*/ 5916 w 10000"/>
                <a:gd name="connsiteY317" fmla="*/ 6265 h 10084"/>
                <a:gd name="connsiteX318" fmla="*/ 5859 w 10000"/>
                <a:gd name="connsiteY318" fmla="*/ 6283 h 10084"/>
                <a:gd name="connsiteX319" fmla="*/ 5809 w 10000"/>
                <a:gd name="connsiteY319" fmla="*/ 6301 h 10084"/>
                <a:gd name="connsiteX320" fmla="*/ 5765 w 10000"/>
                <a:gd name="connsiteY320" fmla="*/ 6324 h 10084"/>
                <a:gd name="connsiteX321" fmla="*/ 5721 w 10000"/>
                <a:gd name="connsiteY321" fmla="*/ 6348 h 10084"/>
                <a:gd name="connsiteX322" fmla="*/ 5634 w 10000"/>
                <a:gd name="connsiteY322" fmla="*/ 6409 h 10084"/>
                <a:gd name="connsiteX323" fmla="*/ 5558 w 10000"/>
                <a:gd name="connsiteY323" fmla="*/ 6481 h 10084"/>
                <a:gd name="connsiteX324" fmla="*/ 5420 w 10000"/>
                <a:gd name="connsiteY324" fmla="*/ 6644 h 10084"/>
                <a:gd name="connsiteX325" fmla="*/ 5289 w 10000"/>
                <a:gd name="connsiteY325" fmla="*/ 6818 h 10084"/>
                <a:gd name="connsiteX326" fmla="*/ 5220 w 10000"/>
                <a:gd name="connsiteY326" fmla="*/ 6909 h 10084"/>
                <a:gd name="connsiteX327" fmla="*/ 5151 w 10000"/>
                <a:gd name="connsiteY327" fmla="*/ 6987 h 10084"/>
                <a:gd name="connsiteX328" fmla="*/ 5075 w 10000"/>
                <a:gd name="connsiteY328" fmla="*/ 7060 h 10084"/>
                <a:gd name="connsiteX329" fmla="*/ 4994 w 10000"/>
                <a:gd name="connsiteY329" fmla="*/ 7126 h 10084"/>
                <a:gd name="connsiteX330" fmla="*/ 4944 w 10000"/>
                <a:gd name="connsiteY330" fmla="*/ 7156 h 10084"/>
                <a:gd name="connsiteX331" fmla="*/ 4893 w 10000"/>
                <a:gd name="connsiteY331" fmla="*/ 7180 h 10084"/>
                <a:gd name="connsiteX332" fmla="*/ 4849 w 10000"/>
                <a:gd name="connsiteY332" fmla="*/ 7204 h 10084"/>
                <a:gd name="connsiteX333" fmla="*/ 4793 w 10000"/>
                <a:gd name="connsiteY333" fmla="*/ 7229 h 10084"/>
                <a:gd name="connsiteX334" fmla="*/ 4730 w 10000"/>
                <a:gd name="connsiteY334" fmla="*/ 7247 h 10084"/>
                <a:gd name="connsiteX335" fmla="*/ 4674 w 10000"/>
                <a:gd name="connsiteY335" fmla="*/ 7259 h 10084"/>
                <a:gd name="connsiteX336" fmla="*/ 4605 w 10000"/>
                <a:gd name="connsiteY336" fmla="*/ 7265 h 10084"/>
                <a:gd name="connsiteX337" fmla="*/ 4536 w 10000"/>
                <a:gd name="connsiteY337" fmla="*/ 7265 h 10084"/>
                <a:gd name="connsiteX338" fmla="*/ 4536 w 10000"/>
                <a:gd name="connsiteY338" fmla="*/ 7318 h 10084"/>
                <a:gd name="connsiteX339" fmla="*/ 4536 w 10000"/>
                <a:gd name="connsiteY339" fmla="*/ 7372 h 10084"/>
                <a:gd name="connsiteX340" fmla="*/ 4536 w 10000"/>
                <a:gd name="connsiteY340" fmla="*/ 7414 h 10084"/>
                <a:gd name="connsiteX341" fmla="*/ 4536 w 10000"/>
                <a:gd name="connsiteY341" fmla="*/ 7451 h 10084"/>
                <a:gd name="connsiteX342" fmla="*/ 4536 w 10000"/>
                <a:gd name="connsiteY342" fmla="*/ 7517 h 10084"/>
                <a:gd name="connsiteX343" fmla="*/ 4536 w 10000"/>
                <a:gd name="connsiteY343" fmla="*/ 7620 h 10084"/>
                <a:gd name="connsiteX344" fmla="*/ 4536 w 10000"/>
                <a:gd name="connsiteY344" fmla="*/ 7729 h 10084"/>
                <a:gd name="connsiteX345" fmla="*/ 4548 w 10000"/>
                <a:gd name="connsiteY345" fmla="*/ 7842 h 10084"/>
                <a:gd name="connsiteX346" fmla="*/ 4561 w 10000"/>
                <a:gd name="connsiteY346" fmla="*/ 7903 h 10084"/>
                <a:gd name="connsiteX347" fmla="*/ 4573 w 10000"/>
                <a:gd name="connsiteY347" fmla="*/ 7957 h 10084"/>
                <a:gd name="connsiteX348" fmla="*/ 4586 w 10000"/>
                <a:gd name="connsiteY348" fmla="*/ 8005 h 10084"/>
                <a:gd name="connsiteX349" fmla="*/ 4611 w 10000"/>
                <a:gd name="connsiteY349" fmla="*/ 8047 h 10084"/>
                <a:gd name="connsiteX350" fmla="*/ 4636 w 10000"/>
                <a:gd name="connsiteY350" fmla="*/ 8090 h 10084"/>
                <a:gd name="connsiteX351" fmla="*/ 4668 w 10000"/>
                <a:gd name="connsiteY351" fmla="*/ 8120 h 10084"/>
                <a:gd name="connsiteX352" fmla="*/ 4705 w 10000"/>
                <a:gd name="connsiteY352" fmla="*/ 8144 h 10084"/>
                <a:gd name="connsiteX353" fmla="*/ 4749 w 10000"/>
                <a:gd name="connsiteY353" fmla="*/ 8156 h 10084"/>
                <a:gd name="connsiteX354" fmla="*/ 4711 w 10000"/>
                <a:gd name="connsiteY354" fmla="*/ 8252 h 10084"/>
                <a:gd name="connsiteX355" fmla="*/ 4668 w 10000"/>
                <a:gd name="connsiteY355" fmla="*/ 8337 h 10084"/>
                <a:gd name="connsiteX356" fmla="*/ 4617 w 10000"/>
                <a:gd name="connsiteY356" fmla="*/ 8415 h 10084"/>
                <a:gd name="connsiteX357" fmla="*/ 4573 w 10000"/>
                <a:gd name="connsiteY357" fmla="*/ 8487 h 10084"/>
                <a:gd name="connsiteX358" fmla="*/ 4523 w 10000"/>
                <a:gd name="connsiteY358" fmla="*/ 8572 h 10084"/>
                <a:gd name="connsiteX359" fmla="*/ 4492 w 10000"/>
                <a:gd name="connsiteY359" fmla="*/ 8650 h 10084"/>
                <a:gd name="connsiteX360" fmla="*/ 4473 w 10000"/>
                <a:gd name="connsiteY360" fmla="*/ 8686 h 10084"/>
                <a:gd name="connsiteX361" fmla="*/ 4467 w 10000"/>
                <a:gd name="connsiteY361" fmla="*/ 8729 h 10084"/>
                <a:gd name="connsiteX362" fmla="*/ 4460 w 10000"/>
                <a:gd name="connsiteY362" fmla="*/ 8777 h 10084"/>
                <a:gd name="connsiteX363" fmla="*/ 4454 w 10000"/>
                <a:gd name="connsiteY363" fmla="*/ 8819 h 10084"/>
                <a:gd name="connsiteX364" fmla="*/ 4460 w 10000"/>
                <a:gd name="connsiteY364" fmla="*/ 8836 h 10084"/>
                <a:gd name="connsiteX365" fmla="*/ 4467 w 10000"/>
                <a:gd name="connsiteY365" fmla="*/ 8848 h 10084"/>
                <a:gd name="connsiteX366" fmla="*/ 4479 w 10000"/>
                <a:gd name="connsiteY366" fmla="*/ 8860 h 10084"/>
                <a:gd name="connsiteX367" fmla="*/ 4504 w 10000"/>
                <a:gd name="connsiteY367" fmla="*/ 8872 h 10084"/>
                <a:gd name="connsiteX368" fmla="*/ 4542 w 10000"/>
                <a:gd name="connsiteY368" fmla="*/ 8896 h 10084"/>
                <a:gd name="connsiteX369" fmla="*/ 4580 w 10000"/>
                <a:gd name="connsiteY369" fmla="*/ 8902 h 10084"/>
                <a:gd name="connsiteX370" fmla="*/ 4580 w 10000"/>
                <a:gd name="connsiteY370" fmla="*/ 9120 h 10084"/>
                <a:gd name="connsiteX371" fmla="*/ 4529 w 10000"/>
                <a:gd name="connsiteY371" fmla="*/ 9205 h 10084"/>
                <a:gd name="connsiteX372" fmla="*/ 4492 w 10000"/>
                <a:gd name="connsiteY372" fmla="*/ 9295 h 10084"/>
                <a:gd name="connsiteX373" fmla="*/ 4460 w 10000"/>
                <a:gd name="connsiteY373" fmla="*/ 9330 h 10084"/>
                <a:gd name="connsiteX374" fmla="*/ 4429 w 10000"/>
                <a:gd name="connsiteY374" fmla="*/ 9355 h 10084"/>
                <a:gd name="connsiteX375" fmla="*/ 4404 w 10000"/>
                <a:gd name="connsiteY375" fmla="*/ 9367 h 10084"/>
                <a:gd name="connsiteX376" fmla="*/ 4385 w 10000"/>
                <a:gd name="connsiteY376" fmla="*/ 9373 h 10084"/>
                <a:gd name="connsiteX377" fmla="*/ 4360 w 10000"/>
                <a:gd name="connsiteY377" fmla="*/ 9379 h 10084"/>
                <a:gd name="connsiteX378" fmla="*/ 4329 w 10000"/>
                <a:gd name="connsiteY378" fmla="*/ 9379 h 10084"/>
                <a:gd name="connsiteX379" fmla="*/ 4329 w 10000"/>
                <a:gd name="connsiteY379" fmla="*/ 9427 h 10084"/>
                <a:gd name="connsiteX380" fmla="*/ 4335 w 10000"/>
                <a:gd name="connsiteY380" fmla="*/ 9487 h 10084"/>
                <a:gd name="connsiteX381" fmla="*/ 4348 w 10000"/>
                <a:gd name="connsiteY381" fmla="*/ 9517 h 10084"/>
                <a:gd name="connsiteX382" fmla="*/ 4354 w 10000"/>
                <a:gd name="connsiteY382" fmla="*/ 9541 h 10084"/>
                <a:gd name="connsiteX383" fmla="*/ 4360 w 10000"/>
                <a:gd name="connsiteY383" fmla="*/ 9560 h 10084"/>
                <a:gd name="connsiteX384" fmla="*/ 4373 w 10000"/>
                <a:gd name="connsiteY384" fmla="*/ 9566 h 10084"/>
                <a:gd name="connsiteX385" fmla="*/ 4210 w 10000"/>
                <a:gd name="connsiteY385" fmla="*/ 9692 h 10084"/>
                <a:gd name="connsiteX386" fmla="*/ 4072 w 10000"/>
                <a:gd name="connsiteY386" fmla="*/ 9796 h 10084"/>
                <a:gd name="connsiteX387" fmla="*/ 4009 w 10000"/>
                <a:gd name="connsiteY387" fmla="*/ 9855 h 10084"/>
                <a:gd name="connsiteX388" fmla="*/ 3952 w 10000"/>
                <a:gd name="connsiteY388" fmla="*/ 9921 h 10084"/>
                <a:gd name="connsiteX389" fmla="*/ 3890 w 10000"/>
                <a:gd name="connsiteY389" fmla="*/ 10000 h 10084"/>
                <a:gd name="connsiteX390" fmla="*/ 3833 w 10000"/>
                <a:gd name="connsiteY390" fmla="*/ 10084 h 10084"/>
                <a:gd name="connsiteX391" fmla="*/ 3733 w 10000"/>
                <a:gd name="connsiteY391" fmla="*/ 10042 h 10084"/>
                <a:gd name="connsiteX392" fmla="*/ 3664 w 10000"/>
                <a:gd name="connsiteY392" fmla="*/ 10000 h 10084"/>
                <a:gd name="connsiteX393" fmla="*/ 3607 w 10000"/>
                <a:gd name="connsiteY393" fmla="*/ 9957 h 10084"/>
                <a:gd name="connsiteX394" fmla="*/ 3563 w 10000"/>
                <a:gd name="connsiteY394" fmla="*/ 9909 h 10084"/>
                <a:gd name="connsiteX395" fmla="*/ 3532 w 10000"/>
                <a:gd name="connsiteY395" fmla="*/ 9849 h 10084"/>
                <a:gd name="connsiteX396" fmla="*/ 3513 w 10000"/>
                <a:gd name="connsiteY396" fmla="*/ 9790 h 10084"/>
                <a:gd name="connsiteX397" fmla="*/ 3482 w 10000"/>
                <a:gd name="connsiteY397" fmla="*/ 9716 h 10084"/>
                <a:gd name="connsiteX398" fmla="*/ 3457 w 10000"/>
                <a:gd name="connsiteY398" fmla="*/ 9644 h 10084"/>
                <a:gd name="connsiteX399" fmla="*/ 3400 w 10000"/>
                <a:gd name="connsiteY399" fmla="*/ 9505 h 10084"/>
                <a:gd name="connsiteX400" fmla="*/ 3325 w 10000"/>
                <a:gd name="connsiteY400" fmla="*/ 9373 h 10084"/>
                <a:gd name="connsiteX401" fmla="*/ 3237 w 10000"/>
                <a:gd name="connsiteY401" fmla="*/ 9235 h 10084"/>
                <a:gd name="connsiteX402" fmla="*/ 3143 w 10000"/>
                <a:gd name="connsiteY402" fmla="*/ 9090 h 10084"/>
                <a:gd name="connsiteX403" fmla="*/ 3049 w 10000"/>
                <a:gd name="connsiteY403" fmla="*/ 8957 h 10084"/>
                <a:gd name="connsiteX404" fmla="*/ 2967 w 10000"/>
                <a:gd name="connsiteY404" fmla="*/ 8825 h 10084"/>
                <a:gd name="connsiteX405" fmla="*/ 2892 w 10000"/>
                <a:gd name="connsiteY405" fmla="*/ 8705 h 10084"/>
                <a:gd name="connsiteX406" fmla="*/ 2829 w 10000"/>
                <a:gd name="connsiteY406" fmla="*/ 8602 h 10084"/>
                <a:gd name="connsiteX407" fmla="*/ 2773 w 10000"/>
                <a:gd name="connsiteY407" fmla="*/ 8487 h 10084"/>
                <a:gd name="connsiteX408" fmla="*/ 2735 w 10000"/>
                <a:gd name="connsiteY408" fmla="*/ 8385 h 10084"/>
                <a:gd name="connsiteX409" fmla="*/ 2698 w 10000"/>
                <a:gd name="connsiteY409" fmla="*/ 8277 h 10084"/>
                <a:gd name="connsiteX410" fmla="*/ 2666 w 10000"/>
                <a:gd name="connsiteY410" fmla="*/ 8168 h 10084"/>
                <a:gd name="connsiteX411" fmla="*/ 2629 w 10000"/>
                <a:gd name="connsiteY411" fmla="*/ 8059 h 10084"/>
                <a:gd name="connsiteX412" fmla="*/ 2597 w 10000"/>
                <a:gd name="connsiteY412" fmla="*/ 7951 h 10084"/>
                <a:gd name="connsiteX413" fmla="*/ 2553 w 10000"/>
                <a:gd name="connsiteY413" fmla="*/ 7830 h 10084"/>
                <a:gd name="connsiteX414" fmla="*/ 2497 w 10000"/>
                <a:gd name="connsiteY414" fmla="*/ 7711 h 10084"/>
                <a:gd name="connsiteX415" fmla="*/ 2359 w 10000"/>
                <a:gd name="connsiteY415" fmla="*/ 7517 h 10084"/>
                <a:gd name="connsiteX416" fmla="*/ 2208 w 10000"/>
                <a:gd name="connsiteY416" fmla="*/ 7336 h 10084"/>
                <a:gd name="connsiteX417" fmla="*/ 2139 w 10000"/>
                <a:gd name="connsiteY417" fmla="*/ 7253 h 10084"/>
                <a:gd name="connsiteX418" fmla="*/ 2070 w 10000"/>
                <a:gd name="connsiteY418" fmla="*/ 7156 h 10084"/>
                <a:gd name="connsiteX419" fmla="*/ 2008 w 10000"/>
                <a:gd name="connsiteY419" fmla="*/ 7066 h 10084"/>
                <a:gd name="connsiteX420" fmla="*/ 1957 w 10000"/>
                <a:gd name="connsiteY420" fmla="*/ 6969 h 10084"/>
                <a:gd name="connsiteX421" fmla="*/ 1888 w 10000"/>
                <a:gd name="connsiteY421" fmla="*/ 6734 h 10084"/>
                <a:gd name="connsiteX422" fmla="*/ 1832 w 10000"/>
                <a:gd name="connsiteY422" fmla="*/ 6517 h 10084"/>
                <a:gd name="connsiteX423" fmla="*/ 1782 w 10000"/>
                <a:gd name="connsiteY423" fmla="*/ 6307 h 10084"/>
                <a:gd name="connsiteX424" fmla="*/ 1757 w 10000"/>
                <a:gd name="connsiteY424" fmla="*/ 6095 h 10084"/>
                <a:gd name="connsiteX425" fmla="*/ 1725 w 10000"/>
                <a:gd name="connsiteY425" fmla="*/ 5890 h 10084"/>
                <a:gd name="connsiteX426" fmla="*/ 1713 w 10000"/>
                <a:gd name="connsiteY426" fmla="*/ 5674 h 10084"/>
                <a:gd name="connsiteX427" fmla="*/ 1706 w 10000"/>
                <a:gd name="connsiteY427" fmla="*/ 5451 h 10084"/>
                <a:gd name="connsiteX428" fmla="*/ 1706 w 10000"/>
                <a:gd name="connsiteY428" fmla="*/ 5228 h 10084"/>
                <a:gd name="connsiteX429" fmla="*/ 1681 w 10000"/>
                <a:gd name="connsiteY429" fmla="*/ 5222 h 10084"/>
                <a:gd name="connsiteX430" fmla="*/ 1650 w 10000"/>
                <a:gd name="connsiteY430" fmla="*/ 5216 h 10084"/>
                <a:gd name="connsiteX431" fmla="*/ 1625 w 10000"/>
                <a:gd name="connsiteY431" fmla="*/ 5210 h 10084"/>
                <a:gd name="connsiteX432" fmla="*/ 1606 w 10000"/>
                <a:gd name="connsiteY432" fmla="*/ 5186 h 10084"/>
                <a:gd name="connsiteX433" fmla="*/ 1581 w 10000"/>
                <a:gd name="connsiteY433" fmla="*/ 5174 h 10084"/>
                <a:gd name="connsiteX434" fmla="*/ 1568 w 10000"/>
                <a:gd name="connsiteY434" fmla="*/ 5156 h 10084"/>
                <a:gd name="connsiteX435" fmla="*/ 1550 w 10000"/>
                <a:gd name="connsiteY435" fmla="*/ 5132 h 10084"/>
                <a:gd name="connsiteX436" fmla="*/ 1543 w 10000"/>
                <a:gd name="connsiteY436" fmla="*/ 5108 h 10084"/>
                <a:gd name="connsiteX437" fmla="*/ 1518 w 10000"/>
                <a:gd name="connsiteY437" fmla="*/ 5059 h 10084"/>
                <a:gd name="connsiteX438" fmla="*/ 1506 w 10000"/>
                <a:gd name="connsiteY438" fmla="*/ 5005 h 10084"/>
                <a:gd name="connsiteX439" fmla="*/ 1499 w 10000"/>
                <a:gd name="connsiteY439" fmla="*/ 4945 h 10084"/>
                <a:gd name="connsiteX440" fmla="*/ 1499 w 10000"/>
                <a:gd name="connsiteY440" fmla="*/ 4891 h 10084"/>
                <a:gd name="connsiteX441" fmla="*/ 1443 w 10000"/>
                <a:gd name="connsiteY441" fmla="*/ 4927 h 10084"/>
                <a:gd name="connsiteX442" fmla="*/ 1405 w 10000"/>
                <a:gd name="connsiteY442" fmla="*/ 4969 h 10084"/>
                <a:gd name="connsiteX443" fmla="*/ 1361 w 10000"/>
                <a:gd name="connsiteY443" fmla="*/ 5011 h 10084"/>
                <a:gd name="connsiteX444" fmla="*/ 1317 w 10000"/>
                <a:gd name="connsiteY444" fmla="*/ 5059 h 10084"/>
                <a:gd name="connsiteX445" fmla="*/ 1261 w 10000"/>
                <a:gd name="connsiteY445" fmla="*/ 5156 h 10084"/>
                <a:gd name="connsiteX446" fmla="*/ 1205 w 10000"/>
                <a:gd name="connsiteY446" fmla="*/ 5258 h 10084"/>
                <a:gd name="connsiteX447" fmla="*/ 1167 w 10000"/>
                <a:gd name="connsiteY447" fmla="*/ 5301 h 10084"/>
                <a:gd name="connsiteX448" fmla="*/ 1142 w 10000"/>
                <a:gd name="connsiteY448" fmla="*/ 5342 h 10084"/>
                <a:gd name="connsiteX449" fmla="*/ 1104 w 10000"/>
                <a:gd name="connsiteY449" fmla="*/ 5384 h 10084"/>
                <a:gd name="connsiteX450" fmla="*/ 1073 w 10000"/>
                <a:gd name="connsiteY450" fmla="*/ 5414 h 10084"/>
                <a:gd name="connsiteX451" fmla="*/ 1029 w 10000"/>
                <a:gd name="connsiteY451" fmla="*/ 5445 h 10084"/>
                <a:gd name="connsiteX452" fmla="*/ 985 w 10000"/>
                <a:gd name="connsiteY452" fmla="*/ 5463 h 10084"/>
                <a:gd name="connsiteX453" fmla="*/ 928 w 10000"/>
                <a:gd name="connsiteY453" fmla="*/ 5475 h 10084"/>
                <a:gd name="connsiteX454" fmla="*/ 872 w 10000"/>
                <a:gd name="connsiteY454" fmla="*/ 5481 h 10084"/>
                <a:gd name="connsiteX455" fmla="*/ 841 w 10000"/>
                <a:gd name="connsiteY455" fmla="*/ 5475 h 10084"/>
                <a:gd name="connsiteX456" fmla="*/ 797 w 10000"/>
                <a:gd name="connsiteY456" fmla="*/ 5463 h 10084"/>
                <a:gd name="connsiteX457" fmla="*/ 753 w 10000"/>
                <a:gd name="connsiteY457" fmla="*/ 5445 h 10084"/>
                <a:gd name="connsiteX458" fmla="*/ 709 w 10000"/>
                <a:gd name="connsiteY458" fmla="*/ 5414 h 10084"/>
                <a:gd name="connsiteX459" fmla="*/ 659 w 10000"/>
                <a:gd name="connsiteY459" fmla="*/ 5378 h 10084"/>
                <a:gd name="connsiteX460" fmla="*/ 609 w 10000"/>
                <a:gd name="connsiteY460" fmla="*/ 5342 h 10084"/>
                <a:gd name="connsiteX461" fmla="*/ 565 w 10000"/>
                <a:gd name="connsiteY461" fmla="*/ 5301 h 10084"/>
                <a:gd name="connsiteX462" fmla="*/ 514 w 10000"/>
                <a:gd name="connsiteY462" fmla="*/ 5252 h 10084"/>
                <a:gd name="connsiteX463" fmla="*/ 471 w 10000"/>
                <a:gd name="connsiteY463" fmla="*/ 5204 h 10084"/>
                <a:gd name="connsiteX464" fmla="*/ 433 w 10000"/>
                <a:gd name="connsiteY464" fmla="*/ 5150 h 10084"/>
                <a:gd name="connsiteX465" fmla="*/ 389 w 10000"/>
                <a:gd name="connsiteY465" fmla="*/ 5096 h 10084"/>
                <a:gd name="connsiteX466" fmla="*/ 358 w 10000"/>
                <a:gd name="connsiteY466" fmla="*/ 5041 h 10084"/>
                <a:gd name="connsiteX467" fmla="*/ 326 w 10000"/>
                <a:gd name="connsiteY467" fmla="*/ 4993 h 10084"/>
                <a:gd name="connsiteX468" fmla="*/ 307 w 10000"/>
                <a:gd name="connsiteY468" fmla="*/ 4945 h 10084"/>
                <a:gd name="connsiteX469" fmla="*/ 295 w 10000"/>
                <a:gd name="connsiteY469" fmla="*/ 4897 h 10084"/>
                <a:gd name="connsiteX470" fmla="*/ 289 w 10000"/>
                <a:gd name="connsiteY470" fmla="*/ 4848 h 10084"/>
                <a:gd name="connsiteX471" fmla="*/ 320 w 10000"/>
                <a:gd name="connsiteY471" fmla="*/ 4830 h 10084"/>
                <a:gd name="connsiteX472" fmla="*/ 395 w 10000"/>
                <a:gd name="connsiteY472" fmla="*/ 4795 h 10084"/>
                <a:gd name="connsiteX473" fmla="*/ 483 w 10000"/>
                <a:gd name="connsiteY473" fmla="*/ 4759 h 10084"/>
                <a:gd name="connsiteX474" fmla="*/ 533 w 10000"/>
                <a:gd name="connsiteY474" fmla="*/ 4741 h 10084"/>
                <a:gd name="connsiteX475" fmla="*/ 483 w 10000"/>
                <a:gd name="connsiteY475" fmla="*/ 4741 h 10084"/>
                <a:gd name="connsiteX476" fmla="*/ 420 w 10000"/>
                <a:gd name="connsiteY476" fmla="*/ 4735 h 10084"/>
                <a:gd name="connsiteX477" fmla="*/ 370 w 10000"/>
                <a:gd name="connsiteY477" fmla="*/ 4723 h 10084"/>
                <a:gd name="connsiteX478" fmla="*/ 320 w 10000"/>
                <a:gd name="connsiteY478" fmla="*/ 4717 h 10084"/>
                <a:gd name="connsiteX479" fmla="*/ 276 w 10000"/>
                <a:gd name="connsiteY479" fmla="*/ 4698 h 10084"/>
                <a:gd name="connsiteX480" fmla="*/ 232 w 10000"/>
                <a:gd name="connsiteY480" fmla="*/ 4686 h 10084"/>
                <a:gd name="connsiteX481" fmla="*/ 188 w 10000"/>
                <a:gd name="connsiteY481" fmla="*/ 4668 h 10084"/>
                <a:gd name="connsiteX482" fmla="*/ 157 w 10000"/>
                <a:gd name="connsiteY482" fmla="*/ 4643 h 10084"/>
                <a:gd name="connsiteX483" fmla="*/ 132 w 10000"/>
                <a:gd name="connsiteY483" fmla="*/ 4619 h 10084"/>
                <a:gd name="connsiteX484" fmla="*/ 100 w 10000"/>
                <a:gd name="connsiteY484" fmla="*/ 4595 h 10084"/>
                <a:gd name="connsiteX485" fmla="*/ 75 w 10000"/>
                <a:gd name="connsiteY485" fmla="*/ 4565 h 10084"/>
                <a:gd name="connsiteX486" fmla="*/ 50 w 10000"/>
                <a:gd name="connsiteY486" fmla="*/ 4541 h 10084"/>
                <a:gd name="connsiteX487" fmla="*/ 19 w 10000"/>
                <a:gd name="connsiteY487" fmla="*/ 4469 h 10084"/>
                <a:gd name="connsiteX488" fmla="*/ 0 w 10000"/>
                <a:gd name="connsiteY488" fmla="*/ 4402 h 10084"/>
                <a:gd name="connsiteX489" fmla="*/ 63 w 10000"/>
                <a:gd name="connsiteY489" fmla="*/ 4354 h 10084"/>
                <a:gd name="connsiteX490" fmla="*/ 132 w 10000"/>
                <a:gd name="connsiteY490" fmla="*/ 4318 h 10084"/>
                <a:gd name="connsiteX491" fmla="*/ 201 w 10000"/>
                <a:gd name="connsiteY491" fmla="*/ 4289 h 10084"/>
                <a:gd name="connsiteX492" fmla="*/ 276 w 10000"/>
                <a:gd name="connsiteY492" fmla="*/ 4265 h 10084"/>
                <a:gd name="connsiteX493" fmla="*/ 420 w 10000"/>
                <a:gd name="connsiteY493" fmla="*/ 4235 h 10084"/>
                <a:gd name="connsiteX494" fmla="*/ 565 w 10000"/>
                <a:gd name="connsiteY494" fmla="*/ 4210 h 10084"/>
                <a:gd name="connsiteX495" fmla="*/ 640 w 10000"/>
                <a:gd name="connsiteY495" fmla="*/ 4198 h 10084"/>
                <a:gd name="connsiteX496" fmla="*/ 709 w 10000"/>
                <a:gd name="connsiteY496" fmla="*/ 4174 h 10084"/>
                <a:gd name="connsiteX497" fmla="*/ 772 w 10000"/>
                <a:gd name="connsiteY497" fmla="*/ 4156 h 10084"/>
                <a:gd name="connsiteX498" fmla="*/ 834 w 10000"/>
                <a:gd name="connsiteY498" fmla="*/ 4126 h 10084"/>
                <a:gd name="connsiteX499" fmla="*/ 891 w 10000"/>
                <a:gd name="connsiteY499" fmla="*/ 4096 h 10084"/>
                <a:gd name="connsiteX500" fmla="*/ 947 w 10000"/>
                <a:gd name="connsiteY500" fmla="*/ 4048 h 10084"/>
                <a:gd name="connsiteX501" fmla="*/ 997 w 10000"/>
                <a:gd name="connsiteY501" fmla="*/ 3993 h 10084"/>
                <a:gd name="connsiteX502" fmla="*/ 1035 w 10000"/>
                <a:gd name="connsiteY502" fmla="*/ 3926 h 10084"/>
                <a:gd name="connsiteX503" fmla="*/ 1010 w 10000"/>
                <a:gd name="connsiteY503" fmla="*/ 3914 h 10084"/>
                <a:gd name="connsiteX504" fmla="*/ 985 w 10000"/>
                <a:gd name="connsiteY504" fmla="*/ 3896 h 10084"/>
                <a:gd name="connsiteX505" fmla="*/ 947 w 10000"/>
                <a:gd name="connsiteY505" fmla="*/ 3872 h 10084"/>
                <a:gd name="connsiteX506" fmla="*/ 910 w 10000"/>
                <a:gd name="connsiteY506" fmla="*/ 3836 h 10084"/>
                <a:gd name="connsiteX507" fmla="*/ 822 w 10000"/>
                <a:gd name="connsiteY507" fmla="*/ 3764 h 10084"/>
                <a:gd name="connsiteX508" fmla="*/ 740 w 10000"/>
                <a:gd name="connsiteY508" fmla="*/ 3680 h 10084"/>
                <a:gd name="connsiteX509" fmla="*/ 665 w 10000"/>
                <a:gd name="connsiteY509" fmla="*/ 3589 h 10084"/>
                <a:gd name="connsiteX510" fmla="*/ 596 w 10000"/>
                <a:gd name="connsiteY510" fmla="*/ 3493 h 10084"/>
                <a:gd name="connsiteX511" fmla="*/ 577 w 10000"/>
                <a:gd name="connsiteY511" fmla="*/ 3451 h 10084"/>
                <a:gd name="connsiteX512" fmla="*/ 558 w 10000"/>
                <a:gd name="connsiteY512" fmla="*/ 3409 h 10084"/>
                <a:gd name="connsiteX513" fmla="*/ 540 w 10000"/>
                <a:gd name="connsiteY513" fmla="*/ 3366 h 10084"/>
                <a:gd name="connsiteX514" fmla="*/ 533 w 10000"/>
                <a:gd name="connsiteY514" fmla="*/ 3330 h 10084"/>
                <a:gd name="connsiteX515" fmla="*/ 508 w 10000"/>
                <a:gd name="connsiteY515" fmla="*/ 3324 h 10084"/>
                <a:gd name="connsiteX516" fmla="*/ 483 w 10000"/>
                <a:gd name="connsiteY516" fmla="*/ 3318 h 10084"/>
                <a:gd name="connsiteX517" fmla="*/ 458 w 10000"/>
                <a:gd name="connsiteY517" fmla="*/ 3306 h 10084"/>
                <a:gd name="connsiteX518" fmla="*/ 439 w 10000"/>
                <a:gd name="connsiteY518" fmla="*/ 3283 h 10084"/>
                <a:gd name="connsiteX519" fmla="*/ 402 w 10000"/>
                <a:gd name="connsiteY519" fmla="*/ 3240 h 10084"/>
                <a:gd name="connsiteX520" fmla="*/ 370 w 10000"/>
                <a:gd name="connsiteY520" fmla="*/ 3180 h 10084"/>
                <a:gd name="connsiteX521" fmla="*/ 370 w 10000"/>
                <a:gd name="connsiteY521" fmla="*/ 3035 h 10084"/>
                <a:gd name="connsiteX522" fmla="*/ 458 w 10000"/>
                <a:gd name="connsiteY522" fmla="*/ 3029 h 10084"/>
                <a:gd name="connsiteX523" fmla="*/ 540 w 10000"/>
                <a:gd name="connsiteY523" fmla="*/ 3023 h 10084"/>
                <a:gd name="connsiteX524" fmla="*/ 615 w 10000"/>
                <a:gd name="connsiteY524" fmla="*/ 3011 h 10084"/>
                <a:gd name="connsiteX525" fmla="*/ 684 w 10000"/>
                <a:gd name="connsiteY525" fmla="*/ 2987 h 10084"/>
                <a:gd name="connsiteX526" fmla="*/ 747 w 10000"/>
                <a:gd name="connsiteY526" fmla="*/ 2969 h 10084"/>
                <a:gd name="connsiteX527" fmla="*/ 809 w 10000"/>
                <a:gd name="connsiteY527" fmla="*/ 2938 h 10084"/>
                <a:gd name="connsiteX528" fmla="*/ 866 w 10000"/>
                <a:gd name="connsiteY528" fmla="*/ 2908 h 10084"/>
                <a:gd name="connsiteX529" fmla="*/ 922 w 10000"/>
                <a:gd name="connsiteY529" fmla="*/ 2872 h 10084"/>
                <a:gd name="connsiteX530" fmla="*/ 966 w 10000"/>
                <a:gd name="connsiteY530" fmla="*/ 2830 h 10084"/>
                <a:gd name="connsiteX531" fmla="*/ 1016 w 10000"/>
                <a:gd name="connsiteY531" fmla="*/ 2789 h 10084"/>
                <a:gd name="connsiteX532" fmla="*/ 1060 w 10000"/>
                <a:gd name="connsiteY532" fmla="*/ 2747 h 10084"/>
                <a:gd name="connsiteX533" fmla="*/ 1098 w 10000"/>
                <a:gd name="connsiteY533" fmla="*/ 2698 h 10084"/>
                <a:gd name="connsiteX534" fmla="*/ 1167 w 10000"/>
                <a:gd name="connsiteY534" fmla="*/ 2602 h 10084"/>
                <a:gd name="connsiteX535" fmla="*/ 1236 w 10000"/>
                <a:gd name="connsiteY535" fmla="*/ 2492 h 10084"/>
                <a:gd name="connsiteX536" fmla="*/ 1355 w 10000"/>
                <a:gd name="connsiteY536" fmla="*/ 2276 h 10084"/>
                <a:gd name="connsiteX537" fmla="*/ 1474 w 10000"/>
                <a:gd name="connsiteY537" fmla="*/ 2059 h 10084"/>
                <a:gd name="connsiteX538" fmla="*/ 1543 w 10000"/>
                <a:gd name="connsiteY538" fmla="*/ 1963 h 10084"/>
                <a:gd name="connsiteX539" fmla="*/ 1612 w 10000"/>
                <a:gd name="connsiteY539" fmla="*/ 1878 h 10084"/>
                <a:gd name="connsiteX540" fmla="*/ 1650 w 10000"/>
                <a:gd name="connsiteY540" fmla="*/ 1829 h 10084"/>
                <a:gd name="connsiteX541" fmla="*/ 1694 w 10000"/>
                <a:gd name="connsiteY541" fmla="*/ 1793 h 10084"/>
                <a:gd name="connsiteX542" fmla="*/ 1738 w 10000"/>
                <a:gd name="connsiteY542" fmla="*/ 1764 h 10084"/>
                <a:gd name="connsiteX543" fmla="*/ 1788 w 10000"/>
                <a:gd name="connsiteY543" fmla="*/ 1734 h 10084"/>
                <a:gd name="connsiteX544" fmla="*/ 1750 w 10000"/>
                <a:gd name="connsiteY544" fmla="*/ 1661 h 10084"/>
                <a:gd name="connsiteX545" fmla="*/ 1719 w 10000"/>
                <a:gd name="connsiteY545" fmla="*/ 1595 h 10084"/>
                <a:gd name="connsiteX546" fmla="*/ 1713 w 10000"/>
                <a:gd name="connsiteY546" fmla="*/ 1565 h 10084"/>
                <a:gd name="connsiteX547" fmla="*/ 1706 w 10000"/>
                <a:gd name="connsiteY547" fmla="*/ 1535 h 10084"/>
                <a:gd name="connsiteX548" fmla="*/ 1706 w 10000"/>
                <a:gd name="connsiteY548" fmla="*/ 1499 h 10084"/>
                <a:gd name="connsiteX549" fmla="*/ 1706 w 10000"/>
                <a:gd name="connsiteY549" fmla="*/ 1469 h 10084"/>
                <a:gd name="connsiteX550" fmla="*/ 1713 w 10000"/>
                <a:gd name="connsiteY550" fmla="*/ 1438 h 10084"/>
                <a:gd name="connsiteX551" fmla="*/ 1719 w 10000"/>
                <a:gd name="connsiteY551" fmla="*/ 1408 h 10084"/>
                <a:gd name="connsiteX552" fmla="*/ 1731 w 10000"/>
                <a:gd name="connsiteY552" fmla="*/ 1384 h 10084"/>
                <a:gd name="connsiteX553" fmla="*/ 1757 w 10000"/>
                <a:gd name="connsiteY553" fmla="*/ 1360 h 10084"/>
                <a:gd name="connsiteX554" fmla="*/ 1775 w 10000"/>
                <a:gd name="connsiteY554" fmla="*/ 1342 h 10084"/>
                <a:gd name="connsiteX555" fmla="*/ 1801 w 10000"/>
                <a:gd name="connsiteY555" fmla="*/ 1324 h 10084"/>
                <a:gd name="connsiteX556" fmla="*/ 1838 w 10000"/>
                <a:gd name="connsiteY556" fmla="*/ 1306 h 10084"/>
                <a:gd name="connsiteX557" fmla="*/ 1870 w 10000"/>
                <a:gd name="connsiteY557" fmla="*/ 1288 h 10084"/>
                <a:gd name="connsiteX558" fmla="*/ 1688 w 10000"/>
                <a:gd name="connsiteY558" fmla="*/ 1126 h 10084"/>
                <a:gd name="connsiteX559" fmla="*/ 1550 w 10000"/>
                <a:gd name="connsiteY559" fmla="*/ 1004 h 10084"/>
                <a:gd name="connsiteX560" fmla="*/ 1487 w 10000"/>
                <a:gd name="connsiteY560" fmla="*/ 944 h 10084"/>
                <a:gd name="connsiteX561" fmla="*/ 1424 w 10000"/>
                <a:gd name="connsiteY561" fmla="*/ 878 h 10084"/>
                <a:gd name="connsiteX562" fmla="*/ 1361 w 10000"/>
                <a:gd name="connsiteY562" fmla="*/ 793 h 10084"/>
                <a:gd name="connsiteX563" fmla="*/ 1286 w 10000"/>
                <a:gd name="connsiteY563" fmla="*/ 692 h 10084"/>
                <a:gd name="connsiteX564" fmla="*/ 1286 w 10000"/>
                <a:gd name="connsiteY564" fmla="*/ 433 h 10084"/>
                <a:gd name="connsiteX565" fmla="*/ 1437 w 10000"/>
                <a:gd name="connsiteY565" fmla="*/ 433 h 10084"/>
                <a:gd name="connsiteX566" fmla="*/ 1606 w 10000"/>
                <a:gd name="connsiteY566" fmla="*/ 421 h 10084"/>
                <a:gd name="connsiteX567" fmla="*/ 1694 w 10000"/>
                <a:gd name="connsiteY567" fmla="*/ 415 h 10084"/>
                <a:gd name="connsiteX568" fmla="*/ 1539 w 10000"/>
                <a:gd name="connsiteY568" fmla="*/ 324 h 10084"/>
                <a:gd name="connsiteX569" fmla="*/ 1497 w 10000"/>
                <a:gd name="connsiteY569" fmla="*/ 247 h 10084"/>
                <a:gd name="connsiteX570" fmla="*/ 1531 w 10000"/>
                <a:gd name="connsiteY570" fmla="*/ 100 h 10084"/>
                <a:gd name="connsiteX571" fmla="*/ 1678 w 10000"/>
                <a:gd name="connsiteY571" fmla="*/ 10 h 10084"/>
                <a:gd name="connsiteX572" fmla="*/ 1761 w 10000"/>
                <a:gd name="connsiteY572" fmla="*/ 0 h 10084"/>
                <a:gd name="connsiteX573" fmla="*/ 1925 w 10000"/>
                <a:gd name="connsiteY573" fmla="*/ 15 h 10084"/>
                <a:gd name="connsiteX574" fmla="*/ 2151 w 10000"/>
                <a:gd name="connsiteY574" fmla="*/ 52 h 10084"/>
                <a:gd name="connsiteX575" fmla="*/ 2280 w 10000"/>
                <a:gd name="connsiteY575" fmla="*/ 81 h 10084"/>
                <a:gd name="connsiteX576" fmla="*/ 2385 w 10000"/>
                <a:gd name="connsiteY576" fmla="*/ 89 h 10084"/>
                <a:gd name="connsiteX577" fmla="*/ 2444 w 10000"/>
                <a:gd name="connsiteY577" fmla="*/ 118 h 10084"/>
                <a:gd name="connsiteX578" fmla="*/ 2415 w 10000"/>
                <a:gd name="connsiteY578" fmla="*/ 159 h 10084"/>
                <a:gd name="connsiteX0" fmla="*/ 2690 w 10000"/>
                <a:gd name="connsiteY0" fmla="*/ 150 h 10075"/>
                <a:gd name="connsiteX1" fmla="*/ 2509 w 10000"/>
                <a:gd name="connsiteY1" fmla="*/ 110 h 10075"/>
                <a:gd name="connsiteX2" fmla="*/ 2818 w 10000"/>
                <a:gd name="connsiteY2" fmla="*/ 76 h 10075"/>
                <a:gd name="connsiteX3" fmla="*/ 2776 w 10000"/>
                <a:gd name="connsiteY3" fmla="*/ 158 h 10075"/>
                <a:gd name="connsiteX4" fmla="*/ 2851 w 10000"/>
                <a:gd name="connsiteY4" fmla="*/ 111 h 10075"/>
                <a:gd name="connsiteX5" fmla="*/ 2880 w 10000"/>
                <a:gd name="connsiteY5" fmla="*/ 64 h 10075"/>
                <a:gd name="connsiteX6" fmla="*/ 3155 w 10000"/>
                <a:gd name="connsiteY6" fmla="*/ 141 h 10075"/>
                <a:gd name="connsiteX7" fmla="*/ 3162 w 10000"/>
                <a:gd name="connsiteY7" fmla="*/ 295 h 10075"/>
                <a:gd name="connsiteX8" fmla="*/ 3120 w 10000"/>
                <a:gd name="connsiteY8" fmla="*/ 420 h 10075"/>
                <a:gd name="connsiteX9" fmla="*/ 3152 w 10000"/>
                <a:gd name="connsiteY9" fmla="*/ 483 h 10075"/>
                <a:gd name="connsiteX10" fmla="*/ 3093 w 10000"/>
                <a:gd name="connsiteY10" fmla="*/ 568 h 10075"/>
                <a:gd name="connsiteX11" fmla="*/ 2992 w 10000"/>
                <a:gd name="connsiteY11" fmla="*/ 659 h 10075"/>
                <a:gd name="connsiteX12" fmla="*/ 3043 w 10000"/>
                <a:gd name="connsiteY12" fmla="*/ 683 h 10075"/>
                <a:gd name="connsiteX13" fmla="*/ 3087 w 10000"/>
                <a:gd name="connsiteY13" fmla="*/ 725 h 10075"/>
                <a:gd name="connsiteX14" fmla="*/ 3130 w 10000"/>
                <a:gd name="connsiteY14" fmla="*/ 772 h 10075"/>
                <a:gd name="connsiteX15" fmla="*/ 3174 w 10000"/>
                <a:gd name="connsiteY15" fmla="*/ 821 h 10075"/>
                <a:gd name="connsiteX16" fmla="*/ 3212 w 10000"/>
                <a:gd name="connsiteY16" fmla="*/ 881 h 10075"/>
                <a:gd name="connsiteX17" fmla="*/ 3256 w 10000"/>
                <a:gd name="connsiteY17" fmla="*/ 935 h 10075"/>
                <a:gd name="connsiteX18" fmla="*/ 3281 w 10000"/>
                <a:gd name="connsiteY18" fmla="*/ 995 h 10075"/>
                <a:gd name="connsiteX19" fmla="*/ 3312 w 10000"/>
                <a:gd name="connsiteY19" fmla="*/ 1062 h 10075"/>
                <a:gd name="connsiteX20" fmla="*/ 3331 w 10000"/>
                <a:gd name="connsiteY20" fmla="*/ 1129 h 10075"/>
                <a:gd name="connsiteX21" fmla="*/ 3043 w 10000"/>
                <a:gd name="connsiteY21" fmla="*/ 1129 h 10075"/>
                <a:gd name="connsiteX22" fmla="*/ 3043 w 10000"/>
                <a:gd name="connsiteY22" fmla="*/ 1315 h 10075"/>
                <a:gd name="connsiteX23" fmla="*/ 3074 w 10000"/>
                <a:gd name="connsiteY23" fmla="*/ 1393 h 10075"/>
                <a:gd name="connsiteX24" fmla="*/ 3118 w 10000"/>
                <a:gd name="connsiteY24" fmla="*/ 1460 h 10075"/>
                <a:gd name="connsiteX25" fmla="*/ 3168 w 10000"/>
                <a:gd name="connsiteY25" fmla="*/ 1520 h 10075"/>
                <a:gd name="connsiteX26" fmla="*/ 3225 w 10000"/>
                <a:gd name="connsiteY26" fmla="*/ 1562 h 10075"/>
                <a:gd name="connsiteX27" fmla="*/ 3281 w 10000"/>
                <a:gd name="connsiteY27" fmla="*/ 1604 h 10075"/>
                <a:gd name="connsiteX28" fmla="*/ 3350 w 10000"/>
                <a:gd name="connsiteY28" fmla="*/ 1634 h 10075"/>
                <a:gd name="connsiteX29" fmla="*/ 3413 w 10000"/>
                <a:gd name="connsiteY29" fmla="*/ 1664 h 10075"/>
                <a:gd name="connsiteX30" fmla="*/ 3488 w 10000"/>
                <a:gd name="connsiteY30" fmla="*/ 1689 h 10075"/>
                <a:gd name="connsiteX31" fmla="*/ 3626 w 10000"/>
                <a:gd name="connsiteY31" fmla="*/ 1743 h 10075"/>
                <a:gd name="connsiteX32" fmla="*/ 3764 w 10000"/>
                <a:gd name="connsiteY32" fmla="*/ 1796 h 10075"/>
                <a:gd name="connsiteX33" fmla="*/ 3827 w 10000"/>
                <a:gd name="connsiteY33" fmla="*/ 1833 h 10075"/>
                <a:gd name="connsiteX34" fmla="*/ 3890 w 10000"/>
                <a:gd name="connsiteY34" fmla="*/ 1881 h 10075"/>
                <a:gd name="connsiteX35" fmla="*/ 3946 w 10000"/>
                <a:gd name="connsiteY35" fmla="*/ 1930 h 10075"/>
                <a:gd name="connsiteX36" fmla="*/ 4003 w 10000"/>
                <a:gd name="connsiteY36" fmla="*/ 1984 h 10075"/>
                <a:gd name="connsiteX37" fmla="*/ 3959 w 10000"/>
                <a:gd name="connsiteY37" fmla="*/ 2545 h 10075"/>
                <a:gd name="connsiteX38" fmla="*/ 4034 w 10000"/>
                <a:gd name="connsiteY38" fmla="*/ 2599 h 10075"/>
                <a:gd name="connsiteX39" fmla="*/ 4141 w 10000"/>
                <a:gd name="connsiteY39" fmla="*/ 2665 h 10075"/>
                <a:gd name="connsiteX40" fmla="*/ 4260 w 10000"/>
                <a:gd name="connsiteY40" fmla="*/ 2725 h 10075"/>
                <a:gd name="connsiteX41" fmla="*/ 4398 w 10000"/>
                <a:gd name="connsiteY41" fmla="*/ 2780 h 10075"/>
                <a:gd name="connsiteX42" fmla="*/ 4536 w 10000"/>
                <a:gd name="connsiteY42" fmla="*/ 2833 h 10075"/>
                <a:gd name="connsiteX43" fmla="*/ 4668 w 10000"/>
                <a:gd name="connsiteY43" fmla="*/ 2875 h 10075"/>
                <a:gd name="connsiteX44" fmla="*/ 4724 w 10000"/>
                <a:gd name="connsiteY44" fmla="*/ 2893 h 10075"/>
                <a:gd name="connsiteX45" fmla="*/ 4780 w 10000"/>
                <a:gd name="connsiteY45" fmla="*/ 2905 h 10075"/>
                <a:gd name="connsiteX46" fmla="*/ 4831 w 10000"/>
                <a:gd name="connsiteY46" fmla="*/ 2911 h 10075"/>
                <a:gd name="connsiteX47" fmla="*/ 4875 w 10000"/>
                <a:gd name="connsiteY47" fmla="*/ 2911 h 10075"/>
                <a:gd name="connsiteX48" fmla="*/ 4887 w 10000"/>
                <a:gd name="connsiteY48" fmla="*/ 2954 h 10075"/>
                <a:gd name="connsiteX49" fmla="*/ 4918 w 10000"/>
                <a:gd name="connsiteY49" fmla="*/ 2990 h 10075"/>
                <a:gd name="connsiteX50" fmla="*/ 4950 w 10000"/>
                <a:gd name="connsiteY50" fmla="*/ 3008 h 10075"/>
                <a:gd name="connsiteX51" fmla="*/ 4987 w 10000"/>
                <a:gd name="connsiteY51" fmla="*/ 3020 h 10075"/>
                <a:gd name="connsiteX52" fmla="*/ 5019 w 10000"/>
                <a:gd name="connsiteY52" fmla="*/ 3032 h 10075"/>
                <a:gd name="connsiteX53" fmla="*/ 5063 w 10000"/>
                <a:gd name="connsiteY53" fmla="*/ 3032 h 10075"/>
                <a:gd name="connsiteX54" fmla="*/ 5107 w 10000"/>
                <a:gd name="connsiteY54" fmla="*/ 3026 h 10075"/>
                <a:gd name="connsiteX55" fmla="*/ 5157 w 10000"/>
                <a:gd name="connsiteY55" fmla="*/ 3020 h 10075"/>
                <a:gd name="connsiteX56" fmla="*/ 5245 w 10000"/>
                <a:gd name="connsiteY56" fmla="*/ 3002 h 10075"/>
                <a:gd name="connsiteX57" fmla="*/ 5345 w 10000"/>
                <a:gd name="connsiteY57" fmla="*/ 2978 h 10075"/>
                <a:gd name="connsiteX58" fmla="*/ 5383 w 10000"/>
                <a:gd name="connsiteY58" fmla="*/ 2978 h 10075"/>
                <a:gd name="connsiteX59" fmla="*/ 5427 w 10000"/>
                <a:gd name="connsiteY59" fmla="*/ 2972 h 10075"/>
                <a:gd name="connsiteX60" fmla="*/ 5464 w 10000"/>
                <a:gd name="connsiteY60" fmla="*/ 2978 h 10075"/>
                <a:gd name="connsiteX61" fmla="*/ 5502 w 10000"/>
                <a:gd name="connsiteY61" fmla="*/ 2984 h 10075"/>
                <a:gd name="connsiteX62" fmla="*/ 5558 w 10000"/>
                <a:gd name="connsiteY62" fmla="*/ 3020 h 10075"/>
                <a:gd name="connsiteX63" fmla="*/ 5596 w 10000"/>
                <a:gd name="connsiteY63" fmla="*/ 3050 h 10075"/>
                <a:gd name="connsiteX64" fmla="*/ 5634 w 10000"/>
                <a:gd name="connsiteY64" fmla="*/ 3092 h 10075"/>
                <a:gd name="connsiteX65" fmla="*/ 5665 w 10000"/>
                <a:gd name="connsiteY65" fmla="*/ 3128 h 10075"/>
                <a:gd name="connsiteX66" fmla="*/ 5696 w 10000"/>
                <a:gd name="connsiteY66" fmla="*/ 3165 h 10075"/>
                <a:gd name="connsiteX67" fmla="*/ 5734 w 10000"/>
                <a:gd name="connsiteY67" fmla="*/ 3201 h 10075"/>
                <a:gd name="connsiteX68" fmla="*/ 5759 w 10000"/>
                <a:gd name="connsiteY68" fmla="*/ 3219 h 10075"/>
                <a:gd name="connsiteX69" fmla="*/ 5778 w 10000"/>
                <a:gd name="connsiteY69" fmla="*/ 3231 h 10075"/>
                <a:gd name="connsiteX70" fmla="*/ 5803 w 10000"/>
                <a:gd name="connsiteY70" fmla="*/ 3243 h 10075"/>
                <a:gd name="connsiteX71" fmla="*/ 5834 w 10000"/>
                <a:gd name="connsiteY71" fmla="*/ 3249 h 10075"/>
                <a:gd name="connsiteX72" fmla="*/ 5935 w 10000"/>
                <a:gd name="connsiteY72" fmla="*/ 3268 h 10075"/>
                <a:gd name="connsiteX73" fmla="*/ 6073 w 10000"/>
                <a:gd name="connsiteY73" fmla="*/ 3303 h 10075"/>
                <a:gd name="connsiteX74" fmla="*/ 6230 w 10000"/>
                <a:gd name="connsiteY74" fmla="*/ 3339 h 10075"/>
                <a:gd name="connsiteX75" fmla="*/ 6405 w 10000"/>
                <a:gd name="connsiteY75" fmla="*/ 3382 h 10075"/>
                <a:gd name="connsiteX76" fmla="*/ 6568 w 10000"/>
                <a:gd name="connsiteY76" fmla="*/ 3412 h 10075"/>
                <a:gd name="connsiteX77" fmla="*/ 6719 w 10000"/>
                <a:gd name="connsiteY77" fmla="*/ 3436 h 10075"/>
                <a:gd name="connsiteX78" fmla="*/ 6788 w 10000"/>
                <a:gd name="connsiteY78" fmla="*/ 3442 h 10075"/>
                <a:gd name="connsiteX79" fmla="*/ 6838 w 10000"/>
                <a:gd name="connsiteY79" fmla="*/ 3448 h 10075"/>
                <a:gd name="connsiteX80" fmla="*/ 6888 w 10000"/>
                <a:gd name="connsiteY80" fmla="*/ 3442 h 10075"/>
                <a:gd name="connsiteX81" fmla="*/ 6913 w 10000"/>
                <a:gd name="connsiteY81" fmla="*/ 3430 h 10075"/>
                <a:gd name="connsiteX82" fmla="*/ 6888 w 10000"/>
                <a:gd name="connsiteY82" fmla="*/ 3388 h 10075"/>
                <a:gd name="connsiteX83" fmla="*/ 6857 w 10000"/>
                <a:gd name="connsiteY83" fmla="*/ 3339 h 10075"/>
                <a:gd name="connsiteX84" fmla="*/ 6838 w 10000"/>
                <a:gd name="connsiteY84" fmla="*/ 3291 h 10075"/>
                <a:gd name="connsiteX85" fmla="*/ 6826 w 10000"/>
                <a:gd name="connsiteY85" fmla="*/ 3237 h 10075"/>
                <a:gd name="connsiteX86" fmla="*/ 6794 w 10000"/>
                <a:gd name="connsiteY86" fmla="*/ 3146 h 10075"/>
                <a:gd name="connsiteX87" fmla="*/ 6788 w 10000"/>
                <a:gd name="connsiteY87" fmla="*/ 3098 h 10075"/>
                <a:gd name="connsiteX88" fmla="*/ 6788 w 10000"/>
                <a:gd name="connsiteY88" fmla="*/ 2911 h 10075"/>
                <a:gd name="connsiteX89" fmla="*/ 6788 w 10000"/>
                <a:gd name="connsiteY89" fmla="*/ 2725 h 10075"/>
                <a:gd name="connsiteX90" fmla="*/ 6995 w 10000"/>
                <a:gd name="connsiteY90" fmla="*/ 2725 h 10075"/>
                <a:gd name="connsiteX91" fmla="*/ 7033 w 10000"/>
                <a:gd name="connsiteY91" fmla="*/ 2791 h 10075"/>
                <a:gd name="connsiteX92" fmla="*/ 7058 w 10000"/>
                <a:gd name="connsiteY92" fmla="*/ 2833 h 10075"/>
                <a:gd name="connsiteX93" fmla="*/ 7095 w 10000"/>
                <a:gd name="connsiteY93" fmla="*/ 2869 h 10075"/>
                <a:gd name="connsiteX94" fmla="*/ 7127 w 10000"/>
                <a:gd name="connsiteY94" fmla="*/ 2911 h 10075"/>
                <a:gd name="connsiteX95" fmla="*/ 7120 w 10000"/>
                <a:gd name="connsiteY95" fmla="*/ 3008 h 10075"/>
                <a:gd name="connsiteX96" fmla="*/ 7102 w 10000"/>
                <a:gd name="connsiteY96" fmla="*/ 3068 h 10075"/>
                <a:gd name="connsiteX97" fmla="*/ 7089 w 10000"/>
                <a:gd name="connsiteY97" fmla="*/ 3116 h 10075"/>
                <a:gd name="connsiteX98" fmla="*/ 7077 w 10000"/>
                <a:gd name="connsiteY98" fmla="*/ 3171 h 10075"/>
                <a:gd name="connsiteX99" fmla="*/ 7208 w 10000"/>
                <a:gd name="connsiteY99" fmla="*/ 3207 h 10075"/>
                <a:gd name="connsiteX100" fmla="*/ 7334 w 10000"/>
                <a:gd name="connsiteY100" fmla="*/ 3243 h 10075"/>
                <a:gd name="connsiteX101" fmla="*/ 7396 w 10000"/>
                <a:gd name="connsiteY101" fmla="*/ 3262 h 10075"/>
                <a:gd name="connsiteX102" fmla="*/ 7459 w 10000"/>
                <a:gd name="connsiteY102" fmla="*/ 3274 h 10075"/>
                <a:gd name="connsiteX103" fmla="*/ 7522 w 10000"/>
                <a:gd name="connsiteY103" fmla="*/ 3280 h 10075"/>
                <a:gd name="connsiteX104" fmla="*/ 7585 w 10000"/>
                <a:gd name="connsiteY104" fmla="*/ 3285 h 10075"/>
                <a:gd name="connsiteX105" fmla="*/ 7591 w 10000"/>
                <a:gd name="connsiteY105" fmla="*/ 3309 h 10075"/>
                <a:gd name="connsiteX106" fmla="*/ 7604 w 10000"/>
                <a:gd name="connsiteY106" fmla="*/ 3333 h 10075"/>
                <a:gd name="connsiteX107" fmla="*/ 7622 w 10000"/>
                <a:gd name="connsiteY107" fmla="*/ 3351 h 10075"/>
                <a:gd name="connsiteX108" fmla="*/ 7654 w 10000"/>
                <a:gd name="connsiteY108" fmla="*/ 3369 h 10075"/>
                <a:gd name="connsiteX109" fmla="*/ 7704 w 10000"/>
                <a:gd name="connsiteY109" fmla="*/ 3388 h 10075"/>
                <a:gd name="connsiteX110" fmla="*/ 7748 w 10000"/>
                <a:gd name="connsiteY110" fmla="*/ 3394 h 10075"/>
                <a:gd name="connsiteX111" fmla="*/ 7798 w 10000"/>
                <a:gd name="connsiteY111" fmla="*/ 3394 h 10075"/>
                <a:gd name="connsiteX112" fmla="*/ 7836 w 10000"/>
                <a:gd name="connsiteY112" fmla="*/ 3382 h 10075"/>
                <a:gd name="connsiteX113" fmla="*/ 7880 w 10000"/>
                <a:gd name="connsiteY113" fmla="*/ 3363 h 10075"/>
                <a:gd name="connsiteX114" fmla="*/ 7911 w 10000"/>
                <a:gd name="connsiteY114" fmla="*/ 3345 h 10075"/>
                <a:gd name="connsiteX115" fmla="*/ 7949 w 10000"/>
                <a:gd name="connsiteY115" fmla="*/ 3321 h 10075"/>
                <a:gd name="connsiteX116" fmla="*/ 7980 w 10000"/>
                <a:gd name="connsiteY116" fmla="*/ 3291 h 10075"/>
                <a:gd name="connsiteX117" fmla="*/ 8011 w 10000"/>
                <a:gd name="connsiteY117" fmla="*/ 3262 h 10075"/>
                <a:gd name="connsiteX118" fmla="*/ 8036 w 10000"/>
                <a:gd name="connsiteY118" fmla="*/ 3231 h 10075"/>
                <a:gd name="connsiteX119" fmla="*/ 8087 w 10000"/>
                <a:gd name="connsiteY119" fmla="*/ 3152 h 10075"/>
                <a:gd name="connsiteX120" fmla="*/ 8118 w 10000"/>
                <a:gd name="connsiteY120" fmla="*/ 3080 h 10075"/>
                <a:gd name="connsiteX121" fmla="*/ 8149 w 10000"/>
                <a:gd name="connsiteY121" fmla="*/ 3014 h 10075"/>
                <a:gd name="connsiteX122" fmla="*/ 8168 w 10000"/>
                <a:gd name="connsiteY122" fmla="*/ 2948 h 10075"/>
                <a:gd name="connsiteX123" fmla="*/ 8231 w 10000"/>
                <a:gd name="connsiteY123" fmla="*/ 2881 h 10075"/>
                <a:gd name="connsiteX124" fmla="*/ 8294 w 10000"/>
                <a:gd name="connsiteY124" fmla="*/ 2815 h 10075"/>
                <a:gd name="connsiteX125" fmla="*/ 8363 w 10000"/>
                <a:gd name="connsiteY125" fmla="*/ 2762 h 10075"/>
                <a:gd name="connsiteX126" fmla="*/ 8432 w 10000"/>
                <a:gd name="connsiteY126" fmla="*/ 2701 h 10075"/>
                <a:gd name="connsiteX127" fmla="*/ 8507 w 10000"/>
                <a:gd name="connsiteY127" fmla="*/ 2653 h 10075"/>
                <a:gd name="connsiteX128" fmla="*/ 8576 w 10000"/>
                <a:gd name="connsiteY128" fmla="*/ 2605 h 10075"/>
                <a:gd name="connsiteX129" fmla="*/ 8651 w 10000"/>
                <a:gd name="connsiteY129" fmla="*/ 2563 h 10075"/>
                <a:gd name="connsiteX130" fmla="*/ 8726 w 10000"/>
                <a:gd name="connsiteY130" fmla="*/ 2519 h 10075"/>
                <a:gd name="connsiteX131" fmla="*/ 8808 w 10000"/>
                <a:gd name="connsiteY131" fmla="*/ 2477 h 10075"/>
                <a:gd name="connsiteX132" fmla="*/ 8890 w 10000"/>
                <a:gd name="connsiteY132" fmla="*/ 2441 h 10075"/>
                <a:gd name="connsiteX133" fmla="*/ 8971 w 10000"/>
                <a:gd name="connsiteY133" fmla="*/ 2411 h 10075"/>
                <a:gd name="connsiteX134" fmla="*/ 9059 w 10000"/>
                <a:gd name="connsiteY134" fmla="*/ 2381 h 10075"/>
                <a:gd name="connsiteX135" fmla="*/ 9235 w 10000"/>
                <a:gd name="connsiteY135" fmla="*/ 2327 h 10075"/>
                <a:gd name="connsiteX136" fmla="*/ 9417 w 10000"/>
                <a:gd name="connsiteY136" fmla="*/ 2284 h 10075"/>
                <a:gd name="connsiteX137" fmla="*/ 9454 w 10000"/>
                <a:gd name="connsiteY137" fmla="*/ 2333 h 10075"/>
                <a:gd name="connsiteX138" fmla="*/ 9504 w 10000"/>
                <a:gd name="connsiteY138" fmla="*/ 2393 h 10075"/>
                <a:gd name="connsiteX139" fmla="*/ 9573 w 10000"/>
                <a:gd name="connsiteY139" fmla="*/ 2459 h 10075"/>
                <a:gd name="connsiteX140" fmla="*/ 9642 w 10000"/>
                <a:gd name="connsiteY140" fmla="*/ 2532 h 10075"/>
                <a:gd name="connsiteX141" fmla="*/ 9718 w 10000"/>
                <a:gd name="connsiteY141" fmla="*/ 2593 h 10075"/>
                <a:gd name="connsiteX142" fmla="*/ 9799 w 10000"/>
                <a:gd name="connsiteY142" fmla="*/ 2641 h 10075"/>
                <a:gd name="connsiteX143" fmla="*/ 9837 w 10000"/>
                <a:gd name="connsiteY143" fmla="*/ 2665 h 10075"/>
                <a:gd name="connsiteX144" fmla="*/ 9875 w 10000"/>
                <a:gd name="connsiteY144" fmla="*/ 2677 h 10075"/>
                <a:gd name="connsiteX145" fmla="*/ 9918 w 10000"/>
                <a:gd name="connsiteY145" fmla="*/ 2689 h 10075"/>
                <a:gd name="connsiteX146" fmla="*/ 9956 w 10000"/>
                <a:gd name="connsiteY146" fmla="*/ 2689 h 10075"/>
                <a:gd name="connsiteX147" fmla="*/ 10000 w 10000"/>
                <a:gd name="connsiteY147" fmla="*/ 2617 h 10075"/>
                <a:gd name="connsiteX148" fmla="*/ 9975 w 10000"/>
                <a:gd name="connsiteY148" fmla="*/ 2744 h 10075"/>
                <a:gd name="connsiteX149" fmla="*/ 9944 w 10000"/>
                <a:gd name="connsiteY149" fmla="*/ 2887 h 10075"/>
                <a:gd name="connsiteX150" fmla="*/ 9931 w 10000"/>
                <a:gd name="connsiteY150" fmla="*/ 2954 h 10075"/>
                <a:gd name="connsiteX151" fmla="*/ 9906 w 10000"/>
                <a:gd name="connsiteY151" fmla="*/ 3014 h 10075"/>
                <a:gd name="connsiteX152" fmla="*/ 9887 w 10000"/>
                <a:gd name="connsiteY152" fmla="*/ 3038 h 10075"/>
                <a:gd name="connsiteX153" fmla="*/ 9875 w 10000"/>
                <a:gd name="connsiteY153" fmla="*/ 3062 h 10075"/>
                <a:gd name="connsiteX154" fmla="*/ 9856 w 10000"/>
                <a:gd name="connsiteY154" fmla="*/ 3080 h 10075"/>
                <a:gd name="connsiteX155" fmla="*/ 9837 w 10000"/>
                <a:gd name="connsiteY155" fmla="*/ 3098 h 10075"/>
                <a:gd name="connsiteX156" fmla="*/ 9749 w 10000"/>
                <a:gd name="connsiteY156" fmla="*/ 3116 h 10075"/>
                <a:gd name="connsiteX157" fmla="*/ 9605 w 10000"/>
                <a:gd name="connsiteY157" fmla="*/ 3165 h 10075"/>
                <a:gd name="connsiteX158" fmla="*/ 9536 w 10000"/>
                <a:gd name="connsiteY158" fmla="*/ 3207 h 10075"/>
                <a:gd name="connsiteX159" fmla="*/ 9479 w 10000"/>
                <a:gd name="connsiteY159" fmla="*/ 3243 h 10075"/>
                <a:gd name="connsiteX160" fmla="*/ 9448 w 10000"/>
                <a:gd name="connsiteY160" fmla="*/ 3262 h 10075"/>
                <a:gd name="connsiteX161" fmla="*/ 9435 w 10000"/>
                <a:gd name="connsiteY161" fmla="*/ 3280 h 10075"/>
                <a:gd name="connsiteX162" fmla="*/ 9423 w 10000"/>
                <a:gd name="connsiteY162" fmla="*/ 3303 h 10075"/>
                <a:gd name="connsiteX163" fmla="*/ 9417 w 10000"/>
                <a:gd name="connsiteY163" fmla="*/ 3321 h 10075"/>
                <a:gd name="connsiteX164" fmla="*/ 9423 w 10000"/>
                <a:gd name="connsiteY164" fmla="*/ 3532 h 10075"/>
                <a:gd name="connsiteX165" fmla="*/ 9417 w 10000"/>
                <a:gd name="connsiteY165" fmla="*/ 3773 h 10075"/>
                <a:gd name="connsiteX166" fmla="*/ 9398 w 10000"/>
                <a:gd name="connsiteY166" fmla="*/ 3833 h 10075"/>
                <a:gd name="connsiteX167" fmla="*/ 9391 w 10000"/>
                <a:gd name="connsiteY167" fmla="*/ 3899 h 10075"/>
                <a:gd name="connsiteX168" fmla="*/ 9379 w 10000"/>
                <a:gd name="connsiteY168" fmla="*/ 3953 h 10075"/>
                <a:gd name="connsiteX169" fmla="*/ 9366 w 10000"/>
                <a:gd name="connsiteY169" fmla="*/ 4008 h 10075"/>
                <a:gd name="connsiteX170" fmla="*/ 9348 w 10000"/>
                <a:gd name="connsiteY170" fmla="*/ 4057 h 10075"/>
                <a:gd name="connsiteX171" fmla="*/ 9316 w 10000"/>
                <a:gd name="connsiteY171" fmla="*/ 4105 h 10075"/>
                <a:gd name="connsiteX172" fmla="*/ 9285 w 10000"/>
                <a:gd name="connsiteY172" fmla="*/ 4141 h 10075"/>
                <a:gd name="connsiteX173" fmla="*/ 9247 w 10000"/>
                <a:gd name="connsiteY173" fmla="*/ 4171 h 10075"/>
                <a:gd name="connsiteX174" fmla="*/ 9228 w 10000"/>
                <a:gd name="connsiteY174" fmla="*/ 4189 h 10075"/>
                <a:gd name="connsiteX175" fmla="*/ 9184 w 10000"/>
                <a:gd name="connsiteY175" fmla="*/ 4195 h 10075"/>
                <a:gd name="connsiteX176" fmla="*/ 9141 w 10000"/>
                <a:gd name="connsiteY176" fmla="*/ 4201 h 10075"/>
                <a:gd name="connsiteX177" fmla="*/ 9090 w 10000"/>
                <a:gd name="connsiteY177" fmla="*/ 4207 h 10075"/>
                <a:gd name="connsiteX178" fmla="*/ 9040 w 10000"/>
                <a:gd name="connsiteY178" fmla="*/ 4213 h 10075"/>
                <a:gd name="connsiteX179" fmla="*/ 8996 w 10000"/>
                <a:gd name="connsiteY179" fmla="*/ 4232 h 10075"/>
                <a:gd name="connsiteX180" fmla="*/ 8977 w 10000"/>
                <a:gd name="connsiteY180" fmla="*/ 4238 h 10075"/>
                <a:gd name="connsiteX181" fmla="*/ 8965 w 10000"/>
                <a:gd name="connsiteY181" fmla="*/ 4256 h 10075"/>
                <a:gd name="connsiteX182" fmla="*/ 8959 w 10000"/>
                <a:gd name="connsiteY182" fmla="*/ 4268 h 10075"/>
                <a:gd name="connsiteX183" fmla="*/ 8959 w 10000"/>
                <a:gd name="connsiteY183" fmla="*/ 4286 h 10075"/>
                <a:gd name="connsiteX184" fmla="*/ 8952 w 10000"/>
                <a:gd name="connsiteY184" fmla="*/ 4357 h 10075"/>
                <a:gd name="connsiteX185" fmla="*/ 8952 w 10000"/>
                <a:gd name="connsiteY185" fmla="*/ 4442 h 10075"/>
                <a:gd name="connsiteX186" fmla="*/ 8940 w 10000"/>
                <a:gd name="connsiteY186" fmla="*/ 4532 h 10075"/>
                <a:gd name="connsiteX187" fmla="*/ 8927 w 10000"/>
                <a:gd name="connsiteY187" fmla="*/ 4616 h 10075"/>
                <a:gd name="connsiteX188" fmla="*/ 8908 w 10000"/>
                <a:gd name="connsiteY188" fmla="*/ 4702 h 10075"/>
                <a:gd name="connsiteX189" fmla="*/ 8890 w 10000"/>
                <a:gd name="connsiteY189" fmla="*/ 4780 h 10075"/>
                <a:gd name="connsiteX190" fmla="*/ 8864 w 10000"/>
                <a:gd name="connsiteY190" fmla="*/ 4851 h 10075"/>
                <a:gd name="connsiteX191" fmla="*/ 8833 w 10000"/>
                <a:gd name="connsiteY191" fmla="*/ 4918 h 10075"/>
                <a:gd name="connsiteX192" fmla="*/ 8538 w 10000"/>
                <a:gd name="connsiteY192" fmla="*/ 4429 h 10075"/>
                <a:gd name="connsiteX193" fmla="*/ 8526 w 10000"/>
                <a:gd name="connsiteY193" fmla="*/ 4454 h 10075"/>
                <a:gd name="connsiteX194" fmla="*/ 8494 w 10000"/>
                <a:gd name="connsiteY194" fmla="*/ 4508 h 10075"/>
                <a:gd name="connsiteX195" fmla="*/ 8463 w 10000"/>
                <a:gd name="connsiteY195" fmla="*/ 4538 h 10075"/>
                <a:gd name="connsiteX196" fmla="*/ 8438 w 10000"/>
                <a:gd name="connsiteY196" fmla="*/ 4562 h 10075"/>
                <a:gd name="connsiteX197" fmla="*/ 8407 w 10000"/>
                <a:gd name="connsiteY197" fmla="*/ 4580 h 10075"/>
                <a:gd name="connsiteX198" fmla="*/ 8375 w 10000"/>
                <a:gd name="connsiteY198" fmla="*/ 4586 h 10075"/>
                <a:gd name="connsiteX199" fmla="*/ 8338 w 10000"/>
                <a:gd name="connsiteY199" fmla="*/ 4580 h 10075"/>
                <a:gd name="connsiteX200" fmla="*/ 8312 w 10000"/>
                <a:gd name="connsiteY200" fmla="*/ 4574 h 10075"/>
                <a:gd name="connsiteX201" fmla="*/ 8287 w 10000"/>
                <a:gd name="connsiteY201" fmla="*/ 4556 h 10075"/>
                <a:gd name="connsiteX202" fmla="*/ 8256 w 10000"/>
                <a:gd name="connsiteY202" fmla="*/ 4538 h 10075"/>
                <a:gd name="connsiteX203" fmla="*/ 8237 w 10000"/>
                <a:gd name="connsiteY203" fmla="*/ 4508 h 10075"/>
                <a:gd name="connsiteX204" fmla="*/ 8225 w 10000"/>
                <a:gd name="connsiteY204" fmla="*/ 4484 h 10075"/>
                <a:gd name="connsiteX205" fmla="*/ 8206 w 10000"/>
                <a:gd name="connsiteY205" fmla="*/ 4460 h 10075"/>
                <a:gd name="connsiteX206" fmla="*/ 8206 w 10000"/>
                <a:gd name="connsiteY206" fmla="*/ 4429 h 10075"/>
                <a:gd name="connsiteX207" fmla="*/ 8206 w 10000"/>
                <a:gd name="connsiteY207" fmla="*/ 4393 h 10075"/>
                <a:gd name="connsiteX208" fmla="*/ 8225 w 10000"/>
                <a:gd name="connsiteY208" fmla="*/ 4357 h 10075"/>
                <a:gd name="connsiteX209" fmla="*/ 8237 w 10000"/>
                <a:gd name="connsiteY209" fmla="*/ 4321 h 10075"/>
                <a:gd name="connsiteX210" fmla="*/ 8250 w 10000"/>
                <a:gd name="connsiteY210" fmla="*/ 4286 h 10075"/>
                <a:gd name="connsiteX211" fmla="*/ 8300 w 10000"/>
                <a:gd name="connsiteY211" fmla="*/ 4219 h 10075"/>
                <a:gd name="connsiteX212" fmla="*/ 8356 w 10000"/>
                <a:gd name="connsiteY212" fmla="*/ 4153 h 10075"/>
                <a:gd name="connsiteX213" fmla="*/ 8407 w 10000"/>
                <a:gd name="connsiteY213" fmla="*/ 4093 h 10075"/>
                <a:gd name="connsiteX214" fmla="*/ 8457 w 10000"/>
                <a:gd name="connsiteY214" fmla="*/ 4027 h 10075"/>
                <a:gd name="connsiteX215" fmla="*/ 8469 w 10000"/>
                <a:gd name="connsiteY215" fmla="*/ 3990 h 10075"/>
                <a:gd name="connsiteX216" fmla="*/ 8482 w 10000"/>
                <a:gd name="connsiteY216" fmla="*/ 3959 h 10075"/>
                <a:gd name="connsiteX217" fmla="*/ 8501 w 10000"/>
                <a:gd name="connsiteY217" fmla="*/ 3917 h 10075"/>
                <a:gd name="connsiteX218" fmla="*/ 8501 w 10000"/>
                <a:gd name="connsiteY218" fmla="*/ 3881 h 10075"/>
                <a:gd name="connsiteX219" fmla="*/ 7748 w 10000"/>
                <a:gd name="connsiteY219" fmla="*/ 3881 h 10075"/>
                <a:gd name="connsiteX220" fmla="*/ 7723 w 10000"/>
                <a:gd name="connsiteY220" fmla="*/ 3875 h 10075"/>
                <a:gd name="connsiteX221" fmla="*/ 7685 w 10000"/>
                <a:gd name="connsiteY221" fmla="*/ 3857 h 10075"/>
                <a:gd name="connsiteX222" fmla="*/ 7660 w 10000"/>
                <a:gd name="connsiteY222" fmla="*/ 3821 h 10075"/>
                <a:gd name="connsiteX223" fmla="*/ 7635 w 10000"/>
                <a:gd name="connsiteY223" fmla="*/ 3785 h 10075"/>
                <a:gd name="connsiteX224" fmla="*/ 7616 w 10000"/>
                <a:gd name="connsiteY224" fmla="*/ 3737 h 10075"/>
                <a:gd name="connsiteX225" fmla="*/ 7597 w 10000"/>
                <a:gd name="connsiteY225" fmla="*/ 3689 h 10075"/>
                <a:gd name="connsiteX226" fmla="*/ 7591 w 10000"/>
                <a:gd name="connsiteY226" fmla="*/ 3635 h 10075"/>
                <a:gd name="connsiteX227" fmla="*/ 7585 w 10000"/>
                <a:gd name="connsiteY227" fmla="*/ 3580 h 10075"/>
                <a:gd name="connsiteX228" fmla="*/ 7547 w 10000"/>
                <a:gd name="connsiteY228" fmla="*/ 3580 h 10075"/>
                <a:gd name="connsiteX229" fmla="*/ 7516 w 10000"/>
                <a:gd name="connsiteY229" fmla="*/ 3574 h 10075"/>
                <a:gd name="connsiteX230" fmla="*/ 7478 w 10000"/>
                <a:gd name="connsiteY230" fmla="*/ 3568 h 10075"/>
                <a:gd name="connsiteX231" fmla="*/ 7447 w 10000"/>
                <a:gd name="connsiteY231" fmla="*/ 3556 h 10075"/>
                <a:gd name="connsiteX232" fmla="*/ 7415 w 10000"/>
                <a:gd name="connsiteY232" fmla="*/ 3538 h 10075"/>
                <a:gd name="connsiteX233" fmla="*/ 7396 w 10000"/>
                <a:gd name="connsiteY233" fmla="*/ 3520 h 10075"/>
                <a:gd name="connsiteX234" fmla="*/ 7384 w 10000"/>
                <a:gd name="connsiteY234" fmla="*/ 3490 h 10075"/>
                <a:gd name="connsiteX235" fmla="*/ 7378 w 10000"/>
                <a:gd name="connsiteY235" fmla="*/ 3466 h 10075"/>
                <a:gd name="connsiteX236" fmla="*/ 7321 w 10000"/>
                <a:gd name="connsiteY236" fmla="*/ 3466 h 10075"/>
                <a:gd name="connsiteX237" fmla="*/ 7271 w 10000"/>
                <a:gd name="connsiteY237" fmla="*/ 3466 h 10075"/>
                <a:gd name="connsiteX238" fmla="*/ 7221 w 10000"/>
                <a:gd name="connsiteY238" fmla="*/ 3466 h 10075"/>
                <a:gd name="connsiteX239" fmla="*/ 7171 w 10000"/>
                <a:gd name="connsiteY239" fmla="*/ 3466 h 10075"/>
                <a:gd name="connsiteX240" fmla="*/ 7127 w 10000"/>
                <a:gd name="connsiteY240" fmla="*/ 3472 h 10075"/>
                <a:gd name="connsiteX241" fmla="*/ 7095 w 10000"/>
                <a:gd name="connsiteY241" fmla="*/ 3478 h 10075"/>
                <a:gd name="connsiteX242" fmla="*/ 7051 w 10000"/>
                <a:gd name="connsiteY242" fmla="*/ 3496 h 10075"/>
                <a:gd name="connsiteX243" fmla="*/ 7008 w 10000"/>
                <a:gd name="connsiteY243" fmla="*/ 3520 h 10075"/>
                <a:gd name="connsiteX244" fmla="*/ 6976 w 10000"/>
                <a:gd name="connsiteY244" fmla="*/ 3550 h 10075"/>
                <a:gd name="connsiteX245" fmla="*/ 6939 w 10000"/>
                <a:gd name="connsiteY245" fmla="*/ 3580 h 10075"/>
                <a:gd name="connsiteX246" fmla="*/ 6920 w 10000"/>
                <a:gd name="connsiteY246" fmla="*/ 3617 h 10075"/>
                <a:gd name="connsiteX247" fmla="*/ 6913 w 10000"/>
                <a:gd name="connsiteY247" fmla="*/ 3653 h 10075"/>
                <a:gd name="connsiteX248" fmla="*/ 6926 w 10000"/>
                <a:gd name="connsiteY248" fmla="*/ 3677 h 10075"/>
                <a:gd name="connsiteX249" fmla="*/ 6964 w 10000"/>
                <a:gd name="connsiteY249" fmla="*/ 3707 h 10075"/>
                <a:gd name="connsiteX250" fmla="*/ 7008 w 10000"/>
                <a:gd name="connsiteY250" fmla="*/ 3743 h 10075"/>
                <a:gd name="connsiteX251" fmla="*/ 7070 w 10000"/>
                <a:gd name="connsiteY251" fmla="*/ 3779 h 10075"/>
                <a:gd name="connsiteX252" fmla="*/ 7133 w 10000"/>
                <a:gd name="connsiteY252" fmla="*/ 3815 h 10075"/>
                <a:gd name="connsiteX253" fmla="*/ 7196 w 10000"/>
                <a:gd name="connsiteY253" fmla="*/ 3845 h 10075"/>
                <a:gd name="connsiteX254" fmla="*/ 7252 w 10000"/>
                <a:gd name="connsiteY254" fmla="*/ 3869 h 10075"/>
                <a:gd name="connsiteX255" fmla="*/ 7290 w 10000"/>
                <a:gd name="connsiteY255" fmla="*/ 3881 h 10075"/>
                <a:gd name="connsiteX256" fmla="*/ 7208 w 10000"/>
                <a:gd name="connsiteY256" fmla="*/ 3941 h 10075"/>
                <a:gd name="connsiteX257" fmla="*/ 7114 w 10000"/>
                <a:gd name="connsiteY257" fmla="*/ 4015 h 10075"/>
                <a:gd name="connsiteX258" fmla="*/ 7070 w 10000"/>
                <a:gd name="connsiteY258" fmla="*/ 4051 h 10075"/>
                <a:gd name="connsiteX259" fmla="*/ 7033 w 10000"/>
                <a:gd name="connsiteY259" fmla="*/ 4093 h 10075"/>
                <a:gd name="connsiteX260" fmla="*/ 7020 w 10000"/>
                <a:gd name="connsiteY260" fmla="*/ 4111 h 10075"/>
                <a:gd name="connsiteX261" fmla="*/ 7008 w 10000"/>
                <a:gd name="connsiteY261" fmla="*/ 4129 h 10075"/>
                <a:gd name="connsiteX262" fmla="*/ 7001 w 10000"/>
                <a:gd name="connsiteY262" fmla="*/ 4153 h 10075"/>
                <a:gd name="connsiteX263" fmla="*/ 6995 w 10000"/>
                <a:gd name="connsiteY263" fmla="*/ 4171 h 10075"/>
                <a:gd name="connsiteX264" fmla="*/ 7001 w 10000"/>
                <a:gd name="connsiteY264" fmla="*/ 4201 h 10075"/>
                <a:gd name="connsiteX265" fmla="*/ 7008 w 10000"/>
                <a:gd name="connsiteY265" fmla="*/ 4219 h 10075"/>
                <a:gd name="connsiteX266" fmla="*/ 7026 w 10000"/>
                <a:gd name="connsiteY266" fmla="*/ 4244 h 10075"/>
                <a:gd name="connsiteX267" fmla="*/ 7039 w 10000"/>
                <a:gd name="connsiteY267" fmla="*/ 4268 h 10075"/>
                <a:gd name="connsiteX268" fmla="*/ 7089 w 10000"/>
                <a:gd name="connsiteY268" fmla="*/ 4315 h 10075"/>
                <a:gd name="connsiteX269" fmla="*/ 7146 w 10000"/>
                <a:gd name="connsiteY269" fmla="*/ 4363 h 10075"/>
                <a:gd name="connsiteX270" fmla="*/ 7208 w 10000"/>
                <a:gd name="connsiteY270" fmla="*/ 4405 h 10075"/>
                <a:gd name="connsiteX271" fmla="*/ 7277 w 10000"/>
                <a:gd name="connsiteY271" fmla="*/ 4442 h 10075"/>
                <a:gd name="connsiteX272" fmla="*/ 7315 w 10000"/>
                <a:gd name="connsiteY272" fmla="*/ 4454 h 10075"/>
                <a:gd name="connsiteX273" fmla="*/ 7346 w 10000"/>
                <a:gd name="connsiteY273" fmla="*/ 4460 h 10075"/>
                <a:gd name="connsiteX274" fmla="*/ 7384 w 10000"/>
                <a:gd name="connsiteY274" fmla="*/ 4466 h 10075"/>
                <a:gd name="connsiteX275" fmla="*/ 7415 w 10000"/>
                <a:gd name="connsiteY275" fmla="*/ 4472 h 10075"/>
                <a:gd name="connsiteX276" fmla="*/ 7585 w 10000"/>
                <a:gd name="connsiteY276" fmla="*/ 5099 h 10075"/>
                <a:gd name="connsiteX277" fmla="*/ 7491 w 10000"/>
                <a:gd name="connsiteY277" fmla="*/ 5099 h 10075"/>
                <a:gd name="connsiteX278" fmla="*/ 7403 w 10000"/>
                <a:gd name="connsiteY278" fmla="*/ 5099 h 10075"/>
                <a:gd name="connsiteX279" fmla="*/ 7321 w 10000"/>
                <a:gd name="connsiteY279" fmla="*/ 5099 h 10075"/>
                <a:gd name="connsiteX280" fmla="*/ 7252 w 10000"/>
                <a:gd name="connsiteY280" fmla="*/ 5099 h 10075"/>
                <a:gd name="connsiteX281" fmla="*/ 7208 w 10000"/>
                <a:gd name="connsiteY281" fmla="*/ 5093 h 10075"/>
                <a:gd name="connsiteX282" fmla="*/ 7164 w 10000"/>
                <a:gd name="connsiteY282" fmla="*/ 5062 h 10075"/>
                <a:gd name="connsiteX283" fmla="*/ 7133 w 10000"/>
                <a:gd name="connsiteY283" fmla="*/ 5050 h 10075"/>
                <a:gd name="connsiteX284" fmla="*/ 7102 w 10000"/>
                <a:gd name="connsiteY284" fmla="*/ 5038 h 10075"/>
                <a:gd name="connsiteX285" fmla="*/ 7070 w 10000"/>
                <a:gd name="connsiteY285" fmla="*/ 5032 h 10075"/>
                <a:gd name="connsiteX286" fmla="*/ 7039 w 10000"/>
                <a:gd name="connsiteY286" fmla="*/ 5026 h 10075"/>
                <a:gd name="connsiteX287" fmla="*/ 7008 w 10000"/>
                <a:gd name="connsiteY287" fmla="*/ 5038 h 10075"/>
                <a:gd name="connsiteX288" fmla="*/ 6957 w 10000"/>
                <a:gd name="connsiteY288" fmla="*/ 5068 h 10075"/>
                <a:gd name="connsiteX289" fmla="*/ 6895 w 10000"/>
                <a:gd name="connsiteY289" fmla="*/ 5111 h 10075"/>
                <a:gd name="connsiteX290" fmla="*/ 6819 w 10000"/>
                <a:gd name="connsiteY290" fmla="*/ 5159 h 10075"/>
                <a:gd name="connsiteX291" fmla="*/ 6744 w 10000"/>
                <a:gd name="connsiteY291" fmla="*/ 5219 h 10075"/>
                <a:gd name="connsiteX292" fmla="*/ 6681 w 10000"/>
                <a:gd name="connsiteY292" fmla="*/ 5267 h 10075"/>
                <a:gd name="connsiteX293" fmla="*/ 6637 w 10000"/>
                <a:gd name="connsiteY293" fmla="*/ 5303 h 10075"/>
                <a:gd name="connsiteX294" fmla="*/ 6625 w 10000"/>
                <a:gd name="connsiteY294" fmla="*/ 5327 h 10075"/>
                <a:gd name="connsiteX295" fmla="*/ 6750 w 10000"/>
                <a:gd name="connsiteY295" fmla="*/ 5399 h 10075"/>
                <a:gd name="connsiteX296" fmla="*/ 6744 w 10000"/>
                <a:gd name="connsiteY296" fmla="*/ 5436 h 10075"/>
                <a:gd name="connsiteX297" fmla="*/ 6725 w 10000"/>
                <a:gd name="connsiteY297" fmla="*/ 5478 h 10075"/>
                <a:gd name="connsiteX298" fmla="*/ 6706 w 10000"/>
                <a:gd name="connsiteY298" fmla="*/ 5509 h 10075"/>
                <a:gd name="connsiteX299" fmla="*/ 6688 w 10000"/>
                <a:gd name="connsiteY299" fmla="*/ 5551 h 10075"/>
                <a:gd name="connsiteX300" fmla="*/ 6637 w 10000"/>
                <a:gd name="connsiteY300" fmla="*/ 5605 h 10075"/>
                <a:gd name="connsiteX301" fmla="*/ 6581 w 10000"/>
                <a:gd name="connsiteY301" fmla="*/ 5659 h 10075"/>
                <a:gd name="connsiteX302" fmla="*/ 6518 w 10000"/>
                <a:gd name="connsiteY302" fmla="*/ 5707 h 10075"/>
                <a:gd name="connsiteX303" fmla="*/ 6443 w 10000"/>
                <a:gd name="connsiteY303" fmla="*/ 5750 h 10075"/>
                <a:gd name="connsiteX304" fmla="*/ 6374 w 10000"/>
                <a:gd name="connsiteY304" fmla="*/ 5786 h 10075"/>
                <a:gd name="connsiteX305" fmla="*/ 6299 w 10000"/>
                <a:gd name="connsiteY305" fmla="*/ 5821 h 10075"/>
                <a:gd name="connsiteX306" fmla="*/ 6223 w 10000"/>
                <a:gd name="connsiteY306" fmla="*/ 5869 h 10075"/>
                <a:gd name="connsiteX307" fmla="*/ 6154 w 10000"/>
                <a:gd name="connsiteY307" fmla="*/ 5905 h 10075"/>
                <a:gd name="connsiteX308" fmla="*/ 6092 w 10000"/>
                <a:gd name="connsiteY308" fmla="*/ 5948 h 10075"/>
                <a:gd name="connsiteX309" fmla="*/ 6035 w 10000"/>
                <a:gd name="connsiteY309" fmla="*/ 5996 h 10075"/>
                <a:gd name="connsiteX310" fmla="*/ 6004 w 10000"/>
                <a:gd name="connsiteY310" fmla="*/ 6020 h 10075"/>
                <a:gd name="connsiteX311" fmla="*/ 5985 w 10000"/>
                <a:gd name="connsiteY311" fmla="*/ 6044 h 10075"/>
                <a:gd name="connsiteX312" fmla="*/ 5966 w 10000"/>
                <a:gd name="connsiteY312" fmla="*/ 6074 h 10075"/>
                <a:gd name="connsiteX313" fmla="*/ 5947 w 10000"/>
                <a:gd name="connsiteY313" fmla="*/ 6104 h 10075"/>
                <a:gd name="connsiteX314" fmla="*/ 5935 w 10000"/>
                <a:gd name="connsiteY314" fmla="*/ 6142 h 10075"/>
                <a:gd name="connsiteX315" fmla="*/ 5922 w 10000"/>
                <a:gd name="connsiteY315" fmla="*/ 6172 h 10075"/>
                <a:gd name="connsiteX316" fmla="*/ 5916 w 10000"/>
                <a:gd name="connsiteY316" fmla="*/ 6214 h 10075"/>
                <a:gd name="connsiteX317" fmla="*/ 5916 w 10000"/>
                <a:gd name="connsiteY317" fmla="*/ 6256 h 10075"/>
                <a:gd name="connsiteX318" fmla="*/ 5859 w 10000"/>
                <a:gd name="connsiteY318" fmla="*/ 6274 h 10075"/>
                <a:gd name="connsiteX319" fmla="*/ 5809 w 10000"/>
                <a:gd name="connsiteY319" fmla="*/ 6292 h 10075"/>
                <a:gd name="connsiteX320" fmla="*/ 5765 w 10000"/>
                <a:gd name="connsiteY320" fmla="*/ 6315 h 10075"/>
                <a:gd name="connsiteX321" fmla="*/ 5721 w 10000"/>
                <a:gd name="connsiteY321" fmla="*/ 6339 h 10075"/>
                <a:gd name="connsiteX322" fmla="*/ 5634 w 10000"/>
                <a:gd name="connsiteY322" fmla="*/ 6400 h 10075"/>
                <a:gd name="connsiteX323" fmla="*/ 5558 w 10000"/>
                <a:gd name="connsiteY323" fmla="*/ 6472 h 10075"/>
                <a:gd name="connsiteX324" fmla="*/ 5420 w 10000"/>
                <a:gd name="connsiteY324" fmla="*/ 6635 h 10075"/>
                <a:gd name="connsiteX325" fmla="*/ 5289 w 10000"/>
                <a:gd name="connsiteY325" fmla="*/ 6809 h 10075"/>
                <a:gd name="connsiteX326" fmla="*/ 5220 w 10000"/>
                <a:gd name="connsiteY326" fmla="*/ 6900 h 10075"/>
                <a:gd name="connsiteX327" fmla="*/ 5151 w 10000"/>
                <a:gd name="connsiteY327" fmla="*/ 6978 h 10075"/>
                <a:gd name="connsiteX328" fmla="*/ 5075 w 10000"/>
                <a:gd name="connsiteY328" fmla="*/ 7051 h 10075"/>
                <a:gd name="connsiteX329" fmla="*/ 4994 w 10000"/>
                <a:gd name="connsiteY329" fmla="*/ 7117 h 10075"/>
                <a:gd name="connsiteX330" fmla="*/ 4944 w 10000"/>
                <a:gd name="connsiteY330" fmla="*/ 7147 h 10075"/>
                <a:gd name="connsiteX331" fmla="*/ 4893 w 10000"/>
                <a:gd name="connsiteY331" fmla="*/ 7171 h 10075"/>
                <a:gd name="connsiteX332" fmla="*/ 4849 w 10000"/>
                <a:gd name="connsiteY332" fmla="*/ 7195 h 10075"/>
                <a:gd name="connsiteX333" fmla="*/ 4793 w 10000"/>
                <a:gd name="connsiteY333" fmla="*/ 7220 h 10075"/>
                <a:gd name="connsiteX334" fmla="*/ 4730 w 10000"/>
                <a:gd name="connsiteY334" fmla="*/ 7238 h 10075"/>
                <a:gd name="connsiteX335" fmla="*/ 4674 w 10000"/>
                <a:gd name="connsiteY335" fmla="*/ 7250 h 10075"/>
                <a:gd name="connsiteX336" fmla="*/ 4605 w 10000"/>
                <a:gd name="connsiteY336" fmla="*/ 7256 h 10075"/>
                <a:gd name="connsiteX337" fmla="*/ 4536 w 10000"/>
                <a:gd name="connsiteY337" fmla="*/ 7256 h 10075"/>
                <a:gd name="connsiteX338" fmla="*/ 4536 w 10000"/>
                <a:gd name="connsiteY338" fmla="*/ 7309 h 10075"/>
                <a:gd name="connsiteX339" fmla="*/ 4536 w 10000"/>
                <a:gd name="connsiteY339" fmla="*/ 7363 h 10075"/>
                <a:gd name="connsiteX340" fmla="*/ 4536 w 10000"/>
                <a:gd name="connsiteY340" fmla="*/ 7405 h 10075"/>
                <a:gd name="connsiteX341" fmla="*/ 4536 w 10000"/>
                <a:gd name="connsiteY341" fmla="*/ 7442 h 10075"/>
                <a:gd name="connsiteX342" fmla="*/ 4536 w 10000"/>
                <a:gd name="connsiteY342" fmla="*/ 7508 h 10075"/>
                <a:gd name="connsiteX343" fmla="*/ 4536 w 10000"/>
                <a:gd name="connsiteY343" fmla="*/ 7611 h 10075"/>
                <a:gd name="connsiteX344" fmla="*/ 4536 w 10000"/>
                <a:gd name="connsiteY344" fmla="*/ 7720 h 10075"/>
                <a:gd name="connsiteX345" fmla="*/ 4548 w 10000"/>
                <a:gd name="connsiteY345" fmla="*/ 7833 h 10075"/>
                <a:gd name="connsiteX346" fmla="*/ 4561 w 10000"/>
                <a:gd name="connsiteY346" fmla="*/ 7894 h 10075"/>
                <a:gd name="connsiteX347" fmla="*/ 4573 w 10000"/>
                <a:gd name="connsiteY347" fmla="*/ 7948 h 10075"/>
                <a:gd name="connsiteX348" fmla="*/ 4586 w 10000"/>
                <a:gd name="connsiteY348" fmla="*/ 7996 h 10075"/>
                <a:gd name="connsiteX349" fmla="*/ 4611 w 10000"/>
                <a:gd name="connsiteY349" fmla="*/ 8038 h 10075"/>
                <a:gd name="connsiteX350" fmla="*/ 4636 w 10000"/>
                <a:gd name="connsiteY350" fmla="*/ 8081 h 10075"/>
                <a:gd name="connsiteX351" fmla="*/ 4668 w 10000"/>
                <a:gd name="connsiteY351" fmla="*/ 8111 h 10075"/>
                <a:gd name="connsiteX352" fmla="*/ 4705 w 10000"/>
                <a:gd name="connsiteY352" fmla="*/ 8135 h 10075"/>
                <a:gd name="connsiteX353" fmla="*/ 4749 w 10000"/>
                <a:gd name="connsiteY353" fmla="*/ 8147 h 10075"/>
                <a:gd name="connsiteX354" fmla="*/ 4711 w 10000"/>
                <a:gd name="connsiteY354" fmla="*/ 8243 h 10075"/>
                <a:gd name="connsiteX355" fmla="*/ 4668 w 10000"/>
                <a:gd name="connsiteY355" fmla="*/ 8328 h 10075"/>
                <a:gd name="connsiteX356" fmla="*/ 4617 w 10000"/>
                <a:gd name="connsiteY356" fmla="*/ 8406 h 10075"/>
                <a:gd name="connsiteX357" fmla="*/ 4573 w 10000"/>
                <a:gd name="connsiteY357" fmla="*/ 8478 h 10075"/>
                <a:gd name="connsiteX358" fmla="*/ 4523 w 10000"/>
                <a:gd name="connsiteY358" fmla="*/ 8563 h 10075"/>
                <a:gd name="connsiteX359" fmla="*/ 4492 w 10000"/>
                <a:gd name="connsiteY359" fmla="*/ 8641 h 10075"/>
                <a:gd name="connsiteX360" fmla="*/ 4473 w 10000"/>
                <a:gd name="connsiteY360" fmla="*/ 8677 h 10075"/>
                <a:gd name="connsiteX361" fmla="*/ 4467 w 10000"/>
                <a:gd name="connsiteY361" fmla="*/ 8720 h 10075"/>
                <a:gd name="connsiteX362" fmla="*/ 4460 w 10000"/>
                <a:gd name="connsiteY362" fmla="*/ 8768 h 10075"/>
                <a:gd name="connsiteX363" fmla="*/ 4454 w 10000"/>
                <a:gd name="connsiteY363" fmla="*/ 8810 h 10075"/>
                <a:gd name="connsiteX364" fmla="*/ 4460 w 10000"/>
                <a:gd name="connsiteY364" fmla="*/ 8827 h 10075"/>
                <a:gd name="connsiteX365" fmla="*/ 4467 w 10000"/>
                <a:gd name="connsiteY365" fmla="*/ 8839 h 10075"/>
                <a:gd name="connsiteX366" fmla="*/ 4479 w 10000"/>
                <a:gd name="connsiteY366" fmla="*/ 8851 h 10075"/>
                <a:gd name="connsiteX367" fmla="*/ 4504 w 10000"/>
                <a:gd name="connsiteY367" fmla="*/ 8863 h 10075"/>
                <a:gd name="connsiteX368" fmla="*/ 4542 w 10000"/>
                <a:gd name="connsiteY368" fmla="*/ 8887 h 10075"/>
                <a:gd name="connsiteX369" fmla="*/ 4580 w 10000"/>
                <a:gd name="connsiteY369" fmla="*/ 8893 h 10075"/>
                <a:gd name="connsiteX370" fmla="*/ 4580 w 10000"/>
                <a:gd name="connsiteY370" fmla="*/ 9111 h 10075"/>
                <a:gd name="connsiteX371" fmla="*/ 4529 w 10000"/>
                <a:gd name="connsiteY371" fmla="*/ 9196 h 10075"/>
                <a:gd name="connsiteX372" fmla="*/ 4492 w 10000"/>
                <a:gd name="connsiteY372" fmla="*/ 9286 h 10075"/>
                <a:gd name="connsiteX373" fmla="*/ 4460 w 10000"/>
                <a:gd name="connsiteY373" fmla="*/ 9321 h 10075"/>
                <a:gd name="connsiteX374" fmla="*/ 4429 w 10000"/>
                <a:gd name="connsiteY374" fmla="*/ 9346 h 10075"/>
                <a:gd name="connsiteX375" fmla="*/ 4404 w 10000"/>
                <a:gd name="connsiteY375" fmla="*/ 9358 h 10075"/>
                <a:gd name="connsiteX376" fmla="*/ 4385 w 10000"/>
                <a:gd name="connsiteY376" fmla="*/ 9364 h 10075"/>
                <a:gd name="connsiteX377" fmla="*/ 4360 w 10000"/>
                <a:gd name="connsiteY377" fmla="*/ 9370 h 10075"/>
                <a:gd name="connsiteX378" fmla="*/ 4329 w 10000"/>
                <a:gd name="connsiteY378" fmla="*/ 9370 h 10075"/>
                <a:gd name="connsiteX379" fmla="*/ 4329 w 10000"/>
                <a:gd name="connsiteY379" fmla="*/ 9418 h 10075"/>
                <a:gd name="connsiteX380" fmla="*/ 4335 w 10000"/>
                <a:gd name="connsiteY380" fmla="*/ 9478 h 10075"/>
                <a:gd name="connsiteX381" fmla="*/ 4348 w 10000"/>
                <a:gd name="connsiteY381" fmla="*/ 9508 h 10075"/>
                <a:gd name="connsiteX382" fmla="*/ 4354 w 10000"/>
                <a:gd name="connsiteY382" fmla="*/ 9532 h 10075"/>
                <a:gd name="connsiteX383" fmla="*/ 4360 w 10000"/>
                <a:gd name="connsiteY383" fmla="*/ 9551 h 10075"/>
                <a:gd name="connsiteX384" fmla="*/ 4373 w 10000"/>
                <a:gd name="connsiteY384" fmla="*/ 9557 h 10075"/>
                <a:gd name="connsiteX385" fmla="*/ 4210 w 10000"/>
                <a:gd name="connsiteY385" fmla="*/ 9683 h 10075"/>
                <a:gd name="connsiteX386" fmla="*/ 4072 w 10000"/>
                <a:gd name="connsiteY386" fmla="*/ 9787 h 10075"/>
                <a:gd name="connsiteX387" fmla="*/ 4009 w 10000"/>
                <a:gd name="connsiteY387" fmla="*/ 9846 h 10075"/>
                <a:gd name="connsiteX388" fmla="*/ 3952 w 10000"/>
                <a:gd name="connsiteY388" fmla="*/ 9912 h 10075"/>
                <a:gd name="connsiteX389" fmla="*/ 3890 w 10000"/>
                <a:gd name="connsiteY389" fmla="*/ 9991 h 10075"/>
                <a:gd name="connsiteX390" fmla="*/ 3833 w 10000"/>
                <a:gd name="connsiteY390" fmla="*/ 10075 h 10075"/>
                <a:gd name="connsiteX391" fmla="*/ 3733 w 10000"/>
                <a:gd name="connsiteY391" fmla="*/ 10033 h 10075"/>
                <a:gd name="connsiteX392" fmla="*/ 3664 w 10000"/>
                <a:gd name="connsiteY392" fmla="*/ 9991 h 10075"/>
                <a:gd name="connsiteX393" fmla="*/ 3607 w 10000"/>
                <a:gd name="connsiteY393" fmla="*/ 9948 h 10075"/>
                <a:gd name="connsiteX394" fmla="*/ 3563 w 10000"/>
                <a:gd name="connsiteY394" fmla="*/ 9900 h 10075"/>
                <a:gd name="connsiteX395" fmla="*/ 3532 w 10000"/>
                <a:gd name="connsiteY395" fmla="*/ 9840 h 10075"/>
                <a:gd name="connsiteX396" fmla="*/ 3513 w 10000"/>
                <a:gd name="connsiteY396" fmla="*/ 9781 h 10075"/>
                <a:gd name="connsiteX397" fmla="*/ 3482 w 10000"/>
                <a:gd name="connsiteY397" fmla="*/ 9707 h 10075"/>
                <a:gd name="connsiteX398" fmla="*/ 3457 w 10000"/>
                <a:gd name="connsiteY398" fmla="*/ 9635 h 10075"/>
                <a:gd name="connsiteX399" fmla="*/ 3400 w 10000"/>
                <a:gd name="connsiteY399" fmla="*/ 9496 h 10075"/>
                <a:gd name="connsiteX400" fmla="*/ 3325 w 10000"/>
                <a:gd name="connsiteY400" fmla="*/ 9364 h 10075"/>
                <a:gd name="connsiteX401" fmla="*/ 3237 w 10000"/>
                <a:gd name="connsiteY401" fmla="*/ 9226 h 10075"/>
                <a:gd name="connsiteX402" fmla="*/ 3143 w 10000"/>
                <a:gd name="connsiteY402" fmla="*/ 9081 h 10075"/>
                <a:gd name="connsiteX403" fmla="*/ 3049 w 10000"/>
                <a:gd name="connsiteY403" fmla="*/ 8948 h 10075"/>
                <a:gd name="connsiteX404" fmla="*/ 2967 w 10000"/>
                <a:gd name="connsiteY404" fmla="*/ 8816 h 10075"/>
                <a:gd name="connsiteX405" fmla="*/ 2892 w 10000"/>
                <a:gd name="connsiteY405" fmla="*/ 8696 h 10075"/>
                <a:gd name="connsiteX406" fmla="*/ 2829 w 10000"/>
                <a:gd name="connsiteY406" fmla="*/ 8593 h 10075"/>
                <a:gd name="connsiteX407" fmla="*/ 2773 w 10000"/>
                <a:gd name="connsiteY407" fmla="*/ 8478 h 10075"/>
                <a:gd name="connsiteX408" fmla="*/ 2735 w 10000"/>
                <a:gd name="connsiteY408" fmla="*/ 8376 h 10075"/>
                <a:gd name="connsiteX409" fmla="*/ 2698 w 10000"/>
                <a:gd name="connsiteY409" fmla="*/ 8268 h 10075"/>
                <a:gd name="connsiteX410" fmla="*/ 2666 w 10000"/>
                <a:gd name="connsiteY410" fmla="*/ 8159 h 10075"/>
                <a:gd name="connsiteX411" fmla="*/ 2629 w 10000"/>
                <a:gd name="connsiteY411" fmla="*/ 8050 h 10075"/>
                <a:gd name="connsiteX412" fmla="*/ 2597 w 10000"/>
                <a:gd name="connsiteY412" fmla="*/ 7942 h 10075"/>
                <a:gd name="connsiteX413" fmla="*/ 2553 w 10000"/>
                <a:gd name="connsiteY413" fmla="*/ 7821 h 10075"/>
                <a:gd name="connsiteX414" fmla="*/ 2497 w 10000"/>
                <a:gd name="connsiteY414" fmla="*/ 7702 h 10075"/>
                <a:gd name="connsiteX415" fmla="*/ 2359 w 10000"/>
                <a:gd name="connsiteY415" fmla="*/ 7508 h 10075"/>
                <a:gd name="connsiteX416" fmla="*/ 2208 w 10000"/>
                <a:gd name="connsiteY416" fmla="*/ 7327 h 10075"/>
                <a:gd name="connsiteX417" fmla="*/ 2139 w 10000"/>
                <a:gd name="connsiteY417" fmla="*/ 7244 h 10075"/>
                <a:gd name="connsiteX418" fmla="*/ 2070 w 10000"/>
                <a:gd name="connsiteY418" fmla="*/ 7147 h 10075"/>
                <a:gd name="connsiteX419" fmla="*/ 2008 w 10000"/>
                <a:gd name="connsiteY419" fmla="*/ 7057 h 10075"/>
                <a:gd name="connsiteX420" fmla="*/ 1957 w 10000"/>
                <a:gd name="connsiteY420" fmla="*/ 6960 h 10075"/>
                <a:gd name="connsiteX421" fmla="*/ 1888 w 10000"/>
                <a:gd name="connsiteY421" fmla="*/ 6725 h 10075"/>
                <a:gd name="connsiteX422" fmla="*/ 1832 w 10000"/>
                <a:gd name="connsiteY422" fmla="*/ 6508 h 10075"/>
                <a:gd name="connsiteX423" fmla="*/ 1782 w 10000"/>
                <a:gd name="connsiteY423" fmla="*/ 6298 h 10075"/>
                <a:gd name="connsiteX424" fmla="*/ 1757 w 10000"/>
                <a:gd name="connsiteY424" fmla="*/ 6086 h 10075"/>
                <a:gd name="connsiteX425" fmla="*/ 1725 w 10000"/>
                <a:gd name="connsiteY425" fmla="*/ 5881 h 10075"/>
                <a:gd name="connsiteX426" fmla="*/ 1713 w 10000"/>
                <a:gd name="connsiteY426" fmla="*/ 5665 h 10075"/>
                <a:gd name="connsiteX427" fmla="*/ 1706 w 10000"/>
                <a:gd name="connsiteY427" fmla="*/ 5442 h 10075"/>
                <a:gd name="connsiteX428" fmla="*/ 1706 w 10000"/>
                <a:gd name="connsiteY428" fmla="*/ 5219 h 10075"/>
                <a:gd name="connsiteX429" fmla="*/ 1681 w 10000"/>
                <a:gd name="connsiteY429" fmla="*/ 5213 h 10075"/>
                <a:gd name="connsiteX430" fmla="*/ 1650 w 10000"/>
                <a:gd name="connsiteY430" fmla="*/ 5207 h 10075"/>
                <a:gd name="connsiteX431" fmla="*/ 1625 w 10000"/>
                <a:gd name="connsiteY431" fmla="*/ 5201 h 10075"/>
                <a:gd name="connsiteX432" fmla="*/ 1606 w 10000"/>
                <a:gd name="connsiteY432" fmla="*/ 5177 h 10075"/>
                <a:gd name="connsiteX433" fmla="*/ 1581 w 10000"/>
                <a:gd name="connsiteY433" fmla="*/ 5165 h 10075"/>
                <a:gd name="connsiteX434" fmla="*/ 1568 w 10000"/>
                <a:gd name="connsiteY434" fmla="*/ 5147 h 10075"/>
                <a:gd name="connsiteX435" fmla="*/ 1550 w 10000"/>
                <a:gd name="connsiteY435" fmla="*/ 5123 h 10075"/>
                <a:gd name="connsiteX436" fmla="*/ 1543 w 10000"/>
                <a:gd name="connsiteY436" fmla="*/ 5099 h 10075"/>
                <a:gd name="connsiteX437" fmla="*/ 1518 w 10000"/>
                <a:gd name="connsiteY437" fmla="*/ 5050 h 10075"/>
                <a:gd name="connsiteX438" fmla="*/ 1506 w 10000"/>
                <a:gd name="connsiteY438" fmla="*/ 4996 h 10075"/>
                <a:gd name="connsiteX439" fmla="*/ 1499 w 10000"/>
                <a:gd name="connsiteY439" fmla="*/ 4936 h 10075"/>
                <a:gd name="connsiteX440" fmla="*/ 1499 w 10000"/>
                <a:gd name="connsiteY440" fmla="*/ 4882 h 10075"/>
                <a:gd name="connsiteX441" fmla="*/ 1443 w 10000"/>
                <a:gd name="connsiteY441" fmla="*/ 4918 h 10075"/>
                <a:gd name="connsiteX442" fmla="*/ 1405 w 10000"/>
                <a:gd name="connsiteY442" fmla="*/ 4960 h 10075"/>
                <a:gd name="connsiteX443" fmla="*/ 1361 w 10000"/>
                <a:gd name="connsiteY443" fmla="*/ 5002 h 10075"/>
                <a:gd name="connsiteX444" fmla="*/ 1317 w 10000"/>
                <a:gd name="connsiteY444" fmla="*/ 5050 h 10075"/>
                <a:gd name="connsiteX445" fmla="*/ 1261 w 10000"/>
                <a:gd name="connsiteY445" fmla="*/ 5147 h 10075"/>
                <a:gd name="connsiteX446" fmla="*/ 1205 w 10000"/>
                <a:gd name="connsiteY446" fmla="*/ 5249 h 10075"/>
                <a:gd name="connsiteX447" fmla="*/ 1167 w 10000"/>
                <a:gd name="connsiteY447" fmla="*/ 5292 h 10075"/>
                <a:gd name="connsiteX448" fmla="*/ 1142 w 10000"/>
                <a:gd name="connsiteY448" fmla="*/ 5333 h 10075"/>
                <a:gd name="connsiteX449" fmla="*/ 1104 w 10000"/>
                <a:gd name="connsiteY449" fmla="*/ 5375 h 10075"/>
                <a:gd name="connsiteX450" fmla="*/ 1073 w 10000"/>
                <a:gd name="connsiteY450" fmla="*/ 5405 h 10075"/>
                <a:gd name="connsiteX451" fmla="*/ 1029 w 10000"/>
                <a:gd name="connsiteY451" fmla="*/ 5436 h 10075"/>
                <a:gd name="connsiteX452" fmla="*/ 985 w 10000"/>
                <a:gd name="connsiteY452" fmla="*/ 5454 h 10075"/>
                <a:gd name="connsiteX453" fmla="*/ 928 w 10000"/>
                <a:gd name="connsiteY453" fmla="*/ 5466 h 10075"/>
                <a:gd name="connsiteX454" fmla="*/ 872 w 10000"/>
                <a:gd name="connsiteY454" fmla="*/ 5472 h 10075"/>
                <a:gd name="connsiteX455" fmla="*/ 841 w 10000"/>
                <a:gd name="connsiteY455" fmla="*/ 5466 h 10075"/>
                <a:gd name="connsiteX456" fmla="*/ 797 w 10000"/>
                <a:gd name="connsiteY456" fmla="*/ 5454 h 10075"/>
                <a:gd name="connsiteX457" fmla="*/ 753 w 10000"/>
                <a:gd name="connsiteY457" fmla="*/ 5436 h 10075"/>
                <a:gd name="connsiteX458" fmla="*/ 709 w 10000"/>
                <a:gd name="connsiteY458" fmla="*/ 5405 h 10075"/>
                <a:gd name="connsiteX459" fmla="*/ 659 w 10000"/>
                <a:gd name="connsiteY459" fmla="*/ 5369 h 10075"/>
                <a:gd name="connsiteX460" fmla="*/ 609 w 10000"/>
                <a:gd name="connsiteY460" fmla="*/ 5333 h 10075"/>
                <a:gd name="connsiteX461" fmla="*/ 565 w 10000"/>
                <a:gd name="connsiteY461" fmla="*/ 5292 h 10075"/>
                <a:gd name="connsiteX462" fmla="*/ 514 w 10000"/>
                <a:gd name="connsiteY462" fmla="*/ 5243 h 10075"/>
                <a:gd name="connsiteX463" fmla="*/ 471 w 10000"/>
                <a:gd name="connsiteY463" fmla="*/ 5195 h 10075"/>
                <a:gd name="connsiteX464" fmla="*/ 433 w 10000"/>
                <a:gd name="connsiteY464" fmla="*/ 5141 h 10075"/>
                <a:gd name="connsiteX465" fmla="*/ 389 w 10000"/>
                <a:gd name="connsiteY465" fmla="*/ 5087 h 10075"/>
                <a:gd name="connsiteX466" fmla="*/ 358 w 10000"/>
                <a:gd name="connsiteY466" fmla="*/ 5032 h 10075"/>
                <a:gd name="connsiteX467" fmla="*/ 326 w 10000"/>
                <a:gd name="connsiteY467" fmla="*/ 4984 h 10075"/>
                <a:gd name="connsiteX468" fmla="*/ 307 w 10000"/>
                <a:gd name="connsiteY468" fmla="*/ 4936 h 10075"/>
                <a:gd name="connsiteX469" fmla="*/ 295 w 10000"/>
                <a:gd name="connsiteY469" fmla="*/ 4888 h 10075"/>
                <a:gd name="connsiteX470" fmla="*/ 289 w 10000"/>
                <a:gd name="connsiteY470" fmla="*/ 4839 h 10075"/>
                <a:gd name="connsiteX471" fmla="*/ 320 w 10000"/>
                <a:gd name="connsiteY471" fmla="*/ 4821 h 10075"/>
                <a:gd name="connsiteX472" fmla="*/ 395 w 10000"/>
                <a:gd name="connsiteY472" fmla="*/ 4786 h 10075"/>
                <a:gd name="connsiteX473" fmla="*/ 483 w 10000"/>
                <a:gd name="connsiteY473" fmla="*/ 4750 h 10075"/>
                <a:gd name="connsiteX474" fmla="*/ 533 w 10000"/>
                <a:gd name="connsiteY474" fmla="*/ 4732 h 10075"/>
                <a:gd name="connsiteX475" fmla="*/ 483 w 10000"/>
                <a:gd name="connsiteY475" fmla="*/ 4732 h 10075"/>
                <a:gd name="connsiteX476" fmla="*/ 420 w 10000"/>
                <a:gd name="connsiteY476" fmla="*/ 4726 h 10075"/>
                <a:gd name="connsiteX477" fmla="*/ 370 w 10000"/>
                <a:gd name="connsiteY477" fmla="*/ 4714 h 10075"/>
                <a:gd name="connsiteX478" fmla="*/ 320 w 10000"/>
                <a:gd name="connsiteY478" fmla="*/ 4708 h 10075"/>
                <a:gd name="connsiteX479" fmla="*/ 276 w 10000"/>
                <a:gd name="connsiteY479" fmla="*/ 4689 h 10075"/>
                <a:gd name="connsiteX480" fmla="*/ 232 w 10000"/>
                <a:gd name="connsiteY480" fmla="*/ 4677 h 10075"/>
                <a:gd name="connsiteX481" fmla="*/ 188 w 10000"/>
                <a:gd name="connsiteY481" fmla="*/ 4659 h 10075"/>
                <a:gd name="connsiteX482" fmla="*/ 157 w 10000"/>
                <a:gd name="connsiteY482" fmla="*/ 4634 h 10075"/>
                <a:gd name="connsiteX483" fmla="*/ 132 w 10000"/>
                <a:gd name="connsiteY483" fmla="*/ 4610 h 10075"/>
                <a:gd name="connsiteX484" fmla="*/ 100 w 10000"/>
                <a:gd name="connsiteY484" fmla="*/ 4586 h 10075"/>
                <a:gd name="connsiteX485" fmla="*/ 75 w 10000"/>
                <a:gd name="connsiteY485" fmla="*/ 4556 h 10075"/>
                <a:gd name="connsiteX486" fmla="*/ 50 w 10000"/>
                <a:gd name="connsiteY486" fmla="*/ 4532 h 10075"/>
                <a:gd name="connsiteX487" fmla="*/ 19 w 10000"/>
                <a:gd name="connsiteY487" fmla="*/ 4460 h 10075"/>
                <a:gd name="connsiteX488" fmla="*/ 0 w 10000"/>
                <a:gd name="connsiteY488" fmla="*/ 4393 h 10075"/>
                <a:gd name="connsiteX489" fmla="*/ 63 w 10000"/>
                <a:gd name="connsiteY489" fmla="*/ 4345 h 10075"/>
                <a:gd name="connsiteX490" fmla="*/ 132 w 10000"/>
                <a:gd name="connsiteY490" fmla="*/ 4309 h 10075"/>
                <a:gd name="connsiteX491" fmla="*/ 201 w 10000"/>
                <a:gd name="connsiteY491" fmla="*/ 4280 h 10075"/>
                <a:gd name="connsiteX492" fmla="*/ 276 w 10000"/>
                <a:gd name="connsiteY492" fmla="*/ 4256 h 10075"/>
                <a:gd name="connsiteX493" fmla="*/ 420 w 10000"/>
                <a:gd name="connsiteY493" fmla="*/ 4226 h 10075"/>
                <a:gd name="connsiteX494" fmla="*/ 565 w 10000"/>
                <a:gd name="connsiteY494" fmla="*/ 4201 h 10075"/>
                <a:gd name="connsiteX495" fmla="*/ 640 w 10000"/>
                <a:gd name="connsiteY495" fmla="*/ 4189 h 10075"/>
                <a:gd name="connsiteX496" fmla="*/ 709 w 10000"/>
                <a:gd name="connsiteY496" fmla="*/ 4165 h 10075"/>
                <a:gd name="connsiteX497" fmla="*/ 772 w 10000"/>
                <a:gd name="connsiteY497" fmla="*/ 4147 h 10075"/>
                <a:gd name="connsiteX498" fmla="*/ 834 w 10000"/>
                <a:gd name="connsiteY498" fmla="*/ 4117 h 10075"/>
                <a:gd name="connsiteX499" fmla="*/ 891 w 10000"/>
                <a:gd name="connsiteY499" fmla="*/ 4087 h 10075"/>
                <a:gd name="connsiteX500" fmla="*/ 947 w 10000"/>
                <a:gd name="connsiteY500" fmla="*/ 4039 h 10075"/>
                <a:gd name="connsiteX501" fmla="*/ 997 w 10000"/>
                <a:gd name="connsiteY501" fmla="*/ 3984 h 10075"/>
                <a:gd name="connsiteX502" fmla="*/ 1035 w 10000"/>
                <a:gd name="connsiteY502" fmla="*/ 3917 h 10075"/>
                <a:gd name="connsiteX503" fmla="*/ 1010 w 10000"/>
                <a:gd name="connsiteY503" fmla="*/ 3905 h 10075"/>
                <a:gd name="connsiteX504" fmla="*/ 985 w 10000"/>
                <a:gd name="connsiteY504" fmla="*/ 3887 h 10075"/>
                <a:gd name="connsiteX505" fmla="*/ 947 w 10000"/>
                <a:gd name="connsiteY505" fmla="*/ 3863 h 10075"/>
                <a:gd name="connsiteX506" fmla="*/ 910 w 10000"/>
                <a:gd name="connsiteY506" fmla="*/ 3827 h 10075"/>
                <a:gd name="connsiteX507" fmla="*/ 822 w 10000"/>
                <a:gd name="connsiteY507" fmla="*/ 3755 h 10075"/>
                <a:gd name="connsiteX508" fmla="*/ 740 w 10000"/>
                <a:gd name="connsiteY508" fmla="*/ 3671 h 10075"/>
                <a:gd name="connsiteX509" fmla="*/ 665 w 10000"/>
                <a:gd name="connsiteY509" fmla="*/ 3580 h 10075"/>
                <a:gd name="connsiteX510" fmla="*/ 596 w 10000"/>
                <a:gd name="connsiteY510" fmla="*/ 3484 h 10075"/>
                <a:gd name="connsiteX511" fmla="*/ 577 w 10000"/>
                <a:gd name="connsiteY511" fmla="*/ 3442 h 10075"/>
                <a:gd name="connsiteX512" fmla="*/ 558 w 10000"/>
                <a:gd name="connsiteY512" fmla="*/ 3400 h 10075"/>
                <a:gd name="connsiteX513" fmla="*/ 540 w 10000"/>
                <a:gd name="connsiteY513" fmla="*/ 3357 h 10075"/>
                <a:gd name="connsiteX514" fmla="*/ 533 w 10000"/>
                <a:gd name="connsiteY514" fmla="*/ 3321 h 10075"/>
                <a:gd name="connsiteX515" fmla="*/ 508 w 10000"/>
                <a:gd name="connsiteY515" fmla="*/ 3315 h 10075"/>
                <a:gd name="connsiteX516" fmla="*/ 483 w 10000"/>
                <a:gd name="connsiteY516" fmla="*/ 3309 h 10075"/>
                <a:gd name="connsiteX517" fmla="*/ 458 w 10000"/>
                <a:gd name="connsiteY517" fmla="*/ 3297 h 10075"/>
                <a:gd name="connsiteX518" fmla="*/ 439 w 10000"/>
                <a:gd name="connsiteY518" fmla="*/ 3274 h 10075"/>
                <a:gd name="connsiteX519" fmla="*/ 402 w 10000"/>
                <a:gd name="connsiteY519" fmla="*/ 3231 h 10075"/>
                <a:gd name="connsiteX520" fmla="*/ 370 w 10000"/>
                <a:gd name="connsiteY520" fmla="*/ 3171 h 10075"/>
                <a:gd name="connsiteX521" fmla="*/ 370 w 10000"/>
                <a:gd name="connsiteY521" fmla="*/ 3026 h 10075"/>
                <a:gd name="connsiteX522" fmla="*/ 458 w 10000"/>
                <a:gd name="connsiteY522" fmla="*/ 3020 h 10075"/>
                <a:gd name="connsiteX523" fmla="*/ 540 w 10000"/>
                <a:gd name="connsiteY523" fmla="*/ 3014 h 10075"/>
                <a:gd name="connsiteX524" fmla="*/ 615 w 10000"/>
                <a:gd name="connsiteY524" fmla="*/ 3002 h 10075"/>
                <a:gd name="connsiteX525" fmla="*/ 684 w 10000"/>
                <a:gd name="connsiteY525" fmla="*/ 2978 h 10075"/>
                <a:gd name="connsiteX526" fmla="*/ 747 w 10000"/>
                <a:gd name="connsiteY526" fmla="*/ 2960 h 10075"/>
                <a:gd name="connsiteX527" fmla="*/ 809 w 10000"/>
                <a:gd name="connsiteY527" fmla="*/ 2929 h 10075"/>
                <a:gd name="connsiteX528" fmla="*/ 866 w 10000"/>
                <a:gd name="connsiteY528" fmla="*/ 2899 h 10075"/>
                <a:gd name="connsiteX529" fmla="*/ 922 w 10000"/>
                <a:gd name="connsiteY529" fmla="*/ 2863 h 10075"/>
                <a:gd name="connsiteX530" fmla="*/ 966 w 10000"/>
                <a:gd name="connsiteY530" fmla="*/ 2821 h 10075"/>
                <a:gd name="connsiteX531" fmla="*/ 1016 w 10000"/>
                <a:gd name="connsiteY531" fmla="*/ 2780 h 10075"/>
                <a:gd name="connsiteX532" fmla="*/ 1060 w 10000"/>
                <a:gd name="connsiteY532" fmla="*/ 2738 h 10075"/>
                <a:gd name="connsiteX533" fmla="*/ 1098 w 10000"/>
                <a:gd name="connsiteY533" fmla="*/ 2689 h 10075"/>
                <a:gd name="connsiteX534" fmla="*/ 1167 w 10000"/>
                <a:gd name="connsiteY534" fmla="*/ 2593 h 10075"/>
                <a:gd name="connsiteX535" fmla="*/ 1236 w 10000"/>
                <a:gd name="connsiteY535" fmla="*/ 2483 h 10075"/>
                <a:gd name="connsiteX536" fmla="*/ 1355 w 10000"/>
                <a:gd name="connsiteY536" fmla="*/ 2267 h 10075"/>
                <a:gd name="connsiteX537" fmla="*/ 1474 w 10000"/>
                <a:gd name="connsiteY537" fmla="*/ 2050 h 10075"/>
                <a:gd name="connsiteX538" fmla="*/ 1543 w 10000"/>
                <a:gd name="connsiteY538" fmla="*/ 1954 h 10075"/>
                <a:gd name="connsiteX539" fmla="*/ 1612 w 10000"/>
                <a:gd name="connsiteY539" fmla="*/ 1869 h 10075"/>
                <a:gd name="connsiteX540" fmla="*/ 1650 w 10000"/>
                <a:gd name="connsiteY540" fmla="*/ 1820 h 10075"/>
                <a:gd name="connsiteX541" fmla="*/ 1694 w 10000"/>
                <a:gd name="connsiteY541" fmla="*/ 1784 h 10075"/>
                <a:gd name="connsiteX542" fmla="*/ 1738 w 10000"/>
                <a:gd name="connsiteY542" fmla="*/ 1755 h 10075"/>
                <a:gd name="connsiteX543" fmla="*/ 1788 w 10000"/>
                <a:gd name="connsiteY543" fmla="*/ 1725 h 10075"/>
                <a:gd name="connsiteX544" fmla="*/ 1750 w 10000"/>
                <a:gd name="connsiteY544" fmla="*/ 1652 h 10075"/>
                <a:gd name="connsiteX545" fmla="*/ 1719 w 10000"/>
                <a:gd name="connsiteY545" fmla="*/ 1586 h 10075"/>
                <a:gd name="connsiteX546" fmla="*/ 1713 w 10000"/>
                <a:gd name="connsiteY546" fmla="*/ 1556 h 10075"/>
                <a:gd name="connsiteX547" fmla="*/ 1706 w 10000"/>
                <a:gd name="connsiteY547" fmla="*/ 1526 h 10075"/>
                <a:gd name="connsiteX548" fmla="*/ 1706 w 10000"/>
                <a:gd name="connsiteY548" fmla="*/ 1490 h 10075"/>
                <a:gd name="connsiteX549" fmla="*/ 1706 w 10000"/>
                <a:gd name="connsiteY549" fmla="*/ 1460 h 10075"/>
                <a:gd name="connsiteX550" fmla="*/ 1713 w 10000"/>
                <a:gd name="connsiteY550" fmla="*/ 1429 h 10075"/>
                <a:gd name="connsiteX551" fmla="*/ 1719 w 10000"/>
                <a:gd name="connsiteY551" fmla="*/ 1399 h 10075"/>
                <a:gd name="connsiteX552" fmla="*/ 1731 w 10000"/>
                <a:gd name="connsiteY552" fmla="*/ 1375 h 10075"/>
                <a:gd name="connsiteX553" fmla="*/ 1757 w 10000"/>
                <a:gd name="connsiteY553" fmla="*/ 1351 h 10075"/>
                <a:gd name="connsiteX554" fmla="*/ 1775 w 10000"/>
                <a:gd name="connsiteY554" fmla="*/ 1333 h 10075"/>
                <a:gd name="connsiteX555" fmla="*/ 1801 w 10000"/>
                <a:gd name="connsiteY555" fmla="*/ 1315 h 10075"/>
                <a:gd name="connsiteX556" fmla="*/ 1838 w 10000"/>
                <a:gd name="connsiteY556" fmla="*/ 1297 h 10075"/>
                <a:gd name="connsiteX557" fmla="*/ 1870 w 10000"/>
                <a:gd name="connsiteY557" fmla="*/ 1279 h 10075"/>
                <a:gd name="connsiteX558" fmla="*/ 1688 w 10000"/>
                <a:gd name="connsiteY558" fmla="*/ 1117 h 10075"/>
                <a:gd name="connsiteX559" fmla="*/ 1550 w 10000"/>
                <a:gd name="connsiteY559" fmla="*/ 995 h 10075"/>
                <a:gd name="connsiteX560" fmla="*/ 1487 w 10000"/>
                <a:gd name="connsiteY560" fmla="*/ 935 h 10075"/>
                <a:gd name="connsiteX561" fmla="*/ 1424 w 10000"/>
                <a:gd name="connsiteY561" fmla="*/ 869 h 10075"/>
                <a:gd name="connsiteX562" fmla="*/ 1361 w 10000"/>
                <a:gd name="connsiteY562" fmla="*/ 784 h 10075"/>
                <a:gd name="connsiteX563" fmla="*/ 1286 w 10000"/>
                <a:gd name="connsiteY563" fmla="*/ 683 h 10075"/>
                <a:gd name="connsiteX564" fmla="*/ 1286 w 10000"/>
                <a:gd name="connsiteY564" fmla="*/ 424 h 10075"/>
                <a:gd name="connsiteX565" fmla="*/ 1437 w 10000"/>
                <a:gd name="connsiteY565" fmla="*/ 424 h 10075"/>
                <a:gd name="connsiteX566" fmla="*/ 1606 w 10000"/>
                <a:gd name="connsiteY566" fmla="*/ 412 h 10075"/>
                <a:gd name="connsiteX567" fmla="*/ 1694 w 10000"/>
                <a:gd name="connsiteY567" fmla="*/ 406 h 10075"/>
                <a:gd name="connsiteX568" fmla="*/ 1539 w 10000"/>
                <a:gd name="connsiteY568" fmla="*/ 315 h 10075"/>
                <a:gd name="connsiteX569" fmla="*/ 1497 w 10000"/>
                <a:gd name="connsiteY569" fmla="*/ 238 h 10075"/>
                <a:gd name="connsiteX570" fmla="*/ 1531 w 10000"/>
                <a:gd name="connsiteY570" fmla="*/ 91 h 10075"/>
                <a:gd name="connsiteX571" fmla="*/ 1678 w 10000"/>
                <a:gd name="connsiteY571" fmla="*/ 1 h 10075"/>
                <a:gd name="connsiteX572" fmla="*/ 1842 w 10000"/>
                <a:gd name="connsiteY572" fmla="*/ 10 h 10075"/>
                <a:gd name="connsiteX573" fmla="*/ 1925 w 10000"/>
                <a:gd name="connsiteY573" fmla="*/ 6 h 10075"/>
                <a:gd name="connsiteX574" fmla="*/ 2151 w 10000"/>
                <a:gd name="connsiteY574" fmla="*/ 43 h 10075"/>
                <a:gd name="connsiteX575" fmla="*/ 2280 w 10000"/>
                <a:gd name="connsiteY575" fmla="*/ 72 h 10075"/>
                <a:gd name="connsiteX576" fmla="*/ 2385 w 10000"/>
                <a:gd name="connsiteY576" fmla="*/ 80 h 10075"/>
                <a:gd name="connsiteX577" fmla="*/ 2444 w 10000"/>
                <a:gd name="connsiteY577" fmla="*/ 109 h 10075"/>
                <a:gd name="connsiteX578" fmla="*/ 2415 w 10000"/>
                <a:gd name="connsiteY578" fmla="*/ 150 h 10075"/>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286 w 10000"/>
                <a:gd name="connsiteY564" fmla="*/ 475 h 10126"/>
                <a:gd name="connsiteX565" fmla="*/ 1437 w 10000"/>
                <a:gd name="connsiteY565" fmla="*/ 475 h 10126"/>
                <a:gd name="connsiteX566" fmla="*/ 1606 w 10000"/>
                <a:gd name="connsiteY566" fmla="*/ 463 h 10126"/>
                <a:gd name="connsiteX567" fmla="*/ 1694 w 10000"/>
                <a:gd name="connsiteY567" fmla="*/ 457 h 10126"/>
                <a:gd name="connsiteX568" fmla="*/ 1539 w 10000"/>
                <a:gd name="connsiteY568" fmla="*/ 366 h 10126"/>
                <a:gd name="connsiteX569" fmla="*/ 1497 w 10000"/>
                <a:gd name="connsiteY569" fmla="*/ 289 h 10126"/>
                <a:gd name="connsiteX570" fmla="*/ 1531 w 10000"/>
                <a:gd name="connsiteY570" fmla="*/ 142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286 w 10000"/>
                <a:gd name="connsiteY564" fmla="*/ 475 h 10126"/>
                <a:gd name="connsiteX565" fmla="*/ 1437 w 10000"/>
                <a:gd name="connsiteY565" fmla="*/ 475 h 10126"/>
                <a:gd name="connsiteX566" fmla="*/ 1606 w 10000"/>
                <a:gd name="connsiteY566" fmla="*/ 463 h 10126"/>
                <a:gd name="connsiteX567" fmla="*/ 1694 w 10000"/>
                <a:gd name="connsiteY567" fmla="*/ 457 h 10126"/>
                <a:gd name="connsiteX568" fmla="*/ 1539 w 10000"/>
                <a:gd name="connsiteY568" fmla="*/ 366 h 10126"/>
                <a:gd name="connsiteX569" fmla="*/ 1497 w 10000"/>
                <a:gd name="connsiteY569" fmla="*/ 289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286 w 10000"/>
                <a:gd name="connsiteY564" fmla="*/ 475 h 10126"/>
                <a:gd name="connsiteX565" fmla="*/ 1437 w 10000"/>
                <a:gd name="connsiteY565" fmla="*/ 475 h 10126"/>
                <a:gd name="connsiteX566" fmla="*/ 1606 w 10000"/>
                <a:gd name="connsiteY566" fmla="*/ 463 h 10126"/>
                <a:gd name="connsiteX567" fmla="*/ 1694 w 10000"/>
                <a:gd name="connsiteY567" fmla="*/ 457 h 10126"/>
                <a:gd name="connsiteX568" fmla="*/ 1539 w 10000"/>
                <a:gd name="connsiteY568" fmla="*/ 366 h 10126"/>
                <a:gd name="connsiteX569" fmla="*/ 1473 w 10000"/>
                <a:gd name="connsiteY569" fmla="*/ 302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286 w 10000"/>
                <a:gd name="connsiteY564" fmla="*/ 475 h 10126"/>
                <a:gd name="connsiteX565" fmla="*/ 1437 w 10000"/>
                <a:gd name="connsiteY565" fmla="*/ 475 h 10126"/>
                <a:gd name="connsiteX566" fmla="*/ 1606 w 10000"/>
                <a:gd name="connsiteY566" fmla="*/ 463 h 10126"/>
                <a:gd name="connsiteX567" fmla="*/ 1694 w 10000"/>
                <a:gd name="connsiteY567" fmla="*/ 457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286 w 10000"/>
                <a:gd name="connsiteY564" fmla="*/ 475 h 10126"/>
                <a:gd name="connsiteX565" fmla="*/ 1437 w 10000"/>
                <a:gd name="connsiteY565" fmla="*/ 475 h 10126"/>
                <a:gd name="connsiteX566" fmla="*/ 1606 w 10000"/>
                <a:gd name="connsiteY566" fmla="*/ 463 h 10126"/>
                <a:gd name="connsiteX567" fmla="*/ 1515 w 10000"/>
                <a:gd name="connsiteY567" fmla="*/ 418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310 w 10000"/>
                <a:gd name="connsiteY564" fmla="*/ 553 h 10126"/>
                <a:gd name="connsiteX565" fmla="*/ 1437 w 10000"/>
                <a:gd name="connsiteY565" fmla="*/ 475 h 10126"/>
                <a:gd name="connsiteX566" fmla="*/ 1606 w 10000"/>
                <a:gd name="connsiteY566" fmla="*/ 463 h 10126"/>
                <a:gd name="connsiteX567" fmla="*/ 1515 w 10000"/>
                <a:gd name="connsiteY567" fmla="*/ 418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310 w 10000"/>
                <a:gd name="connsiteY564" fmla="*/ 553 h 10126"/>
                <a:gd name="connsiteX565" fmla="*/ 1437 w 10000"/>
                <a:gd name="connsiteY565" fmla="*/ 475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415 w 10000"/>
                <a:gd name="connsiteY578" fmla="*/ 201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310 w 10000"/>
                <a:gd name="connsiteY564" fmla="*/ 553 h 10126"/>
                <a:gd name="connsiteX565" fmla="*/ 1437 w 10000"/>
                <a:gd name="connsiteY565" fmla="*/ 475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310 w 10000"/>
                <a:gd name="connsiteY564" fmla="*/ 553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286 w 10000"/>
                <a:gd name="connsiteY563" fmla="*/ 734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361 w 10000"/>
                <a:gd name="connsiteY562" fmla="*/ 835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424 w 10000"/>
                <a:gd name="connsiteY561" fmla="*/ 920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690 w 10000"/>
                <a:gd name="connsiteY0" fmla="*/ 201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383 w 10000"/>
                <a:gd name="connsiteY561" fmla="*/ 868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576 w 10000"/>
                <a:gd name="connsiteY0" fmla="*/ 149 h 10126"/>
                <a:gd name="connsiteX1" fmla="*/ 2509 w 10000"/>
                <a:gd name="connsiteY1" fmla="*/ 161 h 10126"/>
                <a:gd name="connsiteX2" fmla="*/ 2818 w 10000"/>
                <a:gd name="connsiteY2" fmla="*/ 127 h 10126"/>
                <a:gd name="connsiteX3" fmla="*/ 2776 w 10000"/>
                <a:gd name="connsiteY3" fmla="*/ 209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383 w 10000"/>
                <a:gd name="connsiteY561" fmla="*/ 868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576 w 10000"/>
                <a:gd name="connsiteY0" fmla="*/ 149 h 10126"/>
                <a:gd name="connsiteX1" fmla="*/ 2509 w 10000"/>
                <a:gd name="connsiteY1" fmla="*/ 161 h 10126"/>
                <a:gd name="connsiteX2" fmla="*/ 2818 w 10000"/>
                <a:gd name="connsiteY2" fmla="*/ 127 h 10126"/>
                <a:gd name="connsiteX3" fmla="*/ 2857 w 10000"/>
                <a:gd name="connsiteY3" fmla="*/ 131 h 10126"/>
                <a:gd name="connsiteX4" fmla="*/ 2851 w 10000"/>
                <a:gd name="connsiteY4" fmla="*/ 162 h 10126"/>
                <a:gd name="connsiteX5" fmla="*/ 2880 w 10000"/>
                <a:gd name="connsiteY5" fmla="*/ 115 h 10126"/>
                <a:gd name="connsiteX6" fmla="*/ 3155 w 10000"/>
                <a:gd name="connsiteY6" fmla="*/ 192 h 10126"/>
                <a:gd name="connsiteX7" fmla="*/ 3162 w 10000"/>
                <a:gd name="connsiteY7" fmla="*/ 346 h 10126"/>
                <a:gd name="connsiteX8" fmla="*/ 3120 w 10000"/>
                <a:gd name="connsiteY8" fmla="*/ 471 h 10126"/>
                <a:gd name="connsiteX9" fmla="*/ 3152 w 10000"/>
                <a:gd name="connsiteY9" fmla="*/ 534 h 10126"/>
                <a:gd name="connsiteX10" fmla="*/ 3093 w 10000"/>
                <a:gd name="connsiteY10" fmla="*/ 619 h 10126"/>
                <a:gd name="connsiteX11" fmla="*/ 2992 w 10000"/>
                <a:gd name="connsiteY11" fmla="*/ 710 h 10126"/>
                <a:gd name="connsiteX12" fmla="*/ 3043 w 10000"/>
                <a:gd name="connsiteY12" fmla="*/ 734 h 10126"/>
                <a:gd name="connsiteX13" fmla="*/ 3087 w 10000"/>
                <a:gd name="connsiteY13" fmla="*/ 776 h 10126"/>
                <a:gd name="connsiteX14" fmla="*/ 3130 w 10000"/>
                <a:gd name="connsiteY14" fmla="*/ 823 h 10126"/>
                <a:gd name="connsiteX15" fmla="*/ 3174 w 10000"/>
                <a:gd name="connsiteY15" fmla="*/ 872 h 10126"/>
                <a:gd name="connsiteX16" fmla="*/ 3212 w 10000"/>
                <a:gd name="connsiteY16" fmla="*/ 932 h 10126"/>
                <a:gd name="connsiteX17" fmla="*/ 3256 w 10000"/>
                <a:gd name="connsiteY17" fmla="*/ 986 h 10126"/>
                <a:gd name="connsiteX18" fmla="*/ 3281 w 10000"/>
                <a:gd name="connsiteY18" fmla="*/ 1046 h 10126"/>
                <a:gd name="connsiteX19" fmla="*/ 3312 w 10000"/>
                <a:gd name="connsiteY19" fmla="*/ 1113 h 10126"/>
                <a:gd name="connsiteX20" fmla="*/ 3331 w 10000"/>
                <a:gd name="connsiteY20" fmla="*/ 1180 h 10126"/>
                <a:gd name="connsiteX21" fmla="*/ 3043 w 10000"/>
                <a:gd name="connsiteY21" fmla="*/ 1180 h 10126"/>
                <a:gd name="connsiteX22" fmla="*/ 3043 w 10000"/>
                <a:gd name="connsiteY22" fmla="*/ 1366 h 10126"/>
                <a:gd name="connsiteX23" fmla="*/ 3074 w 10000"/>
                <a:gd name="connsiteY23" fmla="*/ 1444 h 10126"/>
                <a:gd name="connsiteX24" fmla="*/ 3118 w 10000"/>
                <a:gd name="connsiteY24" fmla="*/ 1511 h 10126"/>
                <a:gd name="connsiteX25" fmla="*/ 3168 w 10000"/>
                <a:gd name="connsiteY25" fmla="*/ 1571 h 10126"/>
                <a:gd name="connsiteX26" fmla="*/ 3225 w 10000"/>
                <a:gd name="connsiteY26" fmla="*/ 1613 h 10126"/>
                <a:gd name="connsiteX27" fmla="*/ 3281 w 10000"/>
                <a:gd name="connsiteY27" fmla="*/ 1655 h 10126"/>
                <a:gd name="connsiteX28" fmla="*/ 3350 w 10000"/>
                <a:gd name="connsiteY28" fmla="*/ 1685 h 10126"/>
                <a:gd name="connsiteX29" fmla="*/ 3413 w 10000"/>
                <a:gd name="connsiteY29" fmla="*/ 1715 h 10126"/>
                <a:gd name="connsiteX30" fmla="*/ 3488 w 10000"/>
                <a:gd name="connsiteY30" fmla="*/ 1740 h 10126"/>
                <a:gd name="connsiteX31" fmla="*/ 3626 w 10000"/>
                <a:gd name="connsiteY31" fmla="*/ 1794 h 10126"/>
                <a:gd name="connsiteX32" fmla="*/ 3764 w 10000"/>
                <a:gd name="connsiteY32" fmla="*/ 1847 h 10126"/>
                <a:gd name="connsiteX33" fmla="*/ 3827 w 10000"/>
                <a:gd name="connsiteY33" fmla="*/ 1884 h 10126"/>
                <a:gd name="connsiteX34" fmla="*/ 3890 w 10000"/>
                <a:gd name="connsiteY34" fmla="*/ 1932 h 10126"/>
                <a:gd name="connsiteX35" fmla="*/ 3946 w 10000"/>
                <a:gd name="connsiteY35" fmla="*/ 1981 h 10126"/>
                <a:gd name="connsiteX36" fmla="*/ 4003 w 10000"/>
                <a:gd name="connsiteY36" fmla="*/ 2035 h 10126"/>
                <a:gd name="connsiteX37" fmla="*/ 3959 w 10000"/>
                <a:gd name="connsiteY37" fmla="*/ 2596 h 10126"/>
                <a:gd name="connsiteX38" fmla="*/ 4034 w 10000"/>
                <a:gd name="connsiteY38" fmla="*/ 2650 h 10126"/>
                <a:gd name="connsiteX39" fmla="*/ 4141 w 10000"/>
                <a:gd name="connsiteY39" fmla="*/ 2716 h 10126"/>
                <a:gd name="connsiteX40" fmla="*/ 4260 w 10000"/>
                <a:gd name="connsiteY40" fmla="*/ 2776 h 10126"/>
                <a:gd name="connsiteX41" fmla="*/ 4398 w 10000"/>
                <a:gd name="connsiteY41" fmla="*/ 2831 h 10126"/>
                <a:gd name="connsiteX42" fmla="*/ 4536 w 10000"/>
                <a:gd name="connsiteY42" fmla="*/ 2884 h 10126"/>
                <a:gd name="connsiteX43" fmla="*/ 4668 w 10000"/>
                <a:gd name="connsiteY43" fmla="*/ 2926 h 10126"/>
                <a:gd name="connsiteX44" fmla="*/ 4724 w 10000"/>
                <a:gd name="connsiteY44" fmla="*/ 2944 h 10126"/>
                <a:gd name="connsiteX45" fmla="*/ 4780 w 10000"/>
                <a:gd name="connsiteY45" fmla="*/ 2956 h 10126"/>
                <a:gd name="connsiteX46" fmla="*/ 4831 w 10000"/>
                <a:gd name="connsiteY46" fmla="*/ 2962 h 10126"/>
                <a:gd name="connsiteX47" fmla="*/ 4875 w 10000"/>
                <a:gd name="connsiteY47" fmla="*/ 2962 h 10126"/>
                <a:gd name="connsiteX48" fmla="*/ 4887 w 10000"/>
                <a:gd name="connsiteY48" fmla="*/ 3005 h 10126"/>
                <a:gd name="connsiteX49" fmla="*/ 4918 w 10000"/>
                <a:gd name="connsiteY49" fmla="*/ 3041 h 10126"/>
                <a:gd name="connsiteX50" fmla="*/ 4950 w 10000"/>
                <a:gd name="connsiteY50" fmla="*/ 3059 h 10126"/>
                <a:gd name="connsiteX51" fmla="*/ 4987 w 10000"/>
                <a:gd name="connsiteY51" fmla="*/ 3071 h 10126"/>
                <a:gd name="connsiteX52" fmla="*/ 5019 w 10000"/>
                <a:gd name="connsiteY52" fmla="*/ 3083 h 10126"/>
                <a:gd name="connsiteX53" fmla="*/ 5063 w 10000"/>
                <a:gd name="connsiteY53" fmla="*/ 3083 h 10126"/>
                <a:gd name="connsiteX54" fmla="*/ 5107 w 10000"/>
                <a:gd name="connsiteY54" fmla="*/ 3077 h 10126"/>
                <a:gd name="connsiteX55" fmla="*/ 5157 w 10000"/>
                <a:gd name="connsiteY55" fmla="*/ 3071 h 10126"/>
                <a:gd name="connsiteX56" fmla="*/ 5245 w 10000"/>
                <a:gd name="connsiteY56" fmla="*/ 3053 h 10126"/>
                <a:gd name="connsiteX57" fmla="*/ 5345 w 10000"/>
                <a:gd name="connsiteY57" fmla="*/ 3029 h 10126"/>
                <a:gd name="connsiteX58" fmla="*/ 5383 w 10000"/>
                <a:gd name="connsiteY58" fmla="*/ 3029 h 10126"/>
                <a:gd name="connsiteX59" fmla="*/ 5427 w 10000"/>
                <a:gd name="connsiteY59" fmla="*/ 3023 h 10126"/>
                <a:gd name="connsiteX60" fmla="*/ 5464 w 10000"/>
                <a:gd name="connsiteY60" fmla="*/ 3029 h 10126"/>
                <a:gd name="connsiteX61" fmla="*/ 5502 w 10000"/>
                <a:gd name="connsiteY61" fmla="*/ 3035 h 10126"/>
                <a:gd name="connsiteX62" fmla="*/ 5558 w 10000"/>
                <a:gd name="connsiteY62" fmla="*/ 3071 h 10126"/>
                <a:gd name="connsiteX63" fmla="*/ 5596 w 10000"/>
                <a:gd name="connsiteY63" fmla="*/ 3101 h 10126"/>
                <a:gd name="connsiteX64" fmla="*/ 5634 w 10000"/>
                <a:gd name="connsiteY64" fmla="*/ 3143 h 10126"/>
                <a:gd name="connsiteX65" fmla="*/ 5665 w 10000"/>
                <a:gd name="connsiteY65" fmla="*/ 3179 h 10126"/>
                <a:gd name="connsiteX66" fmla="*/ 5696 w 10000"/>
                <a:gd name="connsiteY66" fmla="*/ 3216 h 10126"/>
                <a:gd name="connsiteX67" fmla="*/ 5734 w 10000"/>
                <a:gd name="connsiteY67" fmla="*/ 3252 h 10126"/>
                <a:gd name="connsiteX68" fmla="*/ 5759 w 10000"/>
                <a:gd name="connsiteY68" fmla="*/ 3270 h 10126"/>
                <a:gd name="connsiteX69" fmla="*/ 5778 w 10000"/>
                <a:gd name="connsiteY69" fmla="*/ 3282 h 10126"/>
                <a:gd name="connsiteX70" fmla="*/ 5803 w 10000"/>
                <a:gd name="connsiteY70" fmla="*/ 3294 h 10126"/>
                <a:gd name="connsiteX71" fmla="*/ 5834 w 10000"/>
                <a:gd name="connsiteY71" fmla="*/ 3300 h 10126"/>
                <a:gd name="connsiteX72" fmla="*/ 5935 w 10000"/>
                <a:gd name="connsiteY72" fmla="*/ 3319 h 10126"/>
                <a:gd name="connsiteX73" fmla="*/ 6073 w 10000"/>
                <a:gd name="connsiteY73" fmla="*/ 3354 h 10126"/>
                <a:gd name="connsiteX74" fmla="*/ 6230 w 10000"/>
                <a:gd name="connsiteY74" fmla="*/ 3390 h 10126"/>
                <a:gd name="connsiteX75" fmla="*/ 6405 w 10000"/>
                <a:gd name="connsiteY75" fmla="*/ 3433 h 10126"/>
                <a:gd name="connsiteX76" fmla="*/ 6568 w 10000"/>
                <a:gd name="connsiteY76" fmla="*/ 3463 h 10126"/>
                <a:gd name="connsiteX77" fmla="*/ 6719 w 10000"/>
                <a:gd name="connsiteY77" fmla="*/ 3487 h 10126"/>
                <a:gd name="connsiteX78" fmla="*/ 6788 w 10000"/>
                <a:gd name="connsiteY78" fmla="*/ 3493 h 10126"/>
                <a:gd name="connsiteX79" fmla="*/ 6838 w 10000"/>
                <a:gd name="connsiteY79" fmla="*/ 3499 h 10126"/>
                <a:gd name="connsiteX80" fmla="*/ 6888 w 10000"/>
                <a:gd name="connsiteY80" fmla="*/ 3493 h 10126"/>
                <a:gd name="connsiteX81" fmla="*/ 6913 w 10000"/>
                <a:gd name="connsiteY81" fmla="*/ 3481 h 10126"/>
                <a:gd name="connsiteX82" fmla="*/ 6888 w 10000"/>
                <a:gd name="connsiteY82" fmla="*/ 3439 h 10126"/>
                <a:gd name="connsiteX83" fmla="*/ 6857 w 10000"/>
                <a:gd name="connsiteY83" fmla="*/ 3390 h 10126"/>
                <a:gd name="connsiteX84" fmla="*/ 6838 w 10000"/>
                <a:gd name="connsiteY84" fmla="*/ 3342 h 10126"/>
                <a:gd name="connsiteX85" fmla="*/ 6826 w 10000"/>
                <a:gd name="connsiteY85" fmla="*/ 3288 h 10126"/>
                <a:gd name="connsiteX86" fmla="*/ 6794 w 10000"/>
                <a:gd name="connsiteY86" fmla="*/ 3197 h 10126"/>
                <a:gd name="connsiteX87" fmla="*/ 6788 w 10000"/>
                <a:gd name="connsiteY87" fmla="*/ 3149 h 10126"/>
                <a:gd name="connsiteX88" fmla="*/ 6788 w 10000"/>
                <a:gd name="connsiteY88" fmla="*/ 2962 h 10126"/>
                <a:gd name="connsiteX89" fmla="*/ 6788 w 10000"/>
                <a:gd name="connsiteY89" fmla="*/ 2776 h 10126"/>
                <a:gd name="connsiteX90" fmla="*/ 6995 w 10000"/>
                <a:gd name="connsiteY90" fmla="*/ 2776 h 10126"/>
                <a:gd name="connsiteX91" fmla="*/ 7033 w 10000"/>
                <a:gd name="connsiteY91" fmla="*/ 2842 h 10126"/>
                <a:gd name="connsiteX92" fmla="*/ 7058 w 10000"/>
                <a:gd name="connsiteY92" fmla="*/ 2884 h 10126"/>
                <a:gd name="connsiteX93" fmla="*/ 7095 w 10000"/>
                <a:gd name="connsiteY93" fmla="*/ 2920 h 10126"/>
                <a:gd name="connsiteX94" fmla="*/ 7127 w 10000"/>
                <a:gd name="connsiteY94" fmla="*/ 2962 h 10126"/>
                <a:gd name="connsiteX95" fmla="*/ 7120 w 10000"/>
                <a:gd name="connsiteY95" fmla="*/ 3059 h 10126"/>
                <a:gd name="connsiteX96" fmla="*/ 7102 w 10000"/>
                <a:gd name="connsiteY96" fmla="*/ 3119 h 10126"/>
                <a:gd name="connsiteX97" fmla="*/ 7089 w 10000"/>
                <a:gd name="connsiteY97" fmla="*/ 3167 h 10126"/>
                <a:gd name="connsiteX98" fmla="*/ 7077 w 10000"/>
                <a:gd name="connsiteY98" fmla="*/ 3222 h 10126"/>
                <a:gd name="connsiteX99" fmla="*/ 7208 w 10000"/>
                <a:gd name="connsiteY99" fmla="*/ 3258 h 10126"/>
                <a:gd name="connsiteX100" fmla="*/ 7334 w 10000"/>
                <a:gd name="connsiteY100" fmla="*/ 3294 h 10126"/>
                <a:gd name="connsiteX101" fmla="*/ 7396 w 10000"/>
                <a:gd name="connsiteY101" fmla="*/ 3313 h 10126"/>
                <a:gd name="connsiteX102" fmla="*/ 7459 w 10000"/>
                <a:gd name="connsiteY102" fmla="*/ 3325 h 10126"/>
                <a:gd name="connsiteX103" fmla="*/ 7522 w 10000"/>
                <a:gd name="connsiteY103" fmla="*/ 3331 h 10126"/>
                <a:gd name="connsiteX104" fmla="*/ 7585 w 10000"/>
                <a:gd name="connsiteY104" fmla="*/ 3336 h 10126"/>
                <a:gd name="connsiteX105" fmla="*/ 7591 w 10000"/>
                <a:gd name="connsiteY105" fmla="*/ 3360 h 10126"/>
                <a:gd name="connsiteX106" fmla="*/ 7604 w 10000"/>
                <a:gd name="connsiteY106" fmla="*/ 3384 h 10126"/>
                <a:gd name="connsiteX107" fmla="*/ 7622 w 10000"/>
                <a:gd name="connsiteY107" fmla="*/ 3402 h 10126"/>
                <a:gd name="connsiteX108" fmla="*/ 7654 w 10000"/>
                <a:gd name="connsiteY108" fmla="*/ 3420 h 10126"/>
                <a:gd name="connsiteX109" fmla="*/ 7704 w 10000"/>
                <a:gd name="connsiteY109" fmla="*/ 3439 h 10126"/>
                <a:gd name="connsiteX110" fmla="*/ 7748 w 10000"/>
                <a:gd name="connsiteY110" fmla="*/ 3445 h 10126"/>
                <a:gd name="connsiteX111" fmla="*/ 7798 w 10000"/>
                <a:gd name="connsiteY111" fmla="*/ 3445 h 10126"/>
                <a:gd name="connsiteX112" fmla="*/ 7836 w 10000"/>
                <a:gd name="connsiteY112" fmla="*/ 3433 h 10126"/>
                <a:gd name="connsiteX113" fmla="*/ 7880 w 10000"/>
                <a:gd name="connsiteY113" fmla="*/ 3414 h 10126"/>
                <a:gd name="connsiteX114" fmla="*/ 7911 w 10000"/>
                <a:gd name="connsiteY114" fmla="*/ 3396 h 10126"/>
                <a:gd name="connsiteX115" fmla="*/ 7949 w 10000"/>
                <a:gd name="connsiteY115" fmla="*/ 3372 h 10126"/>
                <a:gd name="connsiteX116" fmla="*/ 7980 w 10000"/>
                <a:gd name="connsiteY116" fmla="*/ 3342 h 10126"/>
                <a:gd name="connsiteX117" fmla="*/ 8011 w 10000"/>
                <a:gd name="connsiteY117" fmla="*/ 3313 h 10126"/>
                <a:gd name="connsiteX118" fmla="*/ 8036 w 10000"/>
                <a:gd name="connsiteY118" fmla="*/ 3282 h 10126"/>
                <a:gd name="connsiteX119" fmla="*/ 8087 w 10000"/>
                <a:gd name="connsiteY119" fmla="*/ 3203 h 10126"/>
                <a:gd name="connsiteX120" fmla="*/ 8118 w 10000"/>
                <a:gd name="connsiteY120" fmla="*/ 3131 h 10126"/>
                <a:gd name="connsiteX121" fmla="*/ 8149 w 10000"/>
                <a:gd name="connsiteY121" fmla="*/ 3065 h 10126"/>
                <a:gd name="connsiteX122" fmla="*/ 8168 w 10000"/>
                <a:gd name="connsiteY122" fmla="*/ 2999 h 10126"/>
                <a:gd name="connsiteX123" fmla="*/ 8231 w 10000"/>
                <a:gd name="connsiteY123" fmla="*/ 2932 h 10126"/>
                <a:gd name="connsiteX124" fmla="*/ 8294 w 10000"/>
                <a:gd name="connsiteY124" fmla="*/ 2866 h 10126"/>
                <a:gd name="connsiteX125" fmla="*/ 8363 w 10000"/>
                <a:gd name="connsiteY125" fmla="*/ 2813 h 10126"/>
                <a:gd name="connsiteX126" fmla="*/ 8432 w 10000"/>
                <a:gd name="connsiteY126" fmla="*/ 2752 h 10126"/>
                <a:gd name="connsiteX127" fmla="*/ 8507 w 10000"/>
                <a:gd name="connsiteY127" fmla="*/ 2704 h 10126"/>
                <a:gd name="connsiteX128" fmla="*/ 8576 w 10000"/>
                <a:gd name="connsiteY128" fmla="*/ 2656 h 10126"/>
                <a:gd name="connsiteX129" fmla="*/ 8651 w 10000"/>
                <a:gd name="connsiteY129" fmla="*/ 2614 h 10126"/>
                <a:gd name="connsiteX130" fmla="*/ 8726 w 10000"/>
                <a:gd name="connsiteY130" fmla="*/ 2570 h 10126"/>
                <a:gd name="connsiteX131" fmla="*/ 8808 w 10000"/>
                <a:gd name="connsiteY131" fmla="*/ 2528 h 10126"/>
                <a:gd name="connsiteX132" fmla="*/ 8890 w 10000"/>
                <a:gd name="connsiteY132" fmla="*/ 2492 h 10126"/>
                <a:gd name="connsiteX133" fmla="*/ 8971 w 10000"/>
                <a:gd name="connsiteY133" fmla="*/ 2462 h 10126"/>
                <a:gd name="connsiteX134" fmla="*/ 9059 w 10000"/>
                <a:gd name="connsiteY134" fmla="*/ 2432 h 10126"/>
                <a:gd name="connsiteX135" fmla="*/ 9235 w 10000"/>
                <a:gd name="connsiteY135" fmla="*/ 2378 h 10126"/>
                <a:gd name="connsiteX136" fmla="*/ 9417 w 10000"/>
                <a:gd name="connsiteY136" fmla="*/ 2335 h 10126"/>
                <a:gd name="connsiteX137" fmla="*/ 9454 w 10000"/>
                <a:gd name="connsiteY137" fmla="*/ 2384 h 10126"/>
                <a:gd name="connsiteX138" fmla="*/ 9504 w 10000"/>
                <a:gd name="connsiteY138" fmla="*/ 2444 h 10126"/>
                <a:gd name="connsiteX139" fmla="*/ 9573 w 10000"/>
                <a:gd name="connsiteY139" fmla="*/ 2510 h 10126"/>
                <a:gd name="connsiteX140" fmla="*/ 9642 w 10000"/>
                <a:gd name="connsiteY140" fmla="*/ 2583 h 10126"/>
                <a:gd name="connsiteX141" fmla="*/ 9718 w 10000"/>
                <a:gd name="connsiteY141" fmla="*/ 2644 h 10126"/>
                <a:gd name="connsiteX142" fmla="*/ 9799 w 10000"/>
                <a:gd name="connsiteY142" fmla="*/ 2692 h 10126"/>
                <a:gd name="connsiteX143" fmla="*/ 9837 w 10000"/>
                <a:gd name="connsiteY143" fmla="*/ 2716 h 10126"/>
                <a:gd name="connsiteX144" fmla="*/ 9875 w 10000"/>
                <a:gd name="connsiteY144" fmla="*/ 2728 h 10126"/>
                <a:gd name="connsiteX145" fmla="*/ 9918 w 10000"/>
                <a:gd name="connsiteY145" fmla="*/ 2740 h 10126"/>
                <a:gd name="connsiteX146" fmla="*/ 9956 w 10000"/>
                <a:gd name="connsiteY146" fmla="*/ 2740 h 10126"/>
                <a:gd name="connsiteX147" fmla="*/ 10000 w 10000"/>
                <a:gd name="connsiteY147" fmla="*/ 2668 h 10126"/>
                <a:gd name="connsiteX148" fmla="*/ 9975 w 10000"/>
                <a:gd name="connsiteY148" fmla="*/ 2795 h 10126"/>
                <a:gd name="connsiteX149" fmla="*/ 9944 w 10000"/>
                <a:gd name="connsiteY149" fmla="*/ 2938 h 10126"/>
                <a:gd name="connsiteX150" fmla="*/ 9931 w 10000"/>
                <a:gd name="connsiteY150" fmla="*/ 3005 h 10126"/>
                <a:gd name="connsiteX151" fmla="*/ 9906 w 10000"/>
                <a:gd name="connsiteY151" fmla="*/ 3065 h 10126"/>
                <a:gd name="connsiteX152" fmla="*/ 9887 w 10000"/>
                <a:gd name="connsiteY152" fmla="*/ 3089 h 10126"/>
                <a:gd name="connsiteX153" fmla="*/ 9875 w 10000"/>
                <a:gd name="connsiteY153" fmla="*/ 3113 h 10126"/>
                <a:gd name="connsiteX154" fmla="*/ 9856 w 10000"/>
                <a:gd name="connsiteY154" fmla="*/ 3131 h 10126"/>
                <a:gd name="connsiteX155" fmla="*/ 9837 w 10000"/>
                <a:gd name="connsiteY155" fmla="*/ 3149 h 10126"/>
                <a:gd name="connsiteX156" fmla="*/ 9749 w 10000"/>
                <a:gd name="connsiteY156" fmla="*/ 3167 h 10126"/>
                <a:gd name="connsiteX157" fmla="*/ 9605 w 10000"/>
                <a:gd name="connsiteY157" fmla="*/ 3216 h 10126"/>
                <a:gd name="connsiteX158" fmla="*/ 9536 w 10000"/>
                <a:gd name="connsiteY158" fmla="*/ 3258 h 10126"/>
                <a:gd name="connsiteX159" fmla="*/ 9479 w 10000"/>
                <a:gd name="connsiteY159" fmla="*/ 3294 h 10126"/>
                <a:gd name="connsiteX160" fmla="*/ 9448 w 10000"/>
                <a:gd name="connsiteY160" fmla="*/ 3313 h 10126"/>
                <a:gd name="connsiteX161" fmla="*/ 9435 w 10000"/>
                <a:gd name="connsiteY161" fmla="*/ 3331 h 10126"/>
                <a:gd name="connsiteX162" fmla="*/ 9423 w 10000"/>
                <a:gd name="connsiteY162" fmla="*/ 3354 h 10126"/>
                <a:gd name="connsiteX163" fmla="*/ 9417 w 10000"/>
                <a:gd name="connsiteY163" fmla="*/ 3372 h 10126"/>
                <a:gd name="connsiteX164" fmla="*/ 9423 w 10000"/>
                <a:gd name="connsiteY164" fmla="*/ 3583 h 10126"/>
                <a:gd name="connsiteX165" fmla="*/ 9417 w 10000"/>
                <a:gd name="connsiteY165" fmla="*/ 3824 h 10126"/>
                <a:gd name="connsiteX166" fmla="*/ 9398 w 10000"/>
                <a:gd name="connsiteY166" fmla="*/ 3884 h 10126"/>
                <a:gd name="connsiteX167" fmla="*/ 9391 w 10000"/>
                <a:gd name="connsiteY167" fmla="*/ 3950 h 10126"/>
                <a:gd name="connsiteX168" fmla="*/ 9379 w 10000"/>
                <a:gd name="connsiteY168" fmla="*/ 4004 h 10126"/>
                <a:gd name="connsiteX169" fmla="*/ 9366 w 10000"/>
                <a:gd name="connsiteY169" fmla="*/ 4059 h 10126"/>
                <a:gd name="connsiteX170" fmla="*/ 9348 w 10000"/>
                <a:gd name="connsiteY170" fmla="*/ 4108 h 10126"/>
                <a:gd name="connsiteX171" fmla="*/ 9316 w 10000"/>
                <a:gd name="connsiteY171" fmla="*/ 4156 h 10126"/>
                <a:gd name="connsiteX172" fmla="*/ 9285 w 10000"/>
                <a:gd name="connsiteY172" fmla="*/ 4192 h 10126"/>
                <a:gd name="connsiteX173" fmla="*/ 9247 w 10000"/>
                <a:gd name="connsiteY173" fmla="*/ 4222 h 10126"/>
                <a:gd name="connsiteX174" fmla="*/ 9228 w 10000"/>
                <a:gd name="connsiteY174" fmla="*/ 4240 h 10126"/>
                <a:gd name="connsiteX175" fmla="*/ 9184 w 10000"/>
                <a:gd name="connsiteY175" fmla="*/ 4246 h 10126"/>
                <a:gd name="connsiteX176" fmla="*/ 9141 w 10000"/>
                <a:gd name="connsiteY176" fmla="*/ 4252 h 10126"/>
                <a:gd name="connsiteX177" fmla="*/ 9090 w 10000"/>
                <a:gd name="connsiteY177" fmla="*/ 4258 h 10126"/>
                <a:gd name="connsiteX178" fmla="*/ 9040 w 10000"/>
                <a:gd name="connsiteY178" fmla="*/ 4264 h 10126"/>
                <a:gd name="connsiteX179" fmla="*/ 8996 w 10000"/>
                <a:gd name="connsiteY179" fmla="*/ 4283 h 10126"/>
                <a:gd name="connsiteX180" fmla="*/ 8977 w 10000"/>
                <a:gd name="connsiteY180" fmla="*/ 4289 h 10126"/>
                <a:gd name="connsiteX181" fmla="*/ 8965 w 10000"/>
                <a:gd name="connsiteY181" fmla="*/ 4307 h 10126"/>
                <a:gd name="connsiteX182" fmla="*/ 8959 w 10000"/>
                <a:gd name="connsiteY182" fmla="*/ 4319 h 10126"/>
                <a:gd name="connsiteX183" fmla="*/ 8959 w 10000"/>
                <a:gd name="connsiteY183" fmla="*/ 4337 h 10126"/>
                <a:gd name="connsiteX184" fmla="*/ 8952 w 10000"/>
                <a:gd name="connsiteY184" fmla="*/ 4408 h 10126"/>
                <a:gd name="connsiteX185" fmla="*/ 8952 w 10000"/>
                <a:gd name="connsiteY185" fmla="*/ 4493 h 10126"/>
                <a:gd name="connsiteX186" fmla="*/ 8940 w 10000"/>
                <a:gd name="connsiteY186" fmla="*/ 4583 h 10126"/>
                <a:gd name="connsiteX187" fmla="*/ 8927 w 10000"/>
                <a:gd name="connsiteY187" fmla="*/ 4667 h 10126"/>
                <a:gd name="connsiteX188" fmla="*/ 8908 w 10000"/>
                <a:gd name="connsiteY188" fmla="*/ 4753 h 10126"/>
                <a:gd name="connsiteX189" fmla="*/ 8890 w 10000"/>
                <a:gd name="connsiteY189" fmla="*/ 4831 h 10126"/>
                <a:gd name="connsiteX190" fmla="*/ 8864 w 10000"/>
                <a:gd name="connsiteY190" fmla="*/ 4902 h 10126"/>
                <a:gd name="connsiteX191" fmla="*/ 8833 w 10000"/>
                <a:gd name="connsiteY191" fmla="*/ 4969 h 10126"/>
                <a:gd name="connsiteX192" fmla="*/ 8538 w 10000"/>
                <a:gd name="connsiteY192" fmla="*/ 4480 h 10126"/>
                <a:gd name="connsiteX193" fmla="*/ 8526 w 10000"/>
                <a:gd name="connsiteY193" fmla="*/ 4505 h 10126"/>
                <a:gd name="connsiteX194" fmla="*/ 8494 w 10000"/>
                <a:gd name="connsiteY194" fmla="*/ 4559 h 10126"/>
                <a:gd name="connsiteX195" fmla="*/ 8463 w 10000"/>
                <a:gd name="connsiteY195" fmla="*/ 4589 h 10126"/>
                <a:gd name="connsiteX196" fmla="*/ 8438 w 10000"/>
                <a:gd name="connsiteY196" fmla="*/ 4613 h 10126"/>
                <a:gd name="connsiteX197" fmla="*/ 8407 w 10000"/>
                <a:gd name="connsiteY197" fmla="*/ 4631 h 10126"/>
                <a:gd name="connsiteX198" fmla="*/ 8375 w 10000"/>
                <a:gd name="connsiteY198" fmla="*/ 4637 h 10126"/>
                <a:gd name="connsiteX199" fmla="*/ 8338 w 10000"/>
                <a:gd name="connsiteY199" fmla="*/ 4631 h 10126"/>
                <a:gd name="connsiteX200" fmla="*/ 8312 w 10000"/>
                <a:gd name="connsiteY200" fmla="*/ 4625 h 10126"/>
                <a:gd name="connsiteX201" fmla="*/ 8287 w 10000"/>
                <a:gd name="connsiteY201" fmla="*/ 4607 h 10126"/>
                <a:gd name="connsiteX202" fmla="*/ 8256 w 10000"/>
                <a:gd name="connsiteY202" fmla="*/ 4589 h 10126"/>
                <a:gd name="connsiteX203" fmla="*/ 8237 w 10000"/>
                <a:gd name="connsiteY203" fmla="*/ 4559 h 10126"/>
                <a:gd name="connsiteX204" fmla="*/ 8225 w 10000"/>
                <a:gd name="connsiteY204" fmla="*/ 4535 h 10126"/>
                <a:gd name="connsiteX205" fmla="*/ 8206 w 10000"/>
                <a:gd name="connsiteY205" fmla="*/ 4511 h 10126"/>
                <a:gd name="connsiteX206" fmla="*/ 8206 w 10000"/>
                <a:gd name="connsiteY206" fmla="*/ 4480 h 10126"/>
                <a:gd name="connsiteX207" fmla="*/ 8206 w 10000"/>
                <a:gd name="connsiteY207" fmla="*/ 4444 h 10126"/>
                <a:gd name="connsiteX208" fmla="*/ 8225 w 10000"/>
                <a:gd name="connsiteY208" fmla="*/ 4408 h 10126"/>
                <a:gd name="connsiteX209" fmla="*/ 8237 w 10000"/>
                <a:gd name="connsiteY209" fmla="*/ 4372 h 10126"/>
                <a:gd name="connsiteX210" fmla="*/ 8250 w 10000"/>
                <a:gd name="connsiteY210" fmla="*/ 4337 h 10126"/>
                <a:gd name="connsiteX211" fmla="*/ 8300 w 10000"/>
                <a:gd name="connsiteY211" fmla="*/ 4270 h 10126"/>
                <a:gd name="connsiteX212" fmla="*/ 8356 w 10000"/>
                <a:gd name="connsiteY212" fmla="*/ 4204 h 10126"/>
                <a:gd name="connsiteX213" fmla="*/ 8407 w 10000"/>
                <a:gd name="connsiteY213" fmla="*/ 4144 h 10126"/>
                <a:gd name="connsiteX214" fmla="*/ 8457 w 10000"/>
                <a:gd name="connsiteY214" fmla="*/ 4078 h 10126"/>
                <a:gd name="connsiteX215" fmla="*/ 8469 w 10000"/>
                <a:gd name="connsiteY215" fmla="*/ 4041 h 10126"/>
                <a:gd name="connsiteX216" fmla="*/ 8482 w 10000"/>
                <a:gd name="connsiteY216" fmla="*/ 4010 h 10126"/>
                <a:gd name="connsiteX217" fmla="*/ 8501 w 10000"/>
                <a:gd name="connsiteY217" fmla="*/ 3968 h 10126"/>
                <a:gd name="connsiteX218" fmla="*/ 8501 w 10000"/>
                <a:gd name="connsiteY218" fmla="*/ 3932 h 10126"/>
                <a:gd name="connsiteX219" fmla="*/ 7748 w 10000"/>
                <a:gd name="connsiteY219" fmla="*/ 3932 h 10126"/>
                <a:gd name="connsiteX220" fmla="*/ 7723 w 10000"/>
                <a:gd name="connsiteY220" fmla="*/ 3926 h 10126"/>
                <a:gd name="connsiteX221" fmla="*/ 7685 w 10000"/>
                <a:gd name="connsiteY221" fmla="*/ 3908 h 10126"/>
                <a:gd name="connsiteX222" fmla="*/ 7660 w 10000"/>
                <a:gd name="connsiteY222" fmla="*/ 3872 h 10126"/>
                <a:gd name="connsiteX223" fmla="*/ 7635 w 10000"/>
                <a:gd name="connsiteY223" fmla="*/ 3836 h 10126"/>
                <a:gd name="connsiteX224" fmla="*/ 7616 w 10000"/>
                <a:gd name="connsiteY224" fmla="*/ 3788 h 10126"/>
                <a:gd name="connsiteX225" fmla="*/ 7597 w 10000"/>
                <a:gd name="connsiteY225" fmla="*/ 3740 h 10126"/>
                <a:gd name="connsiteX226" fmla="*/ 7591 w 10000"/>
                <a:gd name="connsiteY226" fmla="*/ 3686 h 10126"/>
                <a:gd name="connsiteX227" fmla="*/ 7585 w 10000"/>
                <a:gd name="connsiteY227" fmla="*/ 3631 h 10126"/>
                <a:gd name="connsiteX228" fmla="*/ 7547 w 10000"/>
                <a:gd name="connsiteY228" fmla="*/ 3631 h 10126"/>
                <a:gd name="connsiteX229" fmla="*/ 7516 w 10000"/>
                <a:gd name="connsiteY229" fmla="*/ 3625 h 10126"/>
                <a:gd name="connsiteX230" fmla="*/ 7478 w 10000"/>
                <a:gd name="connsiteY230" fmla="*/ 3619 h 10126"/>
                <a:gd name="connsiteX231" fmla="*/ 7447 w 10000"/>
                <a:gd name="connsiteY231" fmla="*/ 3607 h 10126"/>
                <a:gd name="connsiteX232" fmla="*/ 7415 w 10000"/>
                <a:gd name="connsiteY232" fmla="*/ 3589 h 10126"/>
                <a:gd name="connsiteX233" fmla="*/ 7396 w 10000"/>
                <a:gd name="connsiteY233" fmla="*/ 3571 h 10126"/>
                <a:gd name="connsiteX234" fmla="*/ 7384 w 10000"/>
                <a:gd name="connsiteY234" fmla="*/ 3541 h 10126"/>
                <a:gd name="connsiteX235" fmla="*/ 7378 w 10000"/>
                <a:gd name="connsiteY235" fmla="*/ 3517 h 10126"/>
                <a:gd name="connsiteX236" fmla="*/ 7321 w 10000"/>
                <a:gd name="connsiteY236" fmla="*/ 3517 h 10126"/>
                <a:gd name="connsiteX237" fmla="*/ 7271 w 10000"/>
                <a:gd name="connsiteY237" fmla="*/ 3517 h 10126"/>
                <a:gd name="connsiteX238" fmla="*/ 7221 w 10000"/>
                <a:gd name="connsiteY238" fmla="*/ 3517 h 10126"/>
                <a:gd name="connsiteX239" fmla="*/ 7171 w 10000"/>
                <a:gd name="connsiteY239" fmla="*/ 3517 h 10126"/>
                <a:gd name="connsiteX240" fmla="*/ 7127 w 10000"/>
                <a:gd name="connsiteY240" fmla="*/ 3523 h 10126"/>
                <a:gd name="connsiteX241" fmla="*/ 7095 w 10000"/>
                <a:gd name="connsiteY241" fmla="*/ 3529 h 10126"/>
                <a:gd name="connsiteX242" fmla="*/ 7051 w 10000"/>
                <a:gd name="connsiteY242" fmla="*/ 3547 h 10126"/>
                <a:gd name="connsiteX243" fmla="*/ 7008 w 10000"/>
                <a:gd name="connsiteY243" fmla="*/ 3571 h 10126"/>
                <a:gd name="connsiteX244" fmla="*/ 6976 w 10000"/>
                <a:gd name="connsiteY244" fmla="*/ 3601 h 10126"/>
                <a:gd name="connsiteX245" fmla="*/ 6939 w 10000"/>
                <a:gd name="connsiteY245" fmla="*/ 3631 h 10126"/>
                <a:gd name="connsiteX246" fmla="*/ 6920 w 10000"/>
                <a:gd name="connsiteY246" fmla="*/ 3668 h 10126"/>
                <a:gd name="connsiteX247" fmla="*/ 6913 w 10000"/>
                <a:gd name="connsiteY247" fmla="*/ 3704 h 10126"/>
                <a:gd name="connsiteX248" fmla="*/ 6926 w 10000"/>
                <a:gd name="connsiteY248" fmla="*/ 3728 h 10126"/>
                <a:gd name="connsiteX249" fmla="*/ 6964 w 10000"/>
                <a:gd name="connsiteY249" fmla="*/ 3758 h 10126"/>
                <a:gd name="connsiteX250" fmla="*/ 7008 w 10000"/>
                <a:gd name="connsiteY250" fmla="*/ 3794 h 10126"/>
                <a:gd name="connsiteX251" fmla="*/ 7070 w 10000"/>
                <a:gd name="connsiteY251" fmla="*/ 3830 h 10126"/>
                <a:gd name="connsiteX252" fmla="*/ 7133 w 10000"/>
                <a:gd name="connsiteY252" fmla="*/ 3866 h 10126"/>
                <a:gd name="connsiteX253" fmla="*/ 7196 w 10000"/>
                <a:gd name="connsiteY253" fmla="*/ 3896 h 10126"/>
                <a:gd name="connsiteX254" fmla="*/ 7252 w 10000"/>
                <a:gd name="connsiteY254" fmla="*/ 3920 h 10126"/>
                <a:gd name="connsiteX255" fmla="*/ 7290 w 10000"/>
                <a:gd name="connsiteY255" fmla="*/ 3932 h 10126"/>
                <a:gd name="connsiteX256" fmla="*/ 7208 w 10000"/>
                <a:gd name="connsiteY256" fmla="*/ 3992 h 10126"/>
                <a:gd name="connsiteX257" fmla="*/ 7114 w 10000"/>
                <a:gd name="connsiteY257" fmla="*/ 4066 h 10126"/>
                <a:gd name="connsiteX258" fmla="*/ 7070 w 10000"/>
                <a:gd name="connsiteY258" fmla="*/ 4102 h 10126"/>
                <a:gd name="connsiteX259" fmla="*/ 7033 w 10000"/>
                <a:gd name="connsiteY259" fmla="*/ 4144 h 10126"/>
                <a:gd name="connsiteX260" fmla="*/ 7020 w 10000"/>
                <a:gd name="connsiteY260" fmla="*/ 4162 h 10126"/>
                <a:gd name="connsiteX261" fmla="*/ 7008 w 10000"/>
                <a:gd name="connsiteY261" fmla="*/ 4180 h 10126"/>
                <a:gd name="connsiteX262" fmla="*/ 7001 w 10000"/>
                <a:gd name="connsiteY262" fmla="*/ 4204 h 10126"/>
                <a:gd name="connsiteX263" fmla="*/ 6995 w 10000"/>
                <a:gd name="connsiteY263" fmla="*/ 4222 h 10126"/>
                <a:gd name="connsiteX264" fmla="*/ 7001 w 10000"/>
                <a:gd name="connsiteY264" fmla="*/ 4252 h 10126"/>
                <a:gd name="connsiteX265" fmla="*/ 7008 w 10000"/>
                <a:gd name="connsiteY265" fmla="*/ 4270 h 10126"/>
                <a:gd name="connsiteX266" fmla="*/ 7026 w 10000"/>
                <a:gd name="connsiteY266" fmla="*/ 4295 h 10126"/>
                <a:gd name="connsiteX267" fmla="*/ 7039 w 10000"/>
                <a:gd name="connsiteY267" fmla="*/ 4319 h 10126"/>
                <a:gd name="connsiteX268" fmla="*/ 7089 w 10000"/>
                <a:gd name="connsiteY268" fmla="*/ 4366 h 10126"/>
                <a:gd name="connsiteX269" fmla="*/ 7146 w 10000"/>
                <a:gd name="connsiteY269" fmla="*/ 4414 h 10126"/>
                <a:gd name="connsiteX270" fmla="*/ 7208 w 10000"/>
                <a:gd name="connsiteY270" fmla="*/ 4456 h 10126"/>
                <a:gd name="connsiteX271" fmla="*/ 7277 w 10000"/>
                <a:gd name="connsiteY271" fmla="*/ 4493 h 10126"/>
                <a:gd name="connsiteX272" fmla="*/ 7315 w 10000"/>
                <a:gd name="connsiteY272" fmla="*/ 4505 h 10126"/>
                <a:gd name="connsiteX273" fmla="*/ 7346 w 10000"/>
                <a:gd name="connsiteY273" fmla="*/ 4511 h 10126"/>
                <a:gd name="connsiteX274" fmla="*/ 7384 w 10000"/>
                <a:gd name="connsiteY274" fmla="*/ 4517 h 10126"/>
                <a:gd name="connsiteX275" fmla="*/ 7415 w 10000"/>
                <a:gd name="connsiteY275" fmla="*/ 4523 h 10126"/>
                <a:gd name="connsiteX276" fmla="*/ 7585 w 10000"/>
                <a:gd name="connsiteY276" fmla="*/ 5150 h 10126"/>
                <a:gd name="connsiteX277" fmla="*/ 7491 w 10000"/>
                <a:gd name="connsiteY277" fmla="*/ 5150 h 10126"/>
                <a:gd name="connsiteX278" fmla="*/ 7403 w 10000"/>
                <a:gd name="connsiteY278" fmla="*/ 5150 h 10126"/>
                <a:gd name="connsiteX279" fmla="*/ 7321 w 10000"/>
                <a:gd name="connsiteY279" fmla="*/ 5150 h 10126"/>
                <a:gd name="connsiteX280" fmla="*/ 7252 w 10000"/>
                <a:gd name="connsiteY280" fmla="*/ 5150 h 10126"/>
                <a:gd name="connsiteX281" fmla="*/ 7208 w 10000"/>
                <a:gd name="connsiteY281" fmla="*/ 5144 h 10126"/>
                <a:gd name="connsiteX282" fmla="*/ 7164 w 10000"/>
                <a:gd name="connsiteY282" fmla="*/ 5113 h 10126"/>
                <a:gd name="connsiteX283" fmla="*/ 7133 w 10000"/>
                <a:gd name="connsiteY283" fmla="*/ 5101 h 10126"/>
                <a:gd name="connsiteX284" fmla="*/ 7102 w 10000"/>
                <a:gd name="connsiteY284" fmla="*/ 5089 h 10126"/>
                <a:gd name="connsiteX285" fmla="*/ 7070 w 10000"/>
                <a:gd name="connsiteY285" fmla="*/ 5083 h 10126"/>
                <a:gd name="connsiteX286" fmla="*/ 7039 w 10000"/>
                <a:gd name="connsiteY286" fmla="*/ 5077 h 10126"/>
                <a:gd name="connsiteX287" fmla="*/ 7008 w 10000"/>
                <a:gd name="connsiteY287" fmla="*/ 5089 h 10126"/>
                <a:gd name="connsiteX288" fmla="*/ 6957 w 10000"/>
                <a:gd name="connsiteY288" fmla="*/ 5119 h 10126"/>
                <a:gd name="connsiteX289" fmla="*/ 6895 w 10000"/>
                <a:gd name="connsiteY289" fmla="*/ 5162 h 10126"/>
                <a:gd name="connsiteX290" fmla="*/ 6819 w 10000"/>
                <a:gd name="connsiteY290" fmla="*/ 5210 h 10126"/>
                <a:gd name="connsiteX291" fmla="*/ 6744 w 10000"/>
                <a:gd name="connsiteY291" fmla="*/ 5270 h 10126"/>
                <a:gd name="connsiteX292" fmla="*/ 6681 w 10000"/>
                <a:gd name="connsiteY292" fmla="*/ 5318 h 10126"/>
                <a:gd name="connsiteX293" fmla="*/ 6637 w 10000"/>
                <a:gd name="connsiteY293" fmla="*/ 5354 h 10126"/>
                <a:gd name="connsiteX294" fmla="*/ 6625 w 10000"/>
                <a:gd name="connsiteY294" fmla="*/ 5378 h 10126"/>
                <a:gd name="connsiteX295" fmla="*/ 6750 w 10000"/>
                <a:gd name="connsiteY295" fmla="*/ 5450 h 10126"/>
                <a:gd name="connsiteX296" fmla="*/ 6744 w 10000"/>
                <a:gd name="connsiteY296" fmla="*/ 5487 h 10126"/>
                <a:gd name="connsiteX297" fmla="*/ 6725 w 10000"/>
                <a:gd name="connsiteY297" fmla="*/ 5529 h 10126"/>
                <a:gd name="connsiteX298" fmla="*/ 6706 w 10000"/>
                <a:gd name="connsiteY298" fmla="*/ 5560 h 10126"/>
                <a:gd name="connsiteX299" fmla="*/ 6688 w 10000"/>
                <a:gd name="connsiteY299" fmla="*/ 5602 h 10126"/>
                <a:gd name="connsiteX300" fmla="*/ 6637 w 10000"/>
                <a:gd name="connsiteY300" fmla="*/ 5656 h 10126"/>
                <a:gd name="connsiteX301" fmla="*/ 6581 w 10000"/>
                <a:gd name="connsiteY301" fmla="*/ 5710 h 10126"/>
                <a:gd name="connsiteX302" fmla="*/ 6518 w 10000"/>
                <a:gd name="connsiteY302" fmla="*/ 5758 h 10126"/>
                <a:gd name="connsiteX303" fmla="*/ 6443 w 10000"/>
                <a:gd name="connsiteY303" fmla="*/ 5801 h 10126"/>
                <a:gd name="connsiteX304" fmla="*/ 6374 w 10000"/>
                <a:gd name="connsiteY304" fmla="*/ 5837 h 10126"/>
                <a:gd name="connsiteX305" fmla="*/ 6299 w 10000"/>
                <a:gd name="connsiteY305" fmla="*/ 5872 h 10126"/>
                <a:gd name="connsiteX306" fmla="*/ 6223 w 10000"/>
                <a:gd name="connsiteY306" fmla="*/ 5920 h 10126"/>
                <a:gd name="connsiteX307" fmla="*/ 6154 w 10000"/>
                <a:gd name="connsiteY307" fmla="*/ 5956 h 10126"/>
                <a:gd name="connsiteX308" fmla="*/ 6092 w 10000"/>
                <a:gd name="connsiteY308" fmla="*/ 5999 h 10126"/>
                <a:gd name="connsiteX309" fmla="*/ 6035 w 10000"/>
                <a:gd name="connsiteY309" fmla="*/ 6047 h 10126"/>
                <a:gd name="connsiteX310" fmla="*/ 6004 w 10000"/>
                <a:gd name="connsiteY310" fmla="*/ 6071 h 10126"/>
                <a:gd name="connsiteX311" fmla="*/ 5985 w 10000"/>
                <a:gd name="connsiteY311" fmla="*/ 6095 h 10126"/>
                <a:gd name="connsiteX312" fmla="*/ 5966 w 10000"/>
                <a:gd name="connsiteY312" fmla="*/ 6125 h 10126"/>
                <a:gd name="connsiteX313" fmla="*/ 5947 w 10000"/>
                <a:gd name="connsiteY313" fmla="*/ 6155 h 10126"/>
                <a:gd name="connsiteX314" fmla="*/ 5935 w 10000"/>
                <a:gd name="connsiteY314" fmla="*/ 6193 h 10126"/>
                <a:gd name="connsiteX315" fmla="*/ 5922 w 10000"/>
                <a:gd name="connsiteY315" fmla="*/ 6223 h 10126"/>
                <a:gd name="connsiteX316" fmla="*/ 5916 w 10000"/>
                <a:gd name="connsiteY316" fmla="*/ 6265 h 10126"/>
                <a:gd name="connsiteX317" fmla="*/ 5916 w 10000"/>
                <a:gd name="connsiteY317" fmla="*/ 6307 h 10126"/>
                <a:gd name="connsiteX318" fmla="*/ 5859 w 10000"/>
                <a:gd name="connsiteY318" fmla="*/ 6325 h 10126"/>
                <a:gd name="connsiteX319" fmla="*/ 5809 w 10000"/>
                <a:gd name="connsiteY319" fmla="*/ 6343 h 10126"/>
                <a:gd name="connsiteX320" fmla="*/ 5765 w 10000"/>
                <a:gd name="connsiteY320" fmla="*/ 6366 h 10126"/>
                <a:gd name="connsiteX321" fmla="*/ 5721 w 10000"/>
                <a:gd name="connsiteY321" fmla="*/ 6390 h 10126"/>
                <a:gd name="connsiteX322" fmla="*/ 5634 w 10000"/>
                <a:gd name="connsiteY322" fmla="*/ 6451 h 10126"/>
                <a:gd name="connsiteX323" fmla="*/ 5558 w 10000"/>
                <a:gd name="connsiteY323" fmla="*/ 6523 h 10126"/>
                <a:gd name="connsiteX324" fmla="*/ 5420 w 10000"/>
                <a:gd name="connsiteY324" fmla="*/ 6686 h 10126"/>
                <a:gd name="connsiteX325" fmla="*/ 5289 w 10000"/>
                <a:gd name="connsiteY325" fmla="*/ 6860 h 10126"/>
                <a:gd name="connsiteX326" fmla="*/ 5220 w 10000"/>
                <a:gd name="connsiteY326" fmla="*/ 6951 h 10126"/>
                <a:gd name="connsiteX327" fmla="*/ 5151 w 10000"/>
                <a:gd name="connsiteY327" fmla="*/ 7029 h 10126"/>
                <a:gd name="connsiteX328" fmla="*/ 5075 w 10000"/>
                <a:gd name="connsiteY328" fmla="*/ 7102 h 10126"/>
                <a:gd name="connsiteX329" fmla="*/ 4994 w 10000"/>
                <a:gd name="connsiteY329" fmla="*/ 7168 h 10126"/>
                <a:gd name="connsiteX330" fmla="*/ 4944 w 10000"/>
                <a:gd name="connsiteY330" fmla="*/ 7198 h 10126"/>
                <a:gd name="connsiteX331" fmla="*/ 4893 w 10000"/>
                <a:gd name="connsiteY331" fmla="*/ 7222 h 10126"/>
                <a:gd name="connsiteX332" fmla="*/ 4849 w 10000"/>
                <a:gd name="connsiteY332" fmla="*/ 7246 h 10126"/>
                <a:gd name="connsiteX333" fmla="*/ 4793 w 10000"/>
                <a:gd name="connsiteY333" fmla="*/ 7271 h 10126"/>
                <a:gd name="connsiteX334" fmla="*/ 4730 w 10000"/>
                <a:gd name="connsiteY334" fmla="*/ 7289 h 10126"/>
                <a:gd name="connsiteX335" fmla="*/ 4674 w 10000"/>
                <a:gd name="connsiteY335" fmla="*/ 7301 h 10126"/>
                <a:gd name="connsiteX336" fmla="*/ 4605 w 10000"/>
                <a:gd name="connsiteY336" fmla="*/ 7307 h 10126"/>
                <a:gd name="connsiteX337" fmla="*/ 4536 w 10000"/>
                <a:gd name="connsiteY337" fmla="*/ 7307 h 10126"/>
                <a:gd name="connsiteX338" fmla="*/ 4536 w 10000"/>
                <a:gd name="connsiteY338" fmla="*/ 7360 h 10126"/>
                <a:gd name="connsiteX339" fmla="*/ 4536 w 10000"/>
                <a:gd name="connsiteY339" fmla="*/ 7414 h 10126"/>
                <a:gd name="connsiteX340" fmla="*/ 4536 w 10000"/>
                <a:gd name="connsiteY340" fmla="*/ 7456 h 10126"/>
                <a:gd name="connsiteX341" fmla="*/ 4536 w 10000"/>
                <a:gd name="connsiteY341" fmla="*/ 7493 h 10126"/>
                <a:gd name="connsiteX342" fmla="*/ 4536 w 10000"/>
                <a:gd name="connsiteY342" fmla="*/ 7559 h 10126"/>
                <a:gd name="connsiteX343" fmla="*/ 4536 w 10000"/>
                <a:gd name="connsiteY343" fmla="*/ 7662 h 10126"/>
                <a:gd name="connsiteX344" fmla="*/ 4536 w 10000"/>
                <a:gd name="connsiteY344" fmla="*/ 7771 h 10126"/>
                <a:gd name="connsiteX345" fmla="*/ 4548 w 10000"/>
                <a:gd name="connsiteY345" fmla="*/ 7884 h 10126"/>
                <a:gd name="connsiteX346" fmla="*/ 4561 w 10000"/>
                <a:gd name="connsiteY346" fmla="*/ 7945 h 10126"/>
                <a:gd name="connsiteX347" fmla="*/ 4573 w 10000"/>
                <a:gd name="connsiteY347" fmla="*/ 7999 h 10126"/>
                <a:gd name="connsiteX348" fmla="*/ 4586 w 10000"/>
                <a:gd name="connsiteY348" fmla="*/ 8047 h 10126"/>
                <a:gd name="connsiteX349" fmla="*/ 4611 w 10000"/>
                <a:gd name="connsiteY349" fmla="*/ 8089 h 10126"/>
                <a:gd name="connsiteX350" fmla="*/ 4636 w 10000"/>
                <a:gd name="connsiteY350" fmla="*/ 8132 h 10126"/>
                <a:gd name="connsiteX351" fmla="*/ 4668 w 10000"/>
                <a:gd name="connsiteY351" fmla="*/ 8162 h 10126"/>
                <a:gd name="connsiteX352" fmla="*/ 4705 w 10000"/>
                <a:gd name="connsiteY352" fmla="*/ 8186 h 10126"/>
                <a:gd name="connsiteX353" fmla="*/ 4749 w 10000"/>
                <a:gd name="connsiteY353" fmla="*/ 8198 h 10126"/>
                <a:gd name="connsiteX354" fmla="*/ 4711 w 10000"/>
                <a:gd name="connsiteY354" fmla="*/ 8294 h 10126"/>
                <a:gd name="connsiteX355" fmla="*/ 4668 w 10000"/>
                <a:gd name="connsiteY355" fmla="*/ 8379 h 10126"/>
                <a:gd name="connsiteX356" fmla="*/ 4617 w 10000"/>
                <a:gd name="connsiteY356" fmla="*/ 8457 h 10126"/>
                <a:gd name="connsiteX357" fmla="*/ 4573 w 10000"/>
                <a:gd name="connsiteY357" fmla="*/ 8529 h 10126"/>
                <a:gd name="connsiteX358" fmla="*/ 4523 w 10000"/>
                <a:gd name="connsiteY358" fmla="*/ 8614 h 10126"/>
                <a:gd name="connsiteX359" fmla="*/ 4492 w 10000"/>
                <a:gd name="connsiteY359" fmla="*/ 8692 h 10126"/>
                <a:gd name="connsiteX360" fmla="*/ 4473 w 10000"/>
                <a:gd name="connsiteY360" fmla="*/ 8728 h 10126"/>
                <a:gd name="connsiteX361" fmla="*/ 4467 w 10000"/>
                <a:gd name="connsiteY361" fmla="*/ 8771 h 10126"/>
                <a:gd name="connsiteX362" fmla="*/ 4460 w 10000"/>
                <a:gd name="connsiteY362" fmla="*/ 8819 h 10126"/>
                <a:gd name="connsiteX363" fmla="*/ 4454 w 10000"/>
                <a:gd name="connsiteY363" fmla="*/ 8861 h 10126"/>
                <a:gd name="connsiteX364" fmla="*/ 4460 w 10000"/>
                <a:gd name="connsiteY364" fmla="*/ 8878 h 10126"/>
                <a:gd name="connsiteX365" fmla="*/ 4467 w 10000"/>
                <a:gd name="connsiteY365" fmla="*/ 8890 h 10126"/>
                <a:gd name="connsiteX366" fmla="*/ 4479 w 10000"/>
                <a:gd name="connsiteY366" fmla="*/ 8902 h 10126"/>
                <a:gd name="connsiteX367" fmla="*/ 4504 w 10000"/>
                <a:gd name="connsiteY367" fmla="*/ 8914 h 10126"/>
                <a:gd name="connsiteX368" fmla="*/ 4542 w 10000"/>
                <a:gd name="connsiteY368" fmla="*/ 8938 h 10126"/>
                <a:gd name="connsiteX369" fmla="*/ 4580 w 10000"/>
                <a:gd name="connsiteY369" fmla="*/ 8944 h 10126"/>
                <a:gd name="connsiteX370" fmla="*/ 4580 w 10000"/>
                <a:gd name="connsiteY370" fmla="*/ 9162 h 10126"/>
                <a:gd name="connsiteX371" fmla="*/ 4529 w 10000"/>
                <a:gd name="connsiteY371" fmla="*/ 9247 h 10126"/>
                <a:gd name="connsiteX372" fmla="*/ 4492 w 10000"/>
                <a:gd name="connsiteY372" fmla="*/ 9337 h 10126"/>
                <a:gd name="connsiteX373" fmla="*/ 4460 w 10000"/>
                <a:gd name="connsiteY373" fmla="*/ 9372 h 10126"/>
                <a:gd name="connsiteX374" fmla="*/ 4429 w 10000"/>
                <a:gd name="connsiteY374" fmla="*/ 9397 h 10126"/>
                <a:gd name="connsiteX375" fmla="*/ 4404 w 10000"/>
                <a:gd name="connsiteY375" fmla="*/ 9409 h 10126"/>
                <a:gd name="connsiteX376" fmla="*/ 4385 w 10000"/>
                <a:gd name="connsiteY376" fmla="*/ 9415 h 10126"/>
                <a:gd name="connsiteX377" fmla="*/ 4360 w 10000"/>
                <a:gd name="connsiteY377" fmla="*/ 9421 h 10126"/>
                <a:gd name="connsiteX378" fmla="*/ 4329 w 10000"/>
                <a:gd name="connsiteY378" fmla="*/ 9421 h 10126"/>
                <a:gd name="connsiteX379" fmla="*/ 4329 w 10000"/>
                <a:gd name="connsiteY379" fmla="*/ 9469 h 10126"/>
                <a:gd name="connsiteX380" fmla="*/ 4335 w 10000"/>
                <a:gd name="connsiteY380" fmla="*/ 9529 h 10126"/>
                <a:gd name="connsiteX381" fmla="*/ 4348 w 10000"/>
                <a:gd name="connsiteY381" fmla="*/ 9559 h 10126"/>
                <a:gd name="connsiteX382" fmla="*/ 4354 w 10000"/>
                <a:gd name="connsiteY382" fmla="*/ 9583 h 10126"/>
                <a:gd name="connsiteX383" fmla="*/ 4360 w 10000"/>
                <a:gd name="connsiteY383" fmla="*/ 9602 h 10126"/>
                <a:gd name="connsiteX384" fmla="*/ 4373 w 10000"/>
                <a:gd name="connsiteY384" fmla="*/ 9608 h 10126"/>
                <a:gd name="connsiteX385" fmla="*/ 4210 w 10000"/>
                <a:gd name="connsiteY385" fmla="*/ 9734 h 10126"/>
                <a:gd name="connsiteX386" fmla="*/ 4072 w 10000"/>
                <a:gd name="connsiteY386" fmla="*/ 9838 h 10126"/>
                <a:gd name="connsiteX387" fmla="*/ 4009 w 10000"/>
                <a:gd name="connsiteY387" fmla="*/ 9897 h 10126"/>
                <a:gd name="connsiteX388" fmla="*/ 3952 w 10000"/>
                <a:gd name="connsiteY388" fmla="*/ 9963 h 10126"/>
                <a:gd name="connsiteX389" fmla="*/ 3890 w 10000"/>
                <a:gd name="connsiteY389" fmla="*/ 10042 h 10126"/>
                <a:gd name="connsiteX390" fmla="*/ 3833 w 10000"/>
                <a:gd name="connsiteY390" fmla="*/ 10126 h 10126"/>
                <a:gd name="connsiteX391" fmla="*/ 3733 w 10000"/>
                <a:gd name="connsiteY391" fmla="*/ 10084 h 10126"/>
                <a:gd name="connsiteX392" fmla="*/ 3664 w 10000"/>
                <a:gd name="connsiteY392" fmla="*/ 10042 h 10126"/>
                <a:gd name="connsiteX393" fmla="*/ 3607 w 10000"/>
                <a:gd name="connsiteY393" fmla="*/ 9999 h 10126"/>
                <a:gd name="connsiteX394" fmla="*/ 3563 w 10000"/>
                <a:gd name="connsiteY394" fmla="*/ 9951 h 10126"/>
                <a:gd name="connsiteX395" fmla="*/ 3532 w 10000"/>
                <a:gd name="connsiteY395" fmla="*/ 9891 h 10126"/>
                <a:gd name="connsiteX396" fmla="*/ 3513 w 10000"/>
                <a:gd name="connsiteY396" fmla="*/ 9832 h 10126"/>
                <a:gd name="connsiteX397" fmla="*/ 3482 w 10000"/>
                <a:gd name="connsiteY397" fmla="*/ 9758 h 10126"/>
                <a:gd name="connsiteX398" fmla="*/ 3457 w 10000"/>
                <a:gd name="connsiteY398" fmla="*/ 9686 h 10126"/>
                <a:gd name="connsiteX399" fmla="*/ 3400 w 10000"/>
                <a:gd name="connsiteY399" fmla="*/ 9547 h 10126"/>
                <a:gd name="connsiteX400" fmla="*/ 3325 w 10000"/>
                <a:gd name="connsiteY400" fmla="*/ 9415 h 10126"/>
                <a:gd name="connsiteX401" fmla="*/ 3237 w 10000"/>
                <a:gd name="connsiteY401" fmla="*/ 9277 h 10126"/>
                <a:gd name="connsiteX402" fmla="*/ 3143 w 10000"/>
                <a:gd name="connsiteY402" fmla="*/ 9132 h 10126"/>
                <a:gd name="connsiteX403" fmla="*/ 3049 w 10000"/>
                <a:gd name="connsiteY403" fmla="*/ 8999 h 10126"/>
                <a:gd name="connsiteX404" fmla="*/ 2967 w 10000"/>
                <a:gd name="connsiteY404" fmla="*/ 8867 h 10126"/>
                <a:gd name="connsiteX405" fmla="*/ 2892 w 10000"/>
                <a:gd name="connsiteY405" fmla="*/ 8747 h 10126"/>
                <a:gd name="connsiteX406" fmla="*/ 2829 w 10000"/>
                <a:gd name="connsiteY406" fmla="*/ 8644 h 10126"/>
                <a:gd name="connsiteX407" fmla="*/ 2773 w 10000"/>
                <a:gd name="connsiteY407" fmla="*/ 8529 h 10126"/>
                <a:gd name="connsiteX408" fmla="*/ 2735 w 10000"/>
                <a:gd name="connsiteY408" fmla="*/ 8427 h 10126"/>
                <a:gd name="connsiteX409" fmla="*/ 2698 w 10000"/>
                <a:gd name="connsiteY409" fmla="*/ 8319 h 10126"/>
                <a:gd name="connsiteX410" fmla="*/ 2666 w 10000"/>
                <a:gd name="connsiteY410" fmla="*/ 8210 h 10126"/>
                <a:gd name="connsiteX411" fmla="*/ 2629 w 10000"/>
                <a:gd name="connsiteY411" fmla="*/ 8101 h 10126"/>
                <a:gd name="connsiteX412" fmla="*/ 2597 w 10000"/>
                <a:gd name="connsiteY412" fmla="*/ 7993 h 10126"/>
                <a:gd name="connsiteX413" fmla="*/ 2553 w 10000"/>
                <a:gd name="connsiteY413" fmla="*/ 7872 h 10126"/>
                <a:gd name="connsiteX414" fmla="*/ 2497 w 10000"/>
                <a:gd name="connsiteY414" fmla="*/ 7753 h 10126"/>
                <a:gd name="connsiteX415" fmla="*/ 2359 w 10000"/>
                <a:gd name="connsiteY415" fmla="*/ 7559 h 10126"/>
                <a:gd name="connsiteX416" fmla="*/ 2208 w 10000"/>
                <a:gd name="connsiteY416" fmla="*/ 7378 h 10126"/>
                <a:gd name="connsiteX417" fmla="*/ 2139 w 10000"/>
                <a:gd name="connsiteY417" fmla="*/ 7295 h 10126"/>
                <a:gd name="connsiteX418" fmla="*/ 2070 w 10000"/>
                <a:gd name="connsiteY418" fmla="*/ 7198 h 10126"/>
                <a:gd name="connsiteX419" fmla="*/ 2008 w 10000"/>
                <a:gd name="connsiteY419" fmla="*/ 7108 h 10126"/>
                <a:gd name="connsiteX420" fmla="*/ 1957 w 10000"/>
                <a:gd name="connsiteY420" fmla="*/ 7011 h 10126"/>
                <a:gd name="connsiteX421" fmla="*/ 1888 w 10000"/>
                <a:gd name="connsiteY421" fmla="*/ 6776 h 10126"/>
                <a:gd name="connsiteX422" fmla="*/ 1832 w 10000"/>
                <a:gd name="connsiteY422" fmla="*/ 6559 h 10126"/>
                <a:gd name="connsiteX423" fmla="*/ 1782 w 10000"/>
                <a:gd name="connsiteY423" fmla="*/ 6349 h 10126"/>
                <a:gd name="connsiteX424" fmla="*/ 1757 w 10000"/>
                <a:gd name="connsiteY424" fmla="*/ 6137 h 10126"/>
                <a:gd name="connsiteX425" fmla="*/ 1725 w 10000"/>
                <a:gd name="connsiteY425" fmla="*/ 5932 h 10126"/>
                <a:gd name="connsiteX426" fmla="*/ 1713 w 10000"/>
                <a:gd name="connsiteY426" fmla="*/ 5716 h 10126"/>
                <a:gd name="connsiteX427" fmla="*/ 1706 w 10000"/>
                <a:gd name="connsiteY427" fmla="*/ 5493 h 10126"/>
                <a:gd name="connsiteX428" fmla="*/ 1706 w 10000"/>
                <a:gd name="connsiteY428" fmla="*/ 5270 h 10126"/>
                <a:gd name="connsiteX429" fmla="*/ 1681 w 10000"/>
                <a:gd name="connsiteY429" fmla="*/ 5264 h 10126"/>
                <a:gd name="connsiteX430" fmla="*/ 1650 w 10000"/>
                <a:gd name="connsiteY430" fmla="*/ 5258 h 10126"/>
                <a:gd name="connsiteX431" fmla="*/ 1625 w 10000"/>
                <a:gd name="connsiteY431" fmla="*/ 5252 h 10126"/>
                <a:gd name="connsiteX432" fmla="*/ 1606 w 10000"/>
                <a:gd name="connsiteY432" fmla="*/ 5228 h 10126"/>
                <a:gd name="connsiteX433" fmla="*/ 1581 w 10000"/>
                <a:gd name="connsiteY433" fmla="*/ 5216 h 10126"/>
                <a:gd name="connsiteX434" fmla="*/ 1568 w 10000"/>
                <a:gd name="connsiteY434" fmla="*/ 5198 h 10126"/>
                <a:gd name="connsiteX435" fmla="*/ 1550 w 10000"/>
                <a:gd name="connsiteY435" fmla="*/ 5174 h 10126"/>
                <a:gd name="connsiteX436" fmla="*/ 1543 w 10000"/>
                <a:gd name="connsiteY436" fmla="*/ 5150 h 10126"/>
                <a:gd name="connsiteX437" fmla="*/ 1518 w 10000"/>
                <a:gd name="connsiteY437" fmla="*/ 5101 h 10126"/>
                <a:gd name="connsiteX438" fmla="*/ 1506 w 10000"/>
                <a:gd name="connsiteY438" fmla="*/ 5047 h 10126"/>
                <a:gd name="connsiteX439" fmla="*/ 1499 w 10000"/>
                <a:gd name="connsiteY439" fmla="*/ 4987 h 10126"/>
                <a:gd name="connsiteX440" fmla="*/ 1499 w 10000"/>
                <a:gd name="connsiteY440" fmla="*/ 4933 h 10126"/>
                <a:gd name="connsiteX441" fmla="*/ 1443 w 10000"/>
                <a:gd name="connsiteY441" fmla="*/ 4969 h 10126"/>
                <a:gd name="connsiteX442" fmla="*/ 1405 w 10000"/>
                <a:gd name="connsiteY442" fmla="*/ 5011 h 10126"/>
                <a:gd name="connsiteX443" fmla="*/ 1361 w 10000"/>
                <a:gd name="connsiteY443" fmla="*/ 5053 h 10126"/>
                <a:gd name="connsiteX444" fmla="*/ 1317 w 10000"/>
                <a:gd name="connsiteY444" fmla="*/ 5101 h 10126"/>
                <a:gd name="connsiteX445" fmla="*/ 1261 w 10000"/>
                <a:gd name="connsiteY445" fmla="*/ 5198 h 10126"/>
                <a:gd name="connsiteX446" fmla="*/ 1205 w 10000"/>
                <a:gd name="connsiteY446" fmla="*/ 5300 h 10126"/>
                <a:gd name="connsiteX447" fmla="*/ 1167 w 10000"/>
                <a:gd name="connsiteY447" fmla="*/ 5343 h 10126"/>
                <a:gd name="connsiteX448" fmla="*/ 1142 w 10000"/>
                <a:gd name="connsiteY448" fmla="*/ 5384 h 10126"/>
                <a:gd name="connsiteX449" fmla="*/ 1104 w 10000"/>
                <a:gd name="connsiteY449" fmla="*/ 5426 h 10126"/>
                <a:gd name="connsiteX450" fmla="*/ 1073 w 10000"/>
                <a:gd name="connsiteY450" fmla="*/ 5456 h 10126"/>
                <a:gd name="connsiteX451" fmla="*/ 1029 w 10000"/>
                <a:gd name="connsiteY451" fmla="*/ 5487 h 10126"/>
                <a:gd name="connsiteX452" fmla="*/ 985 w 10000"/>
                <a:gd name="connsiteY452" fmla="*/ 5505 h 10126"/>
                <a:gd name="connsiteX453" fmla="*/ 928 w 10000"/>
                <a:gd name="connsiteY453" fmla="*/ 5517 h 10126"/>
                <a:gd name="connsiteX454" fmla="*/ 872 w 10000"/>
                <a:gd name="connsiteY454" fmla="*/ 5523 h 10126"/>
                <a:gd name="connsiteX455" fmla="*/ 841 w 10000"/>
                <a:gd name="connsiteY455" fmla="*/ 5517 h 10126"/>
                <a:gd name="connsiteX456" fmla="*/ 797 w 10000"/>
                <a:gd name="connsiteY456" fmla="*/ 5505 h 10126"/>
                <a:gd name="connsiteX457" fmla="*/ 753 w 10000"/>
                <a:gd name="connsiteY457" fmla="*/ 5487 h 10126"/>
                <a:gd name="connsiteX458" fmla="*/ 709 w 10000"/>
                <a:gd name="connsiteY458" fmla="*/ 5456 h 10126"/>
                <a:gd name="connsiteX459" fmla="*/ 659 w 10000"/>
                <a:gd name="connsiteY459" fmla="*/ 5420 h 10126"/>
                <a:gd name="connsiteX460" fmla="*/ 609 w 10000"/>
                <a:gd name="connsiteY460" fmla="*/ 5384 h 10126"/>
                <a:gd name="connsiteX461" fmla="*/ 565 w 10000"/>
                <a:gd name="connsiteY461" fmla="*/ 5343 h 10126"/>
                <a:gd name="connsiteX462" fmla="*/ 514 w 10000"/>
                <a:gd name="connsiteY462" fmla="*/ 5294 h 10126"/>
                <a:gd name="connsiteX463" fmla="*/ 471 w 10000"/>
                <a:gd name="connsiteY463" fmla="*/ 5246 h 10126"/>
                <a:gd name="connsiteX464" fmla="*/ 433 w 10000"/>
                <a:gd name="connsiteY464" fmla="*/ 5192 h 10126"/>
                <a:gd name="connsiteX465" fmla="*/ 389 w 10000"/>
                <a:gd name="connsiteY465" fmla="*/ 5138 h 10126"/>
                <a:gd name="connsiteX466" fmla="*/ 358 w 10000"/>
                <a:gd name="connsiteY466" fmla="*/ 5083 h 10126"/>
                <a:gd name="connsiteX467" fmla="*/ 326 w 10000"/>
                <a:gd name="connsiteY467" fmla="*/ 5035 h 10126"/>
                <a:gd name="connsiteX468" fmla="*/ 307 w 10000"/>
                <a:gd name="connsiteY468" fmla="*/ 4987 h 10126"/>
                <a:gd name="connsiteX469" fmla="*/ 295 w 10000"/>
                <a:gd name="connsiteY469" fmla="*/ 4939 h 10126"/>
                <a:gd name="connsiteX470" fmla="*/ 289 w 10000"/>
                <a:gd name="connsiteY470" fmla="*/ 4890 h 10126"/>
                <a:gd name="connsiteX471" fmla="*/ 320 w 10000"/>
                <a:gd name="connsiteY471" fmla="*/ 4872 h 10126"/>
                <a:gd name="connsiteX472" fmla="*/ 395 w 10000"/>
                <a:gd name="connsiteY472" fmla="*/ 4837 h 10126"/>
                <a:gd name="connsiteX473" fmla="*/ 483 w 10000"/>
                <a:gd name="connsiteY473" fmla="*/ 4801 h 10126"/>
                <a:gd name="connsiteX474" fmla="*/ 533 w 10000"/>
                <a:gd name="connsiteY474" fmla="*/ 4783 h 10126"/>
                <a:gd name="connsiteX475" fmla="*/ 483 w 10000"/>
                <a:gd name="connsiteY475" fmla="*/ 4783 h 10126"/>
                <a:gd name="connsiteX476" fmla="*/ 420 w 10000"/>
                <a:gd name="connsiteY476" fmla="*/ 4777 h 10126"/>
                <a:gd name="connsiteX477" fmla="*/ 370 w 10000"/>
                <a:gd name="connsiteY477" fmla="*/ 4765 h 10126"/>
                <a:gd name="connsiteX478" fmla="*/ 320 w 10000"/>
                <a:gd name="connsiteY478" fmla="*/ 4759 h 10126"/>
                <a:gd name="connsiteX479" fmla="*/ 276 w 10000"/>
                <a:gd name="connsiteY479" fmla="*/ 4740 h 10126"/>
                <a:gd name="connsiteX480" fmla="*/ 232 w 10000"/>
                <a:gd name="connsiteY480" fmla="*/ 4728 h 10126"/>
                <a:gd name="connsiteX481" fmla="*/ 188 w 10000"/>
                <a:gd name="connsiteY481" fmla="*/ 4710 h 10126"/>
                <a:gd name="connsiteX482" fmla="*/ 157 w 10000"/>
                <a:gd name="connsiteY482" fmla="*/ 4685 h 10126"/>
                <a:gd name="connsiteX483" fmla="*/ 132 w 10000"/>
                <a:gd name="connsiteY483" fmla="*/ 4661 h 10126"/>
                <a:gd name="connsiteX484" fmla="*/ 100 w 10000"/>
                <a:gd name="connsiteY484" fmla="*/ 4637 h 10126"/>
                <a:gd name="connsiteX485" fmla="*/ 75 w 10000"/>
                <a:gd name="connsiteY485" fmla="*/ 4607 h 10126"/>
                <a:gd name="connsiteX486" fmla="*/ 50 w 10000"/>
                <a:gd name="connsiteY486" fmla="*/ 4583 h 10126"/>
                <a:gd name="connsiteX487" fmla="*/ 19 w 10000"/>
                <a:gd name="connsiteY487" fmla="*/ 4511 h 10126"/>
                <a:gd name="connsiteX488" fmla="*/ 0 w 10000"/>
                <a:gd name="connsiteY488" fmla="*/ 4444 h 10126"/>
                <a:gd name="connsiteX489" fmla="*/ 63 w 10000"/>
                <a:gd name="connsiteY489" fmla="*/ 4396 h 10126"/>
                <a:gd name="connsiteX490" fmla="*/ 132 w 10000"/>
                <a:gd name="connsiteY490" fmla="*/ 4360 h 10126"/>
                <a:gd name="connsiteX491" fmla="*/ 201 w 10000"/>
                <a:gd name="connsiteY491" fmla="*/ 4331 h 10126"/>
                <a:gd name="connsiteX492" fmla="*/ 276 w 10000"/>
                <a:gd name="connsiteY492" fmla="*/ 4307 h 10126"/>
                <a:gd name="connsiteX493" fmla="*/ 420 w 10000"/>
                <a:gd name="connsiteY493" fmla="*/ 4277 h 10126"/>
                <a:gd name="connsiteX494" fmla="*/ 565 w 10000"/>
                <a:gd name="connsiteY494" fmla="*/ 4252 h 10126"/>
                <a:gd name="connsiteX495" fmla="*/ 640 w 10000"/>
                <a:gd name="connsiteY495" fmla="*/ 4240 h 10126"/>
                <a:gd name="connsiteX496" fmla="*/ 709 w 10000"/>
                <a:gd name="connsiteY496" fmla="*/ 4216 h 10126"/>
                <a:gd name="connsiteX497" fmla="*/ 772 w 10000"/>
                <a:gd name="connsiteY497" fmla="*/ 4198 h 10126"/>
                <a:gd name="connsiteX498" fmla="*/ 834 w 10000"/>
                <a:gd name="connsiteY498" fmla="*/ 4168 h 10126"/>
                <a:gd name="connsiteX499" fmla="*/ 891 w 10000"/>
                <a:gd name="connsiteY499" fmla="*/ 4138 h 10126"/>
                <a:gd name="connsiteX500" fmla="*/ 947 w 10000"/>
                <a:gd name="connsiteY500" fmla="*/ 4090 h 10126"/>
                <a:gd name="connsiteX501" fmla="*/ 997 w 10000"/>
                <a:gd name="connsiteY501" fmla="*/ 4035 h 10126"/>
                <a:gd name="connsiteX502" fmla="*/ 1035 w 10000"/>
                <a:gd name="connsiteY502" fmla="*/ 3968 h 10126"/>
                <a:gd name="connsiteX503" fmla="*/ 1010 w 10000"/>
                <a:gd name="connsiteY503" fmla="*/ 3956 h 10126"/>
                <a:gd name="connsiteX504" fmla="*/ 985 w 10000"/>
                <a:gd name="connsiteY504" fmla="*/ 3938 h 10126"/>
                <a:gd name="connsiteX505" fmla="*/ 947 w 10000"/>
                <a:gd name="connsiteY505" fmla="*/ 3914 h 10126"/>
                <a:gd name="connsiteX506" fmla="*/ 910 w 10000"/>
                <a:gd name="connsiteY506" fmla="*/ 3878 h 10126"/>
                <a:gd name="connsiteX507" fmla="*/ 822 w 10000"/>
                <a:gd name="connsiteY507" fmla="*/ 3806 h 10126"/>
                <a:gd name="connsiteX508" fmla="*/ 740 w 10000"/>
                <a:gd name="connsiteY508" fmla="*/ 3722 h 10126"/>
                <a:gd name="connsiteX509" fmla="*/ 665 w 10000"/>
                <a:gd name="connsiteY509" fmla="*/ 3631 h 10126"/>
                <a:gd name="connsiteX510" fmla="*/ 596 w 10000"/>
                <a:gd name="connsiteY510" fmla="*/ 3535 h 10126"/>
                <a:gd name="connsiteX511" fmla="*/ 577 w 10000"/>
                <a:gd name="connsiteY511" fmla="*/ 3493 h 10126"/>
                <a:gd name="connsiteX512" fmla="*/ 558 w 10000"/>
                <a:gd name="connsiteY512" fmla="*/ 3451 h 10126"/>
                <a:gd name="connsiteX513" fmla="*/ 540 w 10000"/>
                <a:gd name="connsiteY513" fmla="*/ 3408 h 10126"/>
                <a:gd name="connsiteX514" fmla="*/ 533 w 10000"/>
                <a:gd name="connsiteY514" fmla="*/ 3372 h 10126"/>
                <a:gd name="connsiteX515" fmla="*/ 508 w 10000"/>
                <a:gd name="connsiteY515" fmla="*/ 3366 h 10126"/>
                <a:gd name="connsiteX516" fmla="*/ 483 w 10000"/>
                <a:gd name="connsiteY516" fmla="*/ 3360 h 10126"/>
                <a:gd name="connsiteX517" fmla="*/ 458 w 10000"/>
                <a:gd name="connsiteY517" fmla="*/ 3348 h 10126"/>
                <a:gd name="connsiteX518" fmla="*/ 439 w 10000"/>
                <a:gd name="connsiteY518" fmla="*/ 3325 h 10126"/>
                <a:gd name="connsiteX519" fmla="*/ 402 w 10000"/>
                <a:gd name="connsiteY519" fmla="*/ 3282 h 10126"/>
                <a:gd name="connsiteX520" fmla="*/ 370 w 10000"/>
                <a:gd name="connsiteY520" fmla="*/ 3222 h 10126"/>
                <a:gd name="connsiteX521" fmla="*/ 370 w 10000"/>
                <a:gd name="connsiteY521" fmla="*/ 3077 h 10126"/>
                <a:gd name="connsiteX522" fmla="*/ 458 w 10000"/>
                <a:gd name="connsiteY522" fmla="*/ 3071 h 10126"/>
                <a:gd name="connsiteX523" fmla="*/ 540 w 10000"/>
                <a:gd name="connsiteY523" fmla="*/ 3065 h 10126"/>
                <a:gd name="connsiteX524" fmla="*/ 615 w 10000"/>
                <a:gd name="connsiteY524" fmla="*/ 3053 h 10126"/>
                <a:gd name="connsiteX525" fmla="*/ 684 w 10000"/>
                <a:gd name="connsiteY525" fmla="*/ 3029 h 10126"/>
                <a:gd name="connsiteX526" fmla="*/ 747 w 10000"/>
                <a:gd name="connsiteY526" fmla="*/ 3011 h 10126"/>
                <a:gd name="connsiteX527" fmla="*/ 809 w 10000"/>
                <a:gd name="connsiteY527" fmla="*/ 2980 h 10126"/>
                <a:gd name="connsiteX528" fmla="*/ 866 w 10000"/>
                <a:gd name="connsiteY528" fmla="*/ 2950 h 10126"/>
                <a:gd name="connsiteX529" fmla="*/ 922 w 10000"/>
                <a:gd name="connsiteY529" fmla="*/ 2914 h 10126"/>
                <a:gd name="connsiteX530" fmla="*/ 966 w 10000"/>
                <a:gd name="connsiteY530" fmla="*/ 2872 h 10126"/>
                <a:gd name="connsiteX531" fmla="*/ 1016 w 10000"/>
                <a:gd name="connsiteY531" fmla="*/ 2831 h 10126"/>
                <a:gd name="connsiteX532" fmla="*/ 1060 w 10000"/>
                <a:gd name="connsiteY532" fmla="*/ 2789 h 10126"/>
                <a:gd name="connsiteX533" fmla="*/ 1098 w 10000"/>
                <a:gd name="connsiteY533" fmla="*/ 2740 h 10126"/>
                <a:gd name="connsiteX534" fmla="*/ 1167 w 10000"/>
                <a:gd name="connsiteY534" fmla="*/ 2644 h 10126"/>
                <a:gd name="connsiteX535" fmla="*/ 1236 w 10000"/>
                <a:gd name="connsiteY535" fmla="*/ 2534 h 10126"/>
                <a:gd name="connsiteX536" fmla="*/ 1355 w 10000"/>
                <a:gd name="connsiteY536" fmla="*/ 2318 h 10126"/>
                <a:gd name="connsiteX537" fmla="*/ 1474 w 10000"/>
                <a:gd name="connsiteY537" fmla="*/ 2101 h 10126"/>
                <a:gd name="connsiteX538" fmla="*/ 1543 w 10000"/>
                <a:gd name="connsiteY538" fmla="*/ 2005 h 10126"/>
                <a:gd name="connsiteX539" fmla="*/ 1612 w 10000"/>
                <a:gd name="connsiteY539" fmla="*/ 1920 h 10126"/>
                <a:gd name="connsiteX540" fmla="*/ 1650 w 10000"/>
                <a:gd name="connsiteY540" fmla="*/ 1871 h 10126"/>
                <a:gd name="connsiteX541" fmla="*/ 1694 w 10000"/>
                <a:gd name="connsiteY541" fmla="*/ 1835 h 10126"/>
                <a:gd name="connsiteX542" fmla="*/ 1738 w 10000"/>
                <a:gd name="connsiteY542" fmla="*/ 1806 h 10126"/>
                <a:gd name="connsiteX543" fmla="*/ 1788 w 10000"/>
                <a:gd name="connsiteY543" fmla="*/ 1776 h 10126"/>
                <a:gd name="connsiteX544" fmla="*/ 1750 w 10000"/>
                <a:gd name="connsiteY544" fmla="*/ 1703 h 10126"/>
                <a:gd name="connsiteX545" fmla="*/ 1719 w 10000"/>
                <a:gd name="connsiteY545" fmla="*/ 1637 h 10126"/>
                <a:gd name="connsiteX546" fmla="*/ 1713 w 10000"/>
                <a:gd name="connsiteY546" fmla="*/ 1607 h 10126"/>
                <a:gd name="connsiteX547" fmla="*/ 1706 w 10000"/>
                <a:gd name="connsiteY547" fmla="*/ 1577 h 10126"/>
                <a:gd name="connsiteX548" fmla="*/ 1706 w 10000"/>
                <a:gd name="connsiteY548" fmla="*/ 1541 h 10126"/>
                <a:gd name="connsiteX549" fmla="*/ 1706 w 10000"/>
                <a:gd name="connsiteY549" fmla="*/ 1511 h 10126"/>
                <a:gd name="connsiteX550" fmla="*/ 1713 w 10000"/>
                <a:gd name="connsiteY550" fmla="*/ 1480 h 10126"/>
                <a:gd name="connsiteX551" fmla="*/ 1719 w 10000"/>
                <a:gd name="connsiteY551" fmla="*/ 1450 h 10126"/>
                <a:gd name="connsiteX552" fmla="*/ 1731 w 10000"/>
                <a:gd name="connsiteY552" fmla="*/ 1426 h 10126"/>
                <a:gd name="connsiteX553" fmla="*/ 1757 w 10000"/>
                <a:gd name="connsiteY553" fmla="*/ 1402 h 10126"/>
                <a:gd name="connsiteX554" fmla="*/ 1775 w 10000"/>
                <a:gd name="connsiteY554" fmla="*/ 1384 h 10126"/>
                <a:gd name="connsiteX555" fmla="*/ 1801 w 10000"/>
                <a:gd name="connsiteY555" fmla="*/ 1366 h 10126"/>
                <a:gd name="connsiteX556" fmla="*/ 1838 w 10000"/>
                <a:gd name="connsiteY556" fmla="*/ 1348 h 10126"/>
                <a:gd name="connsiteX557" fmla="*/ 1870 w 10000"/>
                <a:gd name="connsiteY557" fmla="*/ 1330 h 10126"/>
                <a:gd name="connsiteX558" fmla="*/ 1688 w 10000"/>
                <a:gd name="connsiteY558" fmla="*/ 1168 h 10126"/>
                <a:gd name="connsiteX559" fmla="*/ 1550 w 10000"/>
                <a:gd name="connsiteY559" fmla="*/ 1046 h 10126"/>
                <a:gd name="connsiteX560" fmla="*/ 1487 w 10000"/>
                <a:gd name="connsiteY560" fmla="*/ 986 h 10126"/>
                <a:gd name="connsiteX561" fmla="*/ 1383 w 10000"/>
                <a:gd name="connsiteY561" fmla="*/ 868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576 w 10000"/>
                <a:gd name="connsiteY0" fmla="*/ 149 h 10126"/>
                <a:gd name="connsiteX1" fmla="*/ 2509 w 10000"/>
                <a:gd name="connsiteY1" fmla="*/ 161 h 10126"/>
                <a:gd name="connsiteX2" fmla="*/ 2818 w 10000"/>
                <a:gd name="connsiteY2" fmla="*/ 127 h 10126"/>
                <a:gd name="connsiteX3" fmla="*/ 2857 w 10000"/>
                <a:gd name="connsiteY3" fmla="*/ 131 h 10126"/>
                <a:gd name="connsiteX4" fmla="*/ 2880 w 10000"/>
                <a:gd name="connsiteY4" fmla="*/ 115 h 10126"/>
                <a:gd name="connsiteX5" fmla="*/ 3155 w 10000"/>
                <a:gd name="connsiteY5" fmla="*/ 192 h 10126"/>
                <a:gd name="connsiteX6" fmla="*/ 3162 w 10000"/>
                <a:gd name="connsiteY6" fmla="*/ 346 h 10126"/>
                <a:gd name="connsiteX7" fmla="*/ 3120 w 10000"/>
                <a:gd name="connsiteY7" fmla="*/ 471 h 10126"/>
                <a:gd name="connsiteX8" fmla="*/ 3152 w 10000"/>
                <a:gd name="connsiteY8" fmla="*/ 534 h 10126"/>
                <a:gd name="connsiteX9" fmla="*/ 3093 w 10000"/>
                <a:gd name="connsiteY9" fmla="*/ 619 h 10126"/>
                <a:gd name="connsiteX10" fmla="*/ 2992 w 10000"/>
                <a:gd name="connsiteY10" fmla="*/ 710 h 10126"/>
                <a:gd name="connsiteX11" fmla="*/ 3043 w 10000"/>
                <a:gd name="connsiteY11" fmla="*/ 734 h 10126"/>
                <a:gd name="connsiteX12" fmla="*/ 3087 w 10000"/>
                <a:gd name="connsiteY12" fmla="*/ 776 h 10126"/>
                <a:gd name="connsiteX13" fmla="*/ 3130 w 10000"/>
                <a:gd name="connsiteY13" fmla="*/ 823 h 10126"/>
                <a:gd name="connsiteX14" fmla="*/ 3174 w 10000"/>
                <a:gd name="connsiteY14" fmla="*/ 872 h 10126"/>
                <a:gd name="connsiteX15" fmla="*/ 3212 w 10000"/>
                <a:gd name="connsiteY15" fmla="*/ 932 h 10126"/>
                <a:gd name="connsiteX16" fmla="*/ 3256 w 10000"/>
                <a:gd name="connsiteY16" fmla="*/ 986 h 10126"/>
                <a:gd name="connsiteX17" fmla="*/ 3281 w 10000"/>
                <a:gd name="connsiteY17" fmla="*/ 1046 h 10126"/>
                <a:gd name="connsiteX18" fmla="*/ 3312 w 10000"/>
                <a:gd name="connsiteY18" fmla="*/ 1113 h 10126"/>
                <a:gd name="connsiteX19" fmla="*/ 3331 w 10000"/>
                <a:gd name="connsiteY19" fmla="*/ 1180 h 10126"/>
                <a:gd name="connsiteX20" fmla="*/ 3043 w 10000"/>
                <a:gd name="connsiteY20" fmla="*/ 1180 h 10126"/>
                <a:gd name="connsiteX21" fmla="*/ 3043 w 10000"/>
                <a:gd name="connsiteY21" fmla="*/ 1366 h 10126"/>
                <a:gd name="connsiteX22" fmla="*/ 3074 w 10000"/>
                <a:gd name="connsiteY22" fmla="*/ 1444 h 10126"/>
                <a:gd name="connsiteX23" fmla="*/ 3118 w 10000"/>
                <a:gd name="connsiteY23" fmla="*/ 1511 h 10126"/>
                <a:gd name="connsiteX24" fmla="*/ 3168 w 10000"/>
                <a:gd name="connsiteY24" fmla="*/ 1571 h 10126"/>
                <a:gd name="connsiteX25" fmla="*/ 3225 w 10000"/>
                <a:gd name="connsiteY25" fmla="*/ 1613 h 10126"/>
                <a:gd name="connsiteX26" fmla="*/ 3281 w 10000"/>
                <a:gd name="connsiteY26" fmla="*/ 1655 h 10126"/>
                <a:gd name="connsiteX27" fmla="*/ 3350 w 10000"/>
                <a:gd name="connsiteY27" fmla="*/ 1685 h 10126"/>
                <a:gd name="connsiteX28" fmla="*/ 3413 w 10000"/>
                <a:gd name="connsiteY28" fmla="*/ 1715 h 10126"/>
                <a:gd name="connsiteX29" fmla="*/ 3488 w 10000"/>
                <a:gd name="connsiteY29" fmla="*/ 1740 h 10126"/>
                <a:gd name="connsiteX30" fmla="*/ 3626 w 10000"/>
                <a:gd name="connsiteY30" fmla="*/ 1794 h 10126"/>
                <a:gd name="connsiteX31" fmla="*/ 3764 w 10000"/>
                <a:gd name="connsiteY31" fmla="*/ 1847 h 10126"/>
                <a:gd name="connsiteX32" fmla="*/ 3827 w 10000"/>
                <a:gd name="connsiteY32" fmla="*/ 1884 h 10126"/>
                <a:gd name="connsiteX33" fmla="*/ 3890 w 10000"/>
                <a:gd name="connsiteY33" fmla="*/ 1932 h 10126"/>
                <a:gd name="connsiteX34" fmla="*/ 3946 w 10000"/>
                <a:gd name="connsiteY34" fmla="*/ 1981 h 10126"/>
                <a:gd name="connsiteX35" fmla="*/ 4003 w 10000"/>
                <a:gd name="connsiteY35" fmla="*/ 2035 h 10126"/>
                <a:gd name="connsiteX36" fmla="*/ 3959 w 10000"/>
                <a:gd name="connsiteY36" fmla="*/ 2596 h 10126"/>
                <a:gd name="connsiteX37" fmla="*/ 4034 w 10000"/>
                <a:gd name="connsiteY37" fmla="*/ 2650 h 10126"/>
                <a:gd name="connsiteX38" fmla="*/ 4141 w 10000"/>
                <a:gd name="connsiteY38" fmla="*/ 2716 h 10126"/>
                <a:gd name="connsiteX39" fmla="*/ 4260 w 10000"/>
                <a:gd name="connsiteY39" fmla="*/ 2776 h 10126"/>
                <a:gd name="connsiteX40" fmla="*/ 4398 w 10000"/>
                <a:gd name="connsiteY40" fmla="*/ 2831 h 10126"/>
                <a:gd name="connsiteX41" fmla="*/ 4536 w 10000"/>
                <a:gd name="connsiteY41" fmla="*/ 2884 h 10126"/>
                <a:gd name="connsiteX42" fmla="*/ 4668 w 10000"/>
                <a:gd name="connsiteY42" fmla="*/ 2926 h 10126"/>
                <a:gd name="connsiteX43" fmla="*/ 4724 w 10000"/>
                <a:gd name="connsiteY43" fmla="*/ 2944 h 10126"/>
                <a:gd name="connsiteX44" fmla="*/ 4780 w 10000"/>
                <a:gd name="connsiteY44" fmla="*/ 2956 h 10126"/>
                <a:gd name="connsiteX45" fmla="*/ 4831 w 10000"/>
                <a:gd name="connsiteY45" fmla="*/ 2962 h 10126"/>
                <a:gd name="connsiteX46" fmla="*/ 4875 w 10000"/>
                <a:gd name="connsiteY46" fmla="*/ 2962 h 10126"/>
                <a:gd name="connsiteX47" fmla="*/ 4887 w 10000"/>
                <a:gd name="connsiteY47" fmla="*/ 3005 h 10126"/>
                <a:gd name="connsiteX48" fmla="*/ 4918 w 10000"/>
                <a:gd name="connsiteY48" fmla="*/ 3041 h 10126"/>
                <a:gd name="connsiteX49" fmla="*/ 4950 w 10000"/>
                <a:gd name="connsiteY49" fmla="*/ 3059 h 10126"/>
                <a:gd name="connsiteX50" fmla="*/ 4987 w 10000"/>
                <a:gd name="connsiteY50" fmla="*/ 3071 h 10126"/>
                <a:gd name="connsiteX51" fmla="*/ 5019 w 10000"/>
                <a:gd name="connsiteY51" fmla="*/ 3083 h 10126"/>
                <a:gd name="connsiteX52" fmla="*/ 5063 w 10000"/>
                <a:gd name="connsiteY52" fmla="*/ 3083 h 10126"/>
                <a:gd name="connsiteX53" fmla="*/ 5107 w 10000"/>
                <a:gd name="connsiteY53" fmla="*/ 3077 h 10126"/>
                <a:gd name="connsiteX54" fmla="*/ 5157 w 10000"/>
                <a:gd name="connsiteY54" fmla="*/ 3071 h 10126"/>
                <a:gd name="connsiteX55" fmla="*/ 5245 w 10000"/>
                <a:gd name="connsiteY55" fmla="*/ 3053 h 10126"/>
                <a:gd name="connsiteX56" fmla="*/ 5345 w 10000"/>
                <a:gd name="connsiteY56" fmla="*/ 3029 h 10126"/>
                <a:gd name="connsiteX57" fmla="*/ 5383 w 10000"/>
                <a:gd name="connsiteY57" fmla="*/ 3029 h 10126"/>
                <a:gd name="connsiteX58" fmla="*/ 5427 w 10000"/>
                <a:gd name="connsiteY58" fmla="*/ 3023 h 10126"/>
                <a:gd name="connsiteX59" fmla="*/ 5464 w 10000"/>
                <a:gd name="connsiteY59" fmla="*/ 3029 h 10126"/>
                <a:gd name="connsiteX60" fmla="*/ 5502 w 10000"/>
                <a:gd name="connsiteY60" fmla="*/ 3035 h 10126"/>
                <a:gd name="connsiteX61" fmla="*/ 5558 w 10000"/>
                <a:gd name="connsiteY61" fmla="*/ 3071 h 10126"/>
                <a:gd name="connsiteX62" fmla="*/ 5596 w 10000"/>
                <a:gd name="connsiteY62" fmla="*/ 3101 h 10126"/>
                <a:gd name="connsiteX63" fmla="*/ 5634 w 10000"/>
                <a:gd name="connsiteY63" fmla="*/ 3143 h 10126"/>
                <a:gd name="connsiteX64" fmla="*/ 5665 w 10000"/>
                <a:gd name="connsiteY64" fmla="*/ 3179 h 10126"/>
                <a:gd name="connsiteX65" fmla="*/ 5696 w 10000"/>
                <a:gd name="connsiteY65" fmla="*/ 3216 h 10126"/>
                <a:gd name="connsiteX66" fmla="*/ 5734 w 10000"/>
                <a:gd name="connsiteY66" fmla="*/ 3252 h 10126"/>
                <a:gd name="connsiteX67" fmla="*/ 5759 w 10000"/>
                <a:gd name="connsiteY67" fmla="*/ 3270 h 10126"/>
                <a:gd name="connsiteX68" fmla="*/ 5778 w 10000"/>
                <a:gd name="connsiteY68" fmla="*/ 3282 h 10126"/>
                <a:gd name="connsiteX69" fmla="*/ 5803 w 10000"/>
                <a:gd name="connsiteY69" fmla="*/ 3294 h 10126"/>
                <a:gd name="connsiteX70" fmla="*/ 5834 w 10000"/>
                <a:gd name="connsiteY70" fmla="*/ 3300 h 10126"/>
                <a:gd name="connsiteX71" fmla="*/ 5935 w 10000"/>
                <a:gd name="connsiteY71" fmla="*/ 3319 h 10126"/>
                <a:gd name="connsiteX72" fmla="*/ 6073 w 10000"/>
                <a:gd name="connsiteY72" fmla="*/ 3354 h 10126"/>
                <a:gd name="connsiteX73" fmla="*/ 6230 w 10000"/>
                <a:gd name="connsiteY73" fmla="*/ 3390 h 10126"/>
                <a:gd name="connsiteX74" fmla="*/ 6405 w 10000"/>
                <a:gd name="connsiteY74" fmla="*/ 3433 h 10126"/>
                <a:gd name="connsiteX75" fmla="*/ 6568 w 10000"/>
                <a:gd name="connsiteY75" fmla="*/ 3463 h 10126"/>
                <a:gd name="connsiteX76" fmla="*/ 6719 w 10000"/>
                <a:gd name="connsiteY76" fmla="*/ 3487 h 10126"/>
                <a:gd name="connsiteX77" fmla="*/ 6788 w 10000"/>
                <a:gd name="connsiteY77" fmla="*/ 3493 h 10126"/>
                <a:gd name="connsiteX78" fmla="*/ 6838 w 10000"/>
                <a:gd name="connsiteY78" fmla="*/ 3499 h 10126"/>
                <a:gd name="connsiteX79" fmla="*/ 6888 w 10000"/>
                <a:gd name="connsiteY79" fmla="*/ 3493 h 10126"/>
                <a:gd name="connsiteX80" fmla="*/ 6913 w 10000"/>
                <a:gd name="connsiteY80" fmla="*/ 3481 h 10126"/>
                <a:gd name="connsiteX81" fmla="*/ 6888 w 10000"/>
                <a:gd name="connsiteY81" fmla="*/ 3439 h 10126"/>
                <a:gd name="connsiteX82" fmla="*/ 6857 w 10000"/>
                <a:gd name="connsiteY82" fmla="*/ 3390 h 10126"/>
                <a:gd name="connsiteX83" fmla="*/ 6838 w 10000"/>
                <a:gd name="connsiteY83" fmla="*/ 3342 h 10126"/>
                <a:gd name="connsiteX84" fmla="*/ 6826 w 10000"/>
                <a:gd name="connsiteY84" fmla="*/ 3288 h 10126"/>
                <a:gd name="connsiteX85" fmla="*/ 6794 w 10000"/>
                <a:gd name="connsiteY85" fmla="*/ 3197 h 10126"/>
                <a:gd name="connsiteX86" fmla="*/ 6788 w 10000"/>
                <a:gd name="connsiteY86" fmla="*/ 3149 h 10126"/>
                <a:gd name="connsiteX87" fmla="*/ 6788 w 10000"/>
                <a:gd name="connsiteY87" fmla="*/ 2962 h 10126"/>
                <a:gd name="connsiteX88" fmla="*/ 6788 w 10000"/>
                <a:gd name="connsiteY88" fmla="*/ 2776 h 10126"/>
                <a:gd name="connsiteX89" fmla="*/ 6995 w 10000"/>
                <a:gd name="connsiteY89" fmla="*/ 2776 h 10126"/>
                <a:gd name="connsiteX90" fmla="*/ 7033 w 10000"/>
                <a:gd name="connsiteY90" fmla="*/ 2842 h 10126"/>
                <a:gd name="connsiteX91" fmla="*/ 7058 w 10000"/>
                <a:gd name="connsiteY91" fmla="*/ 2884 h 10126"/>
                <a:gd name="connsiteX92" fmla="*/ 7095 w 10000"/>
                <a:gd name="connsiteY92" fmla="*/ 2920 h 10126"/>
                <a:gd name="connsiteX93" fmla="*/ 7127 w 10000"/>
                <a:gd name="connsiteY93" fmla="*/ 2962 h 10126"/>
                <a:gd name="connsiteX94" fmla="*/ 7120 w 10000"/>
                <a:gd name="connsiteY94" fmla="*/ 3059 h 10126"/>
                <a:gd name="connsiteX95" fmla="*/ 7102 w 10000"/>
                <a:gd name="connsiteY95" fmla="*/ 3119 h 10126"/>
                <a:gd name="connsiteX96" fmla="*/ 7089 w 10000"/>
                <a:gd name="connsiteY96" fmla="*/ 3167 h 10126"/>
                <a:gd name="connsiteX97" fmla="*/ 7077 w 10000"/>
                <a:gd name="connsiteY97" fmla="*/ 3222 h 10126"/>
                <a:gd name="connsiteX98" fmla="*/ 7208 w 10000"/>
                <a:gd name="connsiteY98" fmla="*/ 3258 h 10126"/>
                <a:gd name="connsiteX99" fmla="*/ 7334 w 10000"/>
                <a:gd name="connsiteY99" fmla="*/ 3294 h 10126"/>
                <a:gd name="connsiteX100" fmla="*/ 7396 w 10000"/>
                <a:gd name="connsiteY100" fmla="*/ 3313 h 10126"/>
                <a:gd name="connsiteX101" fmla="*/ 7459 w 10000"/>
                <a:gd name="connsiteY101" fmla="*/ 3325 h 10126"/>
                <a:gd name="connsiteX102" fmla="*/ 7522 w 10000"/>
                <a:gd name="connsiteY102" fmla="*/ 3331 h 10126"/>
                <a:gd name="connsiteX103" fmla="*/ 7585 w 10000"/>
                <a:gd name="connsiteY103" fmla="*/ 3336 h 10126"/>
                <a:gd name="connsiteX104" fmla="*/ 7591 w 10000"/>
                <a:gd name="connsiteY104" fmla="*/ 3360 h 10126"/>
                <a:gd name="connsiteX105" fmla="*/ 7604 w 10000"/>
                <a:gd name="connsiteY105" fmla="*/ 3384 h 10126"/>
                <a:gd name="connsiteX106" fmla="*/ 7622 w 10000"/>
                <a:gd name="connsiteY106" fmla="*/ 3402 h 10126"/>
                <a:gd name="connsiteX107" fmla="*/ 7654 w 10000"/>
                <a:gd name="connsiteY107" fmla="*/ 3420 h 10126"/>
                <a:gd name="connsiteX108" fmla="*/ 7704 w 10000"/>
                <a:gd name="connsiteY108" fmla="*/ 3439 h 10126"/>
                <a:gd name="connsiteX109" fmla="*/ 7748 w 10000"/>
                <a:gd name="connsiteY109" fmla="*/ 3445 h 10126"/>
                <a:gd name="connsiteX110" fmla="*/ 7798 w 10000"/>
                <a:gd name="connsiteY110" fmla="*/ 3445 h 10126"/>
                <a:gd name="connsiteX111" fmla="*/ 7836 w 10000"/>
                <a:gd name="connsiteY111" fmla="*/ 3433 h 10126"/>
                <a:gd name="connsiteX112" fmla="*/ 7880 w 10000"/>
                <a:gd name="connsiteY112" fmla="*/ 3414 h 10126"/>
                <a:gd name="connsiteX113" fmla="*/ 7911 w 10000"/>
                <a:gd name="connsiteY113" fmla="*/ 3396 h 10126"/>
                <a:gd name="connsiteX114" fmla="*/ 7949 w 10000"/>
                <a:gd name="connsiteY114" fmla="*/ 3372 h 10126"/>
                <a:gd name="connsiteX115" fmla="*/ 7980 w 10000"/>
                <a:gd name="connsiteY115" fmla="*/ 3342 h 10126"/>
                <a:gd name="connsiteX116" fmla="*/ 8011 w 10000"/>
                <a:gd name="connsiteY116" fmla="*/ 3313 h 10126"/>
                <a:gd name="connsiteX117" fmla="*/ 8036 w 10000"/>
                <a:gd name="connsiteY117" fmla="*/ 3282 h 10126"/>
                <a:gd name="connsiteX118" fmla="*/ 8087 w 10000"/>
                <a:gd name="connsiteY118" fmla="*/ 3203 h 10126"/>
                <a:gd name="connsiteX119" fmla="*/ 8118 w 10000"/>
                <a:gd name="connsiteY119" fmla="*/ 3131 h 10126"/>
                <a:gd name="connsiteX120" fmla="*/ 8149 w 10000"/>
                <a:gd name="connsiteY120" fmla="*/ 3065 h 10126"/>
                <a:gd name="connsiteX121" fmla="*/ 8168 w 10000"/>
                <a:gd name="connsiteY121" fmla="*/ 2999 h 10126"/>
                <a:gd name="connsiteX122" fmla="*/ 8231 w 10000"/>
                <a:gd name="connsiteY122" fmla="*/ 2932 h 10126"/>
                <a:gd name="connsiteX123" fmla="*/ 8294 w 10000"/>
                <a:gd name="connsiteY123" fmla="*/ 2866 h 10126"/>
                <a:gd name="connsiteX124" fmla="*/ 8363 w 10000"/>
                <a:gd name="connsiteY124" fmla="*/ 2813 h 10126"/>
                <a:gd name="connsiteX125" fmla="*/ 8432 w 10000"/>
                <a:gd name="connsiteY125" fmla="*/ 2752 h 10126"/>
                <a:gd name="connsiteX126" fmla="*/ 8507 w 10000"/>
                <a:gd name="connsiteY126" fmla="*/ 2704 h 10126"/>
                <a:gd name="connsiteX127" fmla="*/ 8576 w 10000"/>
                <a:gd name="connsiteY127" fmla="*/ 2656 h 10126"/>
                <a:gd name="connsiteX128" fmla="*/ 8651 w 10000"/>
                <a:gd name="connsiteY128" fmla="*/ 2614 h 10126"/>
                <a:gd name="connsiteX129" fmla="*/ 8726 w 10000"/>
                <a:gd name="connsiteY129" fmla="*/ 2570 h 10126"/>
                <a:gd name="connsiteX130" fmla="*/ 8808 w 10000"/>
                <a:gd name="connsiteY130" fmla="*/ 2528 h 10126"/>
                <a:gd name="connsiteX131" fmla="*/ 8890 w 10000"/>
                <a:gd name="connsiteY131" fmla="*/ 2492 h 10126"/>
                <a:gd name="connsiteX132" fmla="*/ 8971 w 10000"/>
                <a:gd name="connsiteY132" fmla="*/ 2462 h 10126"/>
                <a:gd name="connsiteX133" fmla="*/ 9059 w 10000"/>
                <a:gd name="connsiteY133" fmla="*/ 2432 h 10126"/>
                <a:gd name="connsiteX134" fmla="*/ 9235 w 10000"/>
                <a:gd name="connsiteY134" fmla="*/ 2378 h 10126"/>
                <a:gd name="connsiteX135" fmla="*/ 9417 w 10000"/>
                <a:gd name="connsiteY135" fmla="*/ 2335 h 10126"/>
                <a:gd name="connsiteX136" fmla="*/ 9454 w 10000"/>
                <a:gd name="connsiteY136" fmla="*/ 2384 h 10126"/>
                <a:gd name="connsiteX137" fmla="*/ 9504 w 10000"/>
                <a:gd name="connsiteY137" fmla="*/ 2444 h 10126"/>
                <a:gd name="connsiteX138" fmla="*/ 9573 w 10000"/>
                <a:gd name="connsiteY138" fmla="*/ 2510 h 10126"/>
                <a:gd name="connsiteX139" fmla="*/ 9642 w 10000"/>
                <a:gd name="connsiteY139" fmla="*/ 2583 h 10126"/>
                <a:gd name="connsiteX140" fmla="*/ 9718 w 10000"/>
                <a:gd name="connsiteY140" fmla="*/ 2644 h 10126"/>
                <a:gd name="connsiteX141" fmla="*/ 9799 w 10000"/>
                <a:gd name="connsiteY141" fmla="*/ 2692 h 10126"/>
                <a:gd name="connsiteX142" fmla="*/ 9837 w 10000"/>
                <a:gd name="connsiteY142" fmla="*/ 2716 h 10126"/>
                <a:gd name="connsiteX143" fmla="*/ 9875 w 10000"/>
                <a:gd name="connsiteY143" fmla="*/ 2728 h 10126"/>
                <a:gd name="connsiteX144" fmla="*/ 9918 w 10000"/>
                <a:gd name="connsiteY144" fmla="*/ 2740 h 10126"/>
                <a:gd name="connsiteX145" fmla="*/ 9956 w 10000"/>
                <a:gd name="connsiteY145" fmla="*/ 2740 h 10126"/>
                <a:gd name="connsiteX146" fmla="*/ 10000 w 10000"/>
                <a:gd name="connsiteY146" fmla="*/ 2668 h 10126"/>
                <a:gd name="connsiteX147" fmla="*/ 9975 w 10000"/>
                <a:gd name="connsiteY147" fmla="*/ 2795 h 10126"/>
                <a:gd name="connsiteX148" fmla="*/ 9944 w 10000"/>
                <a:gd name="connsiteY148" fmla="*/ 2938 h 10126"/>
                <a:gd name="connsiteX149" fmla="*/ 9931 w 10000"/>
                <a:gd name="connsiteY149" fmla="*/ 3005 h 10126"/>
                <a:gd name="connsiteX150" fmla="*/ 9906 w 10000"/>
                <a:gd name="connsiteY150" fmla="*/ 3065 h 10126"/>
                <a:gd name="connsiteX151" fmla="*/ 9887 w 10000"/>
                <a:gd name="connsiteY151" fmla="*/ 3089 h 10126"/>
                <a:gd name="connsiteX152" fmla="*/ 9875 w 10000"/>
                <a:gd name="connsiteY152" fmla="*/ 3113 h 10126"/>
                <a:gd name="connsiteX153" fmla="*/ 9856 w 10000"/>
                <a:gd name="connsiteY153" fmla="*/ 3131 h 10126"/>
                <a:gd name="connsiteX154" fmla="*/ 9837 w 10000"/>
                <a:gd name="connsiteY154" fmla="*/ 3149 h 10126"/>
                <a:gd name="connsiteX155" fmla="*/ 9749 w 10000"/>
                <a:gd name="connsiteY155" fmla="*/ 3167 h 10126"/>
                <a:gd name="connsiteX156" fmla="*/ 9605 w 10000"/>
                <a:gd name="connsiteY156" fmla="*/ 3216 h 10126"/>
                <a:gd name="connsiteX157" fmla="*/ 9536 w 10000"/>
                <a:gd name="connsiteY157" fmla="*/ 3258 h 10126"/>
                <a:gd name="connsiteX158" fmla="*/ 9479 w 10000"/>
                <a:gd name="connsiteY158" fmla="*/ 3294 h 10126"/>
                <a:gd name="connsiteX159" fmla="*/ 9448 w 10000"/>
                <a:gd name="connsiteY159" fmla="*/ 3313 h 10126"/>
                <a:gd name="connsiteX160" fmla="*/ 9435 w 10000"/>
                <a:gd name="connsiteY160" fmla="*/ 3331 h 10126"/>
                <a:gd name="connsiteX161" fmla="*/ 9423 w 10000"/>
                <a:gd name="connsiteY161" fmla="*/ 3354 h 10126"/>
                <a:gd name="connsiteX162" fmla="*/ 9417 w 10000"/>
                <a:gd name="connsiteY162" fmla="*/ 3372 h 10126"/>
                <a:gd name="connsiteX163" fmla="*/ 9423 w 10000"/>
                <a:gd name="connsiteY163" fmla="*/ 3583 h 10126"/>
                <a:gd name="connsiteX164" fmla="*/ 9417 w 10000"/>
                <a:gd name="connsiteY164" fmla="*/ 3824 h 10126"/>
                <a:gd name="connsiteX165" fmla="*/ 9398 w 10000"/>
                <a:gd name="connsiteY165" fmla="*/ 3884 h 10126"/>
                <a:gd name="connsiteX166" fmla="*/ 9391 w 10000"/>
                <a:gd name="connsiteY166" fmla="*/ 3950 h 10126"/>
                <a:gd name="connsiteX167" fmla="*/ 9379 w 10000"/>
                <a:gd name="connsiteY167" fmla="*/ 4004 h 10126"/>
                <a:gd name="connsiteX168" fmla="*/ 9366 w 10000"/>
                <a:gd name="connsiteY168" fmla="*/ 4059 h 10126"/>
                <a:gd name="connsiteX169" fmla="*/ 9348 w 10000"/>
                <a:gd name="connsiteY169" fmla="*/ 4108 h 10126"/>
                <a:gd name="connsiteX170" fmla="*/ 9316 w 10000"/>
                <a:gd name="connsiteY170" fmla="*/ 4156 h 10126"/>
                <a:gd name="connsiteX171" fmla="*/ 9285 w 10000"/>
                <a:gd name="connsiteY171" fmla="*/ 4192 h 10126"/>
                <a:gd name="connsiteX172" fmla="*/ 9247 w 10000"/>
                <a:gd name="connsiteY172" fmla="*/ 4222 h 10126"/>
                <a:gd name="connsiteX173" fmla="*/ 9228 w 10000"/>
                <a:gd name="connsiteY173" fmla="*/ 4240 h 10126"/>
                <a:gd name="connsiteX174" fmla="*/ 9184 w 10000"/>
                <a:gd name="connsiteY174" fmla="*/ 4246 h 10126"/>
                <a:gd name="connsiteX175" fmla="*/ 9141 w 10000"/>
                <a:gd name="connsiteY175" fmla="*/ 4252 h 10126"/>
                <a:gd name="connsiteX176" fmla="*/ 9090 w 10000"/>
                <a:gd name="connsiteY176" fmla="*/ 4258 h 10126"/>
                <a:gd name="connsiteX177" fmla="*/ 9040 w 10000"/>
                <a:gd name="connsiteY177" fmla="*/ 4264 h 10126"/>
                <a:gd name="connsiteX178" fmla="*/ 8996 w 10000"/>
                <a:gd name="connsiteY178" fmla="*/ 4283 h 10126"/>
                <a:gd name="connsiteX179" fmla="*/ 8977 w 10000"/>
                <a:gd name="connsiteY179" fmla="*/ 4289 h 10126"/>
                <a:gd name="connsiteX180" fmla="*/ 8965 w 10000"/>
                <a:gd name="connsiteY180" fmla="*/ 4307 h 10126"/>
                <a:gd name="connsiteX181" fmla="*/ 8959 w 10000"/>
                <a:gd name="connsiteY181" fmla="*/ 4319 h 10126"/>
                <a:gd name="connsiteX182" fmla="*/ 8959 w 10000"/>
                <a:gd name="connsiteY182" fmla="*/ 4337 h 10126"/>
                <a:gd name="connsiteX183" fmla="*/ 8952 w 10000"/>
                <a:gd name="connsiteY183" fmla="*/ 4408 h 10126"/>
                <a:gd name="connsiteX184" fmla="*/ 8952 w 10000"/>
                <a:gd name="connsiteY184" fmla="*/ 4493 h 10126"/>
                <a:gd name="connsiteX185" fmla="*/ 8940 w 10000"/>
                <a:gd name="connsiteY185" fmla="*/ 4583 h 10126"/>
                <a:gd name="connsiteX186" fmla="*/ 8927 w 10000"/>
                <a:gd name="connsiteY186" fmla="*/ 4667 h 10126"/>
                <a:gd name="connsiteX187" fmla="*/ 8908 w 10000"/>
                <a:gd name="connsiteY187" fmla="*/ 4753 h 10126"/>
                <a:gd name="connsiteX188" fmla="*/ 8890 w 10000"/>
                <a:gd name="connsiteY188" fmla="*/ 4831 h 10126"/>
                <a:gd name="connsiteX189" fmla="*/ 8864 w 10000"/>
                <a:gd name="connsiteY189" fmla="*/ 4902 h 10126"/>
                <a:gd name="connsiteX190" fmla="*/ 8833 w 10000"/>
                <a:gd name="connsiteY190" fmla="*/ 4969 h 10126"/>
                <a:gd name="connsiteX191" fmla="*/ 8538 w 10000"/>
                <a:gd name="connsiteY191" fmla="*/ 4480 h 10126"/>
                <a:gd name="connsiteX192" fmla="*/ 8526 w 10000"/>
                <a:gd name="connsiteY192" fmla="*/ 4505 h 10126"/>
                <a:gd name="connsiteX193" fmla="*/ 8494 w 10000"/>
                <a:gd name="connsiteY193" fmla="*/ 4559 h 10126"/>
                <a:gd name="connsiteX194" fmla="*/ 8463 w 10000"/>
                <a:gd name="connsiteY194" fmla="*/ 4589 h 10126"/>
                <a:gd name="connsiteX195" fmla="*/ 8438 w 10000"/>
                <a:gd name="connsiteY195" fmla="*/ 4613 h 10126"/>
                <a:gd name="connsiteX196" fmla="*/ 8407 w 10000"/>
                <a:gd name="connsiteY196" fmla="*/ 4631 h 10126"/>
                <a:gd name="connsiteX197" fmla="*/ 8375 w 10000"/>
                <a:gd name="connsiteY197" fmla="*/ 4637 h 10126"/>
                <a:gd name="connsiteX198" fmla="*/ 8338 w 10000"/>
                <a:gd name="connsiteY198" fmla="*/ 4631 h 10126"/>
                <a:gd name="connsiteX199" fmla="*/ 8312 w 10000"/>
                <a:gd name="connsiteY199" fmla="*/ 4625 h 10126"/>
                <a:gd name="connsiteX200" fmla="*/ 8287 w 10000"/>
                <a:gd name="connsiteY200" fmla="*/ 4607 h 10126"/>
                <a:gd name="connsiteX201" fmla="*/ 8256 w 10000"/>
                <a:gd name="connsiteY201" fmla="*/ 4589 h 10126"/>
                <a:gd name="connsiteX202" fmla="*/ 8237 w 10000"/>
                <a:gd name="connsiteY202" fmla="*/ 4559 h 10126"/>
                <a:gd name="connsiteX203" fmla="*/ 8225 w 10000"/>
                <a:gd name="connsiteY203" fmla="*/ 4535 h 10126"/>
                <a:gd name="connsiteX204" fmla="*/ 8206 w 10000"/>
                <a:gd name="connsiteY204" fmla="*/ 4511 h 10126"/>
                <a:gd name="connsiteX205" fmla="*/ 8206 w 10000"/>
                <a:gd name="connsiteY205" fmla="*/ 4480 h 10126"/>
                <a:gd name="connsiteX206" fmla="*/ 8206 w 10000"/>
                <a:gd name="connsiteY206" fmla="*/ 4444 h 10126"/>
                <a:gd name="connsiteX207" fmla="*/ 8225 w 10000"/>
                <a:gd name="connsiteY207" fmla="*/ 4408 h 10126"/>
                <a:gd name="connsiteX208" fmla="*/ 8237 w 10000"/>
                <a:gd name="connsiteY208" fmla="*/ 4372 h 10126"/>
                <a:gd name="connsiteX209" fmla="*/ 8250 w 10000"/>
                <a:gd name="connsiteY209" fmla="*/ 4337 h 10126"/>
                <a:gd name="connsiteX210" fmla="*/ 8300 w 10000"/>
                <a:gd name="connsiteY210" fmla="*/ 4270 h 10126"/>
                <a:gd name="connsiteX211" fmla="*/ 8356 w 10000"/>
                <a:gd name="connsiteY211" fmla="*/ 4204 h 10126"/>
                <a:gd name="connsiteX212" fmla="*/ 8407 w 10000"/>
                <a:gd name="connsiteY212" fmla="*/ 4144 h 10126"/>
                <a:gd name="connsiteX213" fmla="*/ 8457 w 10000"/>
                <a:gd name="connsiteY213" fmla="*/ 4078 h 10126"/>
                <a:gd name="connsiteX214" fmla="*/ 8469 w 10000"/>
                <a:gd name="connsiteY214" fmla="*/ 4041 h 10126"/>
                <a:gd name="connsiteX215" fmla="*/ 8482 w 10000"/>
                <a:gd name="connsiteY215" fmla="*/ 4010 h 10126"/>
                <a:gd name="connsiteX216" fmla="*/ 8501 w 10000"/>
                <a:gd name="connsiteY216" fmla="*/ 3968 h 10126"/>
                <a:gd name="connsiteX217" fmla="*/ 8501 w 10000"/>
                <a:gd name="connsiteY217" fmla="*/ 3932 h 10126"/>
                <a:gd name="connsiteX218" fmla="*/ 7748 w 10000"/>
                <a:gd name="connsiteY218" fmla="*/ 3932 h 10126"/>
                <a:gd name="connsiteX219" fmla="*/ 7723 w 10000"/>
                <a:gd name="connsiteY219" fmla="*/ 3926 h 10126"/>
                <a:gd name="connsiteX220" fmla="*/ 7685 w 10000"/>
                <a:gd name="connsiteY220" fmla="*/ 3908 h 10126"/>
                <a:gd name="connsiteX221" fmla="*/ 7660 w 10000"/>
                <a:gd name="connsiteY221" fmla="*/ 3872 h 10126"/>
                <a:gd name="connsiteX222" fmla="*/ 7635 w 10000"/>
                <a:gd name="connsiteY222" fmla="*/ 3836 h 10126"/>
                <a:gd name="connsiteX223" fmla="*/ 7616 w 10000"/>
                <a:gd name="connsiteY223" fmla="*/ 3788 h 10126"/>
                <a:gd name="connsiteX224" fmla="*/ 7597 w 10000"/>
                <a:gd name="connsiteY224" fmla="*/ 3740 h 10126"/>
                <a:gd name="connsiteX225" fmla="*/ 7591 w 10000"/>
                <a:gd name="connsiteY225" fmla="*/ 3686 h 10126"/>
                <a:gd name="connsiteX226" fmla="*/ 7585 w 10000"/>
                <a:gd name="connsiteY226" fmla="*/ 3631 h 10126"/>
                <a:gd name="connsiteX227" fmla="*/ 7547 w 10000"/>
                <a:gd name="connsiteY227" fmla="*/ 3631 h 10126"/>
                <a:gd name="connsiteX228" fmla="*/ 7516 w 10000"/>
                <a:gd name="connsiteY228" fmla="*/ 3625 h 10126"/>
                <a:gd name="connsiteX229" fmla="*/ 7478 w 10000"/>
                <a:gd name="connsiteY229" fmla="*/ 3619 h 10126"/>
                <a:gd name="connsiteX230" fmla="*/ 7447 w 10000"/>
                <a:gd name="connsiteY230" fmla="*/ 3607 h 10126"/>
                <a:gd name="connsiteX231" fmla="*/ 7415 w 10000"/>
                <a:gd name="connsiteY231" fmla="*/ 3589 h 10126"/>
                <a:gd name="connsiteX232" fmla="*/ 7396 w 10000"/>
                <a:gd name="connsiteY232" fmla="*/ 3571 h 10126"/>
                <a:gd name="connsiteX233" fmla="*/ 7384 w 10000"/>
                <a:gd name="connsiteY233" fmla="*/ 3541 h 10126"/>
                <a:gd name="connsiteX234" fmla="*/ 7378 w 10000"/>
                <a:gd name="connsiteY234" fmla="*/ 3517 h 10126"/>
                <a:gd name="connsiteX235" fmla="*/ 7321 w 10000"/>
                <a:gd name="connsiteY235" fmla="*/ 3517 h 10126"/>
                <a:gd name="connsiteX236" fmla="*/ 7271 w 10000"/>
                <a:gd name="connsiteY236" fmla="*/ 3517 h 10126"/>
                <a:gd name="connsiteX237" fmla="*/ 7221 w 10000"/>
                <a:gd name="connsiteY237" fmla="*/ 3517 h 10126"/>
                <a:gd name="connsiteX238" fmla="*/ 7171 w 10000"/>
                <a:gd name="connsiteY238" fmla="*/ 3517 h 10126"/>
                <a:gd name="connsiteX239" fmla="*/ 7127 w 10000"/>
                <a:gd name="connsiteY239" fmla="*/ 3523 h 10126"/>
                <a:gd name="connsiteX240" fmla="*/ 7095 w 10000"/>
                <a:gd name="connsiteY240" fmla="*/ 3529 h 10126"/>
                <a:gd name="connsiteX241" fmla="*/ 7051 w 10000"/>
                <a:gd name="connsiteY241" fmla="*/ 3547 h 10126"/>
                <a:gd name="connsiteX242" fmla="*/ 7008 w 10000"/>
                <a:gd name="connsiteY242" fmla="*/ 3571 h 10126"/>
                <a:gd name="connsiteX243" fmla="*/ 6976 w 10000"/>
                <a:gd name="connsiteY243" fmla="*/ 3601 h 10126"/>
                <a:gd name="connsiteX244" fmla="*/ 6939 w 10000"/>
                <a:gd name="connsiteY244" fmla="*/ 3631 h 10126"/>
                <a:gd name="connsiteX245" fmla="*/ 6920 w 10000"/>
                <a:gd name="connsiteY245" fmla="*/ 3668 h 10126"/>
                <a:gd name="connsiteX246" fmla="*/ 6913 w 10000"/>
                <a:gd name="connsiteY246" fmla="*/ 3704 h 10126"/>
                <a:gd name="connsiteX247" fmla="*/ 6926 w 10000"/>
                <a:gd name="connsiteY247" fmla="*/ 3728 h 10126"/>
                <a:gd name="connsiteX248" fmla="*/ 6964 w 10000"/>
                <a:gd name="connsiteY248" fmla="*/ 3758 h 10126"/>
                <a:gd name="connsiteX249" fmla="*/ 7008 w 10000"/>
                <a:gd name="connsiteY249" fmla="*/ 3794 h 10126"/>
                <a:gd name="connsiteX250" fmla="*/ 7070 w 10000"/>
                <a:gd name="connsiteY250" fmla="*/ 3830 h 10126"/>
                <a:gd name="connsiteX251" fmla="*/ 7133 w 10000"/>
                <a:gd name="connsiteY251" fmla="*/ 3866 h 10126"/>
                <a:gd name="connsiteX252" fmla="*/ 7196 w 10000"/>
                <a:gd name="connsiteY252" fmla="*/ 3896 h 10126"/>
                <a:gd name="connsiteX253" fmla="*/ 7252 w 10000"/>
                <a:gd name="connsiteY253" fmla="*/ 3920 h 10126"/>
                <a:gd name="connsiteX254" fmla="*/ 7290 w 10000"/>
                <a:gd name="connsiteY254" fmla="*/ 3932 h 10126"/>
                <a:gd name="connsiteX255" fmla="*/ 7208 w 10000"/>
                <a:gd name="connsiteY255" fmla="*/ 3992 h 10126"/>
                <a:gd name="connsiteX256" fmla="*/ 7114 w 10000"/>
                <a:gd name="connsiteY256" fmla="*/ 4066 h 10126"/>
                <a:gd name="connsiteX257" fmla="*/ 7070 w 10000"/>
                <a:gd name="connsiteY257" fmla="*/ 4102 h 10126"/>
                <a:gd name="connsiteX258" fmla="*/ 7033 w 10000"/>
                <a:gd name="connsiteY258" fmla="*/ 4144 h 10126"/>
                <a:gd name="connsiteX259" fmla="*/ 7020 w 10000"/>
                <a:gd name="connsiteY259" fmla="*/ 4162 h 10126"/>
                <a:gd name="connsiteX260" fmla="*/ 7008 w 10000"/>
                <a:gd name="connsiteY260" fmla="*/ 4180 h 10126"/>
                <a:gd name="connsiteX261" fmla="*/ 7001 w 10000"/>
                <a:gd name="connsiteY261" fmla="*/ 4204 h 10126"/>
                <a:gd name="connsiteX262" fmla="*/ 6995 w 10000"/>
                <a:gd name="connsiteY262" fmla="*/ 4222 h 10126"/>
                <a:gd name="connsiteX263" fmla="*/ 7001 w 10000"/>
                <a:gd name="connsiteY263" fmla="*/ 4252 h 10126"/>
                <a:gd name="connsiteX264" fmla="*/ 7008 w 10000"/>
                <a:gd name="connsiteY264" fmla="*/ 4270 h 10126"/>
                <a:gd name="connsiteX265" fmla="*/ 7026 w 10000"/>
                <a:gd name="connsiteY265" fmla="*/ 4295 h 10126"/>
                <a:gd name="connsiteX266" fmla="*/ 7039 w 10000"/>
                <a:gd name="connsiteY266" fmla="*/ 4319 h 10126"/>
                <a:gd name="connsiteX267" fmla="*/ 7089 w 10000"/>
                <a:gd name="connsiteY267" fmla="*/ 4366 h 10126"/>
                <a:gd name="connsiteX268" fmla="*/ 7146 w 10000"/>
                <a:gd name="connsiteY268" fmla="*/ 4414 h 10126"/>
                <a:gd name="connsiteX269" fmla="*/ 7208 w 10000"/>
                <a:gd name="connsiteY269" fmla="*/ 4456 h 10126"/>
                <a:gd name="connsiteX270" fmla="*/ 7277 w 10000"/>
                <a:gd name="connsiteY270" fmla="*/ 4493 h 10126"/>
                <a:gd name="connsiteX271" fmla="*/ 7315 w 10000"/>
                <a:gd name="connsiteY271" fmla="*/ 4505 h 10126"/>
                <a:gd name="connsiteX272" fmla="*/ 7346 w 10000"/>
                <a:gd name="connsiteY272" fmla="*/ 4511 h 10126"/>
                <a:gd name="connsiteX273" fmla="*/ 7384 w 10000"/>
                <a:gd name="connsiteY273" fmla="*/ 4517 h 10126"/>
                <a:gd name="connsiteX274" fmla="*/ 7415 w 10000"/>
                <a:gd name="connsiteY274" fmla="*/ 4523 h 10126"/>
                <a:gd name="connsiteX275" fmla="*/ 7585 w 10000"/>
                <a:gd name="connsiteY275" fmla="*/ 5150 h 10126"/>
                <a:gd name="connsiteX276" fmla="*/ 7491 w 10000"/>
                <a:gd name="connsiteY276" fmla="*/ 5150 h 10126"/>
                <a:gd name="connsiteX277" fmla="*/ 7403 w 10000"/>
                <a:gd name="connsiteY277" fmla="*/ 5150 h 10126"/>
                <a:gd name="connsiteX278" fmla="*/ 7321 w 10000"/>
                <a:gd name="connsiteY278" fmla="*/ 5150 h 10126"/>
                <a:gd name="connsiteX279" fmla="*/ 7252 w 10000"/>
                <a:gd name="connsiteY279" fmla="*/ 5150 h 10126"/>
                <a:gd name="connsiteX280" fmla="*/ 7208 w 10000"/>
                <a:gd name="connsiteY280" fmla="*/ 5144 h 10126"/>
                <a:gd name="connsiteX281" fmla="*/ 7164 w 10000"/>
                <a:gd name="connsiteY281" fmla="*/ 5113 h 10126"/>
                <a:gd name="connsiteX282" fmla="*/ 7133 w 10000"/>
                <a:gd name="connsiteY282" fmla="*/ 5101 h 10126"/>
                <a:gd name="connsiteX283" fmla="*/ 7102 w 10000"/>
                <a:gd name="connsiteY283" fmla="*/ 5089 h 10126"/>
                <a:gd name="connsiteX284" fmla="*/ 7070 w 10000"/>
                <a:gd name="connsiteY284" fmla="*/ 5083 h 10126"/>
                <a:gd name="connsiteX285" fmla="*/ 7039 w 10000"/>
                <a:gd name="connsiteY285" fmla="*/ 5077 h 10126"/>
                <a:gd name="connsiteX286" fmla="*/ 7008 w 10000"/>
                <a:gd name="connsiteY286" fmla="*/ 5089 h 10126"/>
                <a:gd name="connsiteX287" fmla="*/ 6957 w 10000"/>
                <a:gd name="connsiteY287" fmla="*/ 5119 h 10126"/>
                <a:gd name="connsiteX288" fmla="*/ 6895 w 10000"/>
                <a:gd name="connsiteY288" fmla="*/ 5162 h 10126"/>
                <a:gd name="connsiteX289" fmla="*/ 6819 w 10000"/>
                <a:gd name="connsiteY289" fmla="*/ 5210 h 10126"/>
                <a:gd name="connsiteX290" fmla="*/ 6744 w 10000"/>
                <a:gd name="connsiteY290" fmla="*/ 5270 h 10126"/>
                <a:gd name="connsiteX291" fmla="*/ 6681 w 10000"/>
                <a:gd name="connsiteY291" fmla="*/ 5318 h 10126"/>
                <a:gd name="connsiteX292" fmla="*/ 6637 w 10000"/>
                <a:gd name="connsiteY292" fmla="*/ 5354 h 10126"/>
                <a:gd name="connsiteX293" fmla="*/ 6625 w 10000"/>
                <a:gd name="connsiteY293" fmla="*/ 5378 h 10126"/>
                <a:gd name="connsiteX294" fmla="*/ 6750 w 10000"/>
                <a:gd name="connsiteY294" fmla="*/ 5450 h 10126"/>
                <a:gd name="connsiteX295" fmla="*/ 6744 w 10000"/>
                <a:gd name="connsiteY295" fmla="*/ 5487 h 10126"/>
                <a:gd name="connsiteX296" fmla="*/ 6725 w 10000"/>
                <a:gd name="connsiteY296" fmla="*/ 5529 h 10126"/>
                <a:gd name="connsiteX297" fmla="*/ 6706 w 10000"/>
                <a:gd name="connsiteY297" fmla="*/ 5560 h 10126"/>
                <a:gd name="connsiteX298" fmla="*/ 6688 w 10000"/>
                <a:gd name="connsiteY298" fmla="*/ 5602 h 10126"/>
                <a:gd name="connsiteX299" fmla="*/ 6637 w 10000"/>
                <a:gd name="connsiteY299" fmla="*/ 5656 h 10126"/>
                <a:gd name="connsiteX300" fmla="*/ 6581 w 10000"/>
                <a:gd name="connsiteY300" fmla="*/ 5710 h 10126"/>
                <a:gd name="connsiteX301" fmla="*/ 6518 w 10000"/>
                <a:gd name="connsiteY301" fmla="*/ 5758 h 10126"/>
                <a:gd name="connsiteX302" fmla="*/ 6443 w 10000"/>
                <a:gd name="connsiteY302" fmla="*/ 5801 h 10126"/>
                <a:gd name="connsiteX303" fmla="*/ 6374 w 10000"/>
                <a:gd name="connsiteY303" fmla="*/ 5837 h 10126"/>
                <a:gd name="connsiteX304" fmla="*/ 6299 w 10000"/>
                <a:gd name="connsiteY304" fmla="*/ 5872 h 10126"/>
                <a:gd name="connsiteX305" fmla="*/ 6223 w 10000"/>
                <a:gd name="connsiteY305" fmla="*/ 5920 h 10126"/>
                <a:gd name="connsiteX306" fmla="*/ 6154 w 10000"/>
                <a:gd name="connsiteY306" fmla="*/ 5956 h 10126"/>
                <a:gd name="connsiteX307" fmla="*/ 6092 w 10000"/>
                <a:gd name="connsiteY307" fmla="*/ 5999 h 10126"/>
                <a:gd name="connsiteX308" fmla="*/ 6035 w 10000"/>
                <a:gd name="connsiteY308" fmla="*/ 6047 h 10126"/>
                <a:gd name="connsiteX309" fmla="*/ 6004 w 10000"/>
                <a:gd name="connsiteY309" fmla="*/ 6071 h 10126"/>
                <a:gd name="connsiteX310" fmla="*/ 5985 w 10000"/>
                <a:gd name="connsiteY310" fmla="*/ 6095 h 10126"/>
                <a:gd name="connsiteX311" fmla="*/ 5966 w 10000"/>
                <a:gd name="connsiteY311" fmla="*/ 6125 h 10126"/>
                <a:gd name="connsiteX312" fmla="*/ 5947 w 10000"/>
                <a:gd name="connsiteY312" fmla="*/ 6155 h 10126"/>
                <a:gd name="connsiteX313" fmla="*/ 5935 w 10000"/>
                <a:gd name="connsiteY313" fmla="*/ 6193 h 10126"/>
                <a:gd name="connsiteX314" fmla="*/ 5922 w 10000"/>
                <a:gd name="connsiteY314" fmla="*/ 6223 h 10126"/>
                <a:gd name="connsiteX315" fmla="*/ 5916 w 10000"/>
                <a:gd name="connsiteY315" fmla="*/ 6265 h 10126"/>
                <a:gd name="connsiteX316" fmla="*/ 5916 w 10000"/>
                <a:gd name="connsiteY316" fmla="*/ 6307 h 10126"/>
                <a:gd name="connsiteX317" fmla="*/ 5859 w 10000"/>
                <a:gd name="connsiteY317" fmla="*/ 6325 h 10126"/>
                <a:gd name="connsiteX318" fmla="*/ 5809 w 10000"/>
                <a:gd name="connsiteY318" fmla="*/ 6343 h 10126"/>
                <a:gd name="connsiteX319" fmla="*/ 5765 w 10000"/>
                <a:gd name="connsiteY319" fmla="*/ 6366 h 10126"/>
                <a:gd name="connsiteX320" fmla="*/ 5721 w 10000"/>
                <a:gd name="connsiteY320" fmla="*/ 6390 h 10126"/>
                <a:gd name="connsiteX321" fmla="*/ 5634 w 10000"/>
                <a:gd name="connsiteY321" fmla="*/ 6451 h 10126"/>
                <a:gd name="connsiteX322" fmla="*/ 5558 w 10000"/>
                <a:gd name="connsiteY322" fmla="*/ 6523 h 10126"/>
                <a:gd name="connsiteX323" fmla="*/ 5420 w 10000"/>
                <a:gd name="connsiteY323" fmla="*/ 6686 h 10126"/>
                <a:gd name="connsiteX324" fmla="*/ 5289 w 10000"/>
                <a:gd name="connsiteY324" fmla="*/ 6860 h 10126"/>
                <a:gd name="connsiteX325" fmla="*/ 5220 w 10000"/>
                <a:gd name="connsiteY325" fmla="*/ 6951 h 10126"/>
                <a:gd name="connsiteX326" fmla="*/ 5151 w 10000"/>
                <a:gd name="connsiteY326" fmla="*/ 7029 h 10126"/>
                <a:gd name="connsiteX327" fmla="*/ 5075 w 10000"/>
                <a:gd name="connsiteY327" fmla="*/ 7102 h 10126"/>
                <a:gd name="connsiteX328" fmla="*/ 4994 w 10000"/>
                <a:gd name="connsiteY328" fmla="*/ 7168 h 10126"/>
                <a:gd name="connsiteX329" fmla="*/ 4944 w 10000"/>
                <a:gd name="connsiteY329" fmla="*/ 7198 h 10126"/>
                <a:gd name="connsiteX330" fmla="*/ 4893 w 10000"/>
                <a:gd name="connsiteY330" fmla="*/ 7222 h 10126"/>
                <a:gd name="connsiteX331" fmla="*/ 4849 w 10000"/>
                <a:gd name="connsiteY331" fmla="*/ 7246 h 10126"/>
                <a:gd name="connsiteX332" fmla="*/ 4793 w 10000"/>
                <a:gd name="connsiteY332" fmla="*/ 7271 h 10126"/>
                <a:gd name="connsiteX333" fmla="*/ 4730 w 10000"/>
                <a:gd name="connsiteY333" fmla="*/ 7289 h 10126"/>
                <a:gd name="connsiteX334" fmla="*/ 4674 w 10000"/>
                <a:gd name="connsiteY334" fmla="*/ 7301 h 10126"/>
                <a:gd name="connsiteX335" fmla="*/ 4605 w 10000"/>
                <a:gd name="connsiteY335" fmla="*/ 7307 h 10126"/>
                <a:gd name="connsiteX336" fmla="*/ 4536 w 10000"/>
                <a:gd name="connsiteY336" fmla="*/ 7307 h 10126"/>
                <a:gd name="connsiteX337" fmla="*/ 4536 w 10000"/>
                <a:gd name="connsiteY337" fmla="*/ 7360 h 10126"/>
                <a:gd name="connsiteX338" fmla="*/ 4536 w 10000"/>
                <a:gd name="connsiteY338" fmla="*/ 7414 h 10126"/>
                <a:gd name="connsiteX339" fmla="*/ 4536 w 10000"/>
                <a:gd name="connsiteY339" fmla="*/ 7456 h 10126"/>
                <a:gd name="connsiteX340" fmla="*/ 4536 w 10000"/>
                <a:gd name="connsiteY340" fmla="*/ 7493 h 10126"/>
                <a:gd name="connsiteX341" fmla="*/ 4536 w 10000"/>
                <a:gd name="connsiteY341" fmla="*/ 7559 h 10126"/>
                <a:gd name="connsiteX342" fmla="*/ 4536 w 10000"/>
                <a:gd name="connsiteY342" fmla="*/ 7662 h 10126"/>
                <a:gd name="connsiteX343" fmla="*/ 4536 w 10000"/>
                <a:gd name="connsiteY343" fmla="*/ 7771 h 10126"/>
                <a:gd name="connsiteX344" fmla="*/ 4548 w 10000"/>
                <a:gd name="connsiteY344" fmla="*/ 7884 h 10126"/>
                <a:gd name="connsiteX345" fmla="*/ 4561 w 10000"/>
                <a:gd name="connsiteY345" fmla="*/ 7945 h 10126"/>
                <a:gd name="connsiteX346" fmla="*/ 4573 w 10000"/>
                <a:gd name="connsiteY346" fmla="*/ 7999 h 10126"/>
                <a:gd name="connsiteX347" fmla="*/ 4586 w 10000"/>
                <a:gd name="connsiteY347" fmla="*/ 8047 h 10126"/>
                <a:gd name="connsiteX348" fmla="*/ 4611 w 10000"/>
                <a:gd name="connsiteY348" fmla="*/ 8089 h 10126"/>
                <a:gd name="connsiteX349" fmla="*/ 4636 w 10000"/>
                <a:gd name="connsiteY349" fmla="*/ 8132 h 10126"/>
                <a:gd name="connsiteX350" fmla="*/ 4668 w 10000"/>
                <a:gd name="connsiteY350" fmla="*/ 8162 h 10126"/>
                <a:gd name="connsiteX351" fmla="*/ 4705 w 10000"/>
                <a:gd name="connsiteY351" fmla="*/ 8186 h 10126"/>
                <a:gd name="connsiteX352" fmla="*/ 4749 w 10000"/>
                <a:gd name="connsiteY352" fmla="*/ 8198 h 10126"/>
                <a:gd name="connsiteX353" fmla="*/ 4711 w 10000"/>
                <a:gd name="connsiteY353" fmla="*/ 8294 h 10126"/>
                <a:gd name="connsiteX354" fmla="*/ 4668 w 10000"/>
                <a:gd name="connsiteY354" fmla="*/ 8379 h 10126"/>
                <a:gd name="connsiteX355" fmla="*/ 4617 w 10000"/>
                <a:gd name="connsiteY355" fmla="*/ 8457 h 10126"/>
                <a:gd name="connsiteX356" fmla="*/ 4573 w 10000"/>
                <a:gd name="connsiteY356" fmla="*/ 8529 h 10126"/>
                <a:gd name="connsiteX357" fmla="*/ 4523 w 10000"/>
                <a:gd name="connsiteY357" fmla="*/ 8614 h 10126"/>
                <a:gd name="connsiteX358" fmla="*/ 4492 w 10000"/>
                <a:gd name="connsiteY358" fmla="*/ 8692 h 10126"/>
                <a:gd name="connsiteX359" fmla="*/ 4473 w 10000"/>
                <a:gd name="connsiteY359" fmla="*/ 8728 h 10126"/>
                <a:gd name="connsiteX360" fmla="*/ 4467 w 10000"/>
                <a:gd name="connsiteY360" fmla="*/ 8771 h 10126"/>
                <a:gd name="connsiteX361" fmla="*/ 4460 w 10000"/>
                <a:gd name="connsiteY361" fmla="*/ 8819 h 10126"/>
                <a:gd name="connsiteX362" fmla="*/ 4454 w 10000"/>
                <a:gd name="connsiteY362" fmla="*/ 8861 h 10126"/>
                <a:gd name="connsiteX363" fmla="*/ 4460 w 10000"/>
                <a:gd name="connsiteY363" fmla="*/ 8878 h 10126"/>
                <a:gd name="connsiteX364" fmla="*/ 4467 w 10000"/>
                <a:gd name="connsiteY364" fmla="*/ 8890 h 10126"/>
                <a:gd name="connsiteX365" fmla="*/ 4479 w 10000"/>
                <a:gd name="connsiteY365" fmla="*/ 8902 h 10126"/>
                <a:gd name="connsiteX366" fmla="*/ 4504 w 10000"/>
                <a:gd name="connsiteY366" fmla="*/ 8914 h 10126"/>
                <a:gd name="connsiteX367" fmla="*/ 4542 w 10000"/>
                <a:gd name="connsiteY367" fmla="*/ 8938 h 10126"/>
                <a:gd name="connsiteX368" fmla="*/ 4580 w 10000"/>
                <a:gd name="connsiteY368" fmla="*/ 8944 h 10126"/>
                <a:gd name="connsiteX369" fmla="*/ 4580 w 10000"/>
                <a:gd name="connsiteY369" fmla="*/ 9162 h 10126"/>
                <a:gd name="connsiteX370" fmla="*/ 4529 w 10000"/>
                <a:gd name="connsiteY370" fmla="*/ 9247 h 10126"/>
                <a:gd name="connsiteX371" fmla="*/ 4492 w 10000"/>
                <a:gd name="connsiteY371" fmla="*/ 9337 h 10126"/>
                <a:gd name="connsiteX372" fmla="*/ 4460 w 10000"/>
                <a:gd name="connsiteY372" fmla="*/ 9372 h 10126"/>
                <a:gd name="connsiteX373" fmla="*/ 4429 w 10000"/>
                <a:gd name="connsiteY373" fmla="*/ 9397 h 10126"/>
                <a:gd name="connsiteX374" fmla="*/ 4404 w 10000"/>
                <a:gd name="connsiteY374" fmla="*/ 9409 h 10126"/>
                <a:gd name="connsiteX375" fmla="*/ 4385 w 10000"/>
                <a:gd name="connsiteY375" fmla="*/ 9415 h 10126"/>
                <a:gd name="connsiteX376" fmla="*/ 4360 w 10000"/>
                <a:gd name="connsiteY376" fmla="*/ 9421 h 10126"/>
                <a:gd name="connsiteX377" fmla="*/ 4329 w 10000"/>
                <a:gd name="connsiteY377" fmla="*/ 9421 h 10126"/>
                <a:gd name="connsiteX378" fmla="*/ 4329 w 10000"/>
                <a:gd name="connsiteY378" fmla="*/ 9469 h 10126"/>
                <a:gd name="connsiteX379" fmla="*/ 4335 w 10000"/>
                <a:gd name="connsiteY379" fmla="*/ 9529 h 10126"/>
                <a:gd name="connsiteX380" fmla="*/ 4348 w 10000"/>
                <a:gd name="connsiteY380" fmla="*/ 9559 h 10126"/>
                <a:gd name="connsiteX381" fmla="*/ 4354 w 10000"/>
                <a:gd name="connsiteY381" fmla="*/ 9583 h 10126"/>
                <a:gd name="connsiteX382" fmla="*/ 4360 w 10000"/>
                <a:gd name="connsiteY382" fmla="*/ 9602 h 10126"/>
                <a:gd name="connsiteX383" fmla="*/ 4373 w 10000"/>
                <a:gd name="connsiteY383" fmla="*/ 9608 h 10126"/>
                <a:gd name="connsiteX384" fmla="*/ 4210 w 10000"/>
                <a:gd name="connsiteY384" fmla="*/ 9734 h 10126"/>
                <a:gd name="connsiteX385" fmla="*/ 4072 w 10000"/>
                <a:gd name="connsiteY385" fmla="*/ 9838 h 10126"/>
                <a:gd name="connsiteX386" fmla="*/ 4009 w 10000"/>
                <a:gd name="connsiteY386" fmla="*/ 9897 h 10126"/>
                <a:gd name="connsiteX387" fmla="*/ 3952 w 10000"/>
                <a:gd name="connsiteY387" fmla="*/ 9963 h 10126"/>
                <a:gd name="connsiteX388" fmla="*/ 3890 w 10000"/>
                <a:gd name="connsiteY388" fmla="*/ 10042 h 10126"/>
                <a:gd name="connsiteX389" fmla="*/ 3833 w 10000"/>
                <a:gd name="connsiteY389" fmla="*/ 10126 h 10126"/>
                <a:gd name="connsiteX390" fmla="*/ 3733 w 10000"/>
                <a:gd name="connsiteY390" fmla="*/ 10084 h 10126"/>
                <a:gd name="connsiteX391" fmla="*/ 3664 w 10000"/>
                <a:gd name="connsiteY391" fmla="*/ 10042 h 10126"/>
                <a:gd name="connsiteX392" fmla="*/ 3607 w 10000"/>
                <a:gd name="connsiteY392" fmla="*/ 9999 h 10126"/>
                <a:gd name="connsiteX393" fmla="*/ 3563 w 10000"/>
                <a:gd name="connsiteY393" fmla="*/ 9951 h 10126"/>
                <a:gd name="connsiteX394" fmla="*/ 3532 w 10000"/>
                <a:gd name="connsiteY394" fmla="*/ 9891 h 10126"/>
                <a:gd name="connsiteX395" fmla="*/ 3513 w 10000"/>
                <a:gd name="connsiteY395" fmla="*/ 9832 h 10126"/>
                <a:gd name="connsiteX396" fmla="*/ 3482 w 10000"/>
                <a:gd name="connsiteY396" fmla="*/ 9758 h 10126"/>
                <a:gd name="connsiteX397" fmla="*/ 3457 w 10000"/>
                <a:gd name="connsiteY397" fmla="*/ 9686 h 10126"/>
                <a:gd name="connsiteX398" fmla="*/ 3400 w 10000"/>
                <a:gd name="connsiteY398" fmla="*/ 9547 h 10126"/>
                <a:gd name="connsiteX399" fmla="*/ 3325 w 10000"/>
                <a:gd name="connsiteY399" fmla="*/ 9415 h 10126"/>
                <a:gd name="connsiteX400" fmla="*/ 3237 w 10000"/>
                <a:gd name="connsiteY400" fmla="*/ 9277 h 10126"/>
                <a:gd name="connsiteX401" fmla="*/ 3143 w 10000"/>
                <a:gd name="connsiteY401" fmla="*/ 9132 h 10126"/>
                <a:gd name="connsiteX402" fmla="*/ 3049 w 10000"/>
                <a:gd name="connsiteY402" fmla="*/ 8999 h 10126"/>
                <a:gd name="connsiteX403" fmla="*/ 2967 w 10000"/>
                <a:gd name="connsiteY403" fmla="*/ 8867 h 10126"/>
                <a:gd name="connsiteX404" fmla="*/ 2892 w 10000"/>
                <a:gd name="connsiteY404" fmla="*/ 8747 h 10126"/>
                <a:gd name="connsiteX405" fmla="*/ 2829 w 10000"/>
                <a:gd name="connsiteY405" fmla="*/ 8644 h 10126"/>
                <a:gd name="connsiteX406" fmla="*/ 2773 w 10000"/>
                <a:gd name="connsiteY406" fmla="*/ 8529 h 10126"/>
                <a:gd name="connsiteX407" fmla="*/ 2735 w 10000"/>
                <a:gd name="connsiteY407" fmla="*/ 8427 h 10126"/>
                <a:gd name="connsiteX408" fmla="*/ 2698 w 10000"/>
                <a:gd name="connsiteY408" fmla="*/ 8319 h 10126"/>
                <a:gd name="connsiteX409" fmla="*/ 2666 w 10000"/>
                <a:gd name="connsiteY409" fmla="*/ 8210 h 10126"/>
                <a:gd name="connsiteX410" fmla="*/ 2629 w 10000"/>
                <a:gd name="connsiteY410" fmla="*/ 8101 h 10126"/>
                <a:gd name="connsiteX411" fmla="*/ 2597 w 10000"/>
                <a:gd name="connsiteY411" fmla="*/ 7993 h 10126"/>
                <a:gd name="connsiteX412" fmla="*/ 2553 w 10000"/>
                <a:gd name="connsiteY412" fmla="*/ 7872 h 10126"/>
                <a:gd name="connsiteX413" fmla="*/ 2497 w 10000"/>
                <a:gd name="connsiteY413" fmla="*/ 7753 h 10126"/>
                <a:gd name="connsiteX414" fmla="*/ 2359 w 10000"/>
                <a:gd name="connsiteY414" fmla="*/ 7559 h 10126"/>
                <a:gd name="connsiteX415" fmla="*/ 2208 w 10000"/>
                <a:gd name="connsiteY415" fmla="*/ 7378 h 10126"/>
                <a:gd name="connsiteX416" fmla="*/ 2139 w 10000"/>
                <a:gd name="connsiteY416" fmla="*/ 7295 h 10126"/>
                <a:gd name="connsiteX417" fmla="*/ 2070 w 10000"/>
                <a:gd name="connsiteY417" fmla="*/ 7198 h 10126"/>
                <a:gd name="connsiteX418" fmla="*/ 2008 w 10000"/>
                <a:gd name="connsiteY418" fmla="*/ 7108 h 10126"/>
                <a:gd name="connsiteX419" fmla="*/ 1957 w 10000"/>
                <a:gd name="connsiteY419" fmla="*/ 7011 h 10126"/>
                <a:gd name="connsiteX420" fmla="*/ 1888 w 10000"/>
                <a:gd name="connsiteY420" fmla="*/ 6776 h 10126"/>
                <a:gd name="connsiteX421" fmla="*/ 1832 w 10000"/>
                <a:gd name="connsiteY421" fmla="*/ 6559 h 10126"/>
                <a:gd name="connsiteX422" fmla="*/ 1782 w 10000"/>
                <a:gd name="connsiteY422" fmla="*/ 6349 h 10126"/>
                <a:gd name="connsiteX423" fmla="*/ 1757 w 10000"/>
                <a:gd name="connsiteY423" fmla="*/ 6137 h 10126"/>
                <a:gd name="connsiteX424" fmla="*/ 1725 w 10000"/>
                <a:gd name="connsiteY424" fmla="*/ 5932 h 10126"/>
                <a:gd name="connsiteX425" fmla="*/ 1713 w 10000"/>
                <a:gd name="connsiteY425" fmla="*/ 5716 h 10126"/>
                <a:gd name="connsiteX426" fmla="*/ 1706 w 10000"/>
                <a:gd name="connsiteY426" fmla="*/ 5493 h 10126"/>
                <a:gd name="connsiteX427" fmla="*/ 1706 w 10000"/>
                <a:gd name="connsiteY427" fmla="*/ 5270 h 10126"/>
                <a:gd name="connsiteX428" fmla="*/ 1681 w 10000"/>
                <a:gd name="connsiteY428" fmla="*/ 5264 h 10126"/>
                <a:gd name="connsiteX429" fmla="*/ 1650 w 10000"/>
                <a:gd name="connsiteY429" fmla="*/ 5258 h 10126"/>
                <a:gd name="connsiteX430" fmla="*/ 1625 w 10000"/>
                <a:gd name="connsiteY430" fmla="*/ 5252 h 10126"/>
                <a:gd name="connsiteX431" fmla="*/ 1606 w 10000"/>
                <a:gd name="connsiteY431" fmla="*/ 5228 h 10126"/>
                <a:gd name="connsiteX432" fmla="*/ 1581 w 10000"/>
                <a:gd name="connsiteY432" fmla="*/ 5216 h 10126"/>
                <a:gd name="connsiteX433" fmla="*/ 1568 w 10000"/>
                <a:gd name="connsiteY433" fmla="*/ 5198 h 10126"/>
                <a:gd name="connsiteX434" fmla="*/ 1550 w 10000"/>
                <a:gd name="connsiteY434" fmla="*/ 5174 h 10126"/>
                <a:gd name="connsiteX435" fmla="*/ 1543 w 10000"/>
                <a:gd name="connsiteY435" fmla="*/ 5150 h 10126"/>
                <a:gd name="connsiteX436" fmla="*/ 1518 w 10000"/>
                <a:gd name="connsiteY436" fmla="*/ 5101 h 10126"/>
                <a:gd name="connsiteX437" fmla="*/ 1506 w 10000"/>
                <a:gd name="connsiteY437" fmla="*/ 5047 h 10126"/>
                <a:gd name="connsiteX438" fmla="*/ 1499 w 10000"/>
                <a:gd name="connsiteY438" fmla="*/ 4987 h 10126"/>
                <a:gd name="connsiteX439" fmla="*/ 1499 w 10000"/>
                <a:gd name="connsiteY439" fmla="*/ 4933 h 10126"/>
                <a:gd name="connsiteX440" fmla="*/ 1443 w 10000"/>
                <a:gd name="connsiteY440" fmla="*/ 4969 h 10126"/>
                <a:gd name="connsiteX441" fmla="*/ 1405 w 10000"/>
                <a:gd name="connsiteY441" fmla="*/ 5011 h 10126"/>
                <a:gd name="connsiteX442" fmla="*/ 1361 w 10000"/>
                <a:gd name="connsiteY442" fmla="*/ 5053 h 10126"/>
                <a:gd name="connsiteX443" fmla="*/ 1317 w 10000"/>
                <a:gd name="connsiteY443" fmla="*/ 5101 h 10126"/>
                <a:gd name="connsiteX444" fmla="*/ 1261 w 10000"/>
                <a:gd name="connsiteY444" fmla="*/ 5198 h 10126"/>
                <a:gd name="connsiteX445" fmla="*/ 1205 w 10000"/>
                <a:gd name="connsiteY445" fmla="*/ 5300 h 10126"/>
                <a:gd name="connsiteX446" fmla="*/ 1167 w 10000"/>
                <a:gd name="connsiteY446" fmla="*/ 5343 h 10126"/>
                <a:gd name="connsiteX447" fmla="*/ 1142 w 10000"/>
                <a:gd name="connsiteY447" fmla="*/ 5384 h 10126"/>
                <a:gd name="connsiteX448" fmla="*/ 1104 w 10000"/>
                <a:gd name="connsiteY448" fmla="*/ 5426 h 10126"/>
                <a:gd name="connsiteX449" fmla="*/ 1073 w 10000"/>
                <a:gd name="connsiteY449" fmla="*/ 5456 h 10126"/>
                <a:gd name="connsiteX450" fmla="*/ 1029 w 10000"/>
                <a:gd name="connsiteY450" fmla="*/ 5487 h 10126"/>
                <a:gd name="connsiteX451" fmla="*/ 985 w 10000"/>
                <a:gd name="connsiteY451" fmla="*/ 5505 h 10126"/>
                <a:gd name="connsiteX452" fmla="*/ 928 w 10000"/>
                <a:gd name="connsiteY452" fmla="*/ 5517 h 10126"/>
                <a:gd name="connsiteX453" fmla="*/ 872 w 10000"/>
                <a:gd name="connsiteY453" fmla="*/ 5523 h 10126"/>
                <a:gd name="connsiteX454" fmla="*/ 841 w 10000"/>
                <a:gd name="connsiteY454" fmla="*/ 5517 h 10126"/>
                <a:gd name="connsiteX455" fmla="*/ 797 w 10000"/>
                <a:gd name="connsiteY455" fmla="*/ 5505 h 10126"/>
                <a:gd name="connsiteX456" fmla="*/ 753 w 10000"/>
                <a:gd name="connsiteY456" fmla="*/ 5487 h 10126"/>
                <a:gd name="connsiteX457" fmla="*/ 709 w 10000"/>
                <a:gd name="connsiteY457" fmla="*/ 5456 h 10126"/>
                <a:gd name="connsiteX458" fmla="*/ 659 w 10000"/>
                <a:gd name="connsiteY458" fmla="*/ 5420 h 10126"/>
                <a:gd name="connsiteX459" fmla="*/ 609 w 10000"/>
                <a:gd name="connsiteY459" fmla="*/ 5384 h 10126"/>
                <a:gd name="connsiteX460" fmla="*/ 565 w 10000"/>
                <a:gd name="connsiteY460" fmla="*/ 5343 h 10126"/>
                <a:gd name="connsiteX461" fmla="*/ 514 w 10000"/>
                <a:gd name="connsiteY461" fmla="*/ 5294 h 10126"/>
                <a:gd name="connsiteX462" fmla="*/ 471 w 10000"/>
                <a:gd name="connsiteY462" fmla="*/ 5246 h 10126"/>
                <a:gd name="connsiteX463" fmla="*/ 433 w 10000"/>
                <a:gd name="connsiteY463" fmla="*/ 5192 h 10126"/>
                <a:gd name="connsiteX464" fmla="*/ 389 w 10000"/>
                <a:gd name="connsiteY464" fmla="*/ 5138 h 10126"/>
                <a:gd name="connsiteX465" fmla="*/ 358 w 10000"/>
                <a:gd name="connsiteY465" fmla="*/ 5083 h 10126"/>
                <a:gd name="connsiteX466" fmla="*/ 326 w 10000"/>
                <a:gd name="connsiteY466" fmla="*/ 5035 h 10126"/>
                <a:gd name="connsiteX467" fmla="*/ 307 w 10000"/>
                <a:gd name="connsiteY467" fmla="*/ 4987 h 10126"/>
                <a:gd name="connsiteX468" fmla="*/ 295 w 10000"/>
                <a:gd name="connsiteY468" fmla="*/ 4939 h 10126"/>
                <a:gd name="connsiteX469" fmla="*/ 289 w 10000"/>
                <a:gd name="connsiteY469" fmla="*/ 4890 h 10126"/>
                <a:gd name="connsiteX470" fmla="*/ 320 w 10000"/>
                <a:gd name="connsiteY470" fmla="*/ 4872 h 10126"/>
                <a:gd name="connsiteX471" fmla="*/ 395 w 10000"/>
                <a:gd name="connsiteY471" fmla="*/ 4837 h 10126"/>
                <a:gd name="connsiteX472" fmla="*/ 483 w 10000"/>
                <a:gd name="connsiteY472" fmla="*/ 4801 h 10126"/>
                <a:gd name="connsiteX473" fmla="*/ 533 w 10000"/>
                <a:gd name="connsiteY473" fmla="*/ 4783 h 10126"/>
                <a:gd name="connsiteX474" fmla="*/ 483 w 10000"/>
                <a:gd name="connsiteY474" fmla="*/ 4783 h 10126"/>
                <a:gd name="connsiteX475" fmla="*/ 420 w 10000"/>
                <a:gd name="connsiteY475" fmla="*/ 4777 h 10126"/>
                <a:gd name="connsiteX476" fmla="*/ 370 w 10000"/>
                <a:gd name="connsiteY476" fmla="*/ 4765 h 10126"/>
                <a:gd name="connsiteX477" fmla="*/ 320 w 10000"/>
                <a:gd name="connsiteY477" fmla="*/ 4759 h 10126"/>
                <a:gd name="connsiteX478" fmla="*/ 276 w 10000"/>
                <a:gd name="connsiteY478" fmla="*/ 4740 h 10126"/>
                <a:gd name="connsiteX479" fmla="*/ 232 w 10000"/>
                <a:gd name="connsiteY479" fmla="*/ 4728 h 10126"/>
                <a:gd name="connsiteX480" fmla="*/ 188 w 10000"/>
                <a:gd name="connsiteY480" fmla="*/ 4710 h 10126"/>
                <a:gd name="connsiteX481" fmla="*/ 157 w 10000"/>
                <a:gd name="connsiteY481" fmla="*/ 4685 h 10126"/>
                <a:gd name="connsiteX482" fmla="*/ 132 w 10000"/>
                <a:gd name="connsiteY482" fmla="*/ 4661 h 10126"/>
                <a:gd name="connsiteX483" fmla="*/ 100 w 10000"/>
                <a:gd name="connsiteY483" fmla="*/ 4637 h 10126"/>
                <a:gd name="connsiteX484" fmla="*/ 75 w 10000"/>
                <a:gd name="connsiteY484" fmla="*/ 4607 h 10126"/>
                <a:gd name="connsiteX485" fmla="*/ 50 w 10000"/>
                <a:gd name="connsiteY485" fmla="*/ 4583 h 10126"/>
                <a:gd name="connsiteX486" fmla="*/ 19 w 10000"/>
                <a:gd name="connsiteY486" fmla="*/ 4511 h 10126"/>
                <a:gd name="connsiteX487" fmla="*/ 0 w 10000"/>
                <a:gd name="connsiteY487" fmla="*/ 4444 h 10126"/>
                <a:gd name="connsiteX488" fmla="*/ 63 w 10000"/>
                <a:gd name="connsiteY488" fmla="*/ 4396 h 10126"/>
                <a:gd name="connsiteX489" fmla="*/ 132 w 10000"/>
                <a:gd name="connsiteY489" fmla="*/ 4360 h 10126"/>
                <a:gd name="connsiteX490" fmla="*/ 201 w 10000"/>
                <a:gd name="connsiteY490" fmla="*/ 4331 h 10126"/>
                <a:gd name="connsiteX491" fmla="*/ 276 w 10000"/>
                <a:gd name="connsiteY491" fmla="*/ 4307 h 10126"/>
                <a:gd name="connsiteX492" fmla="*/ 420 w 10000"/>
                <a:gd name="connsiteY492" fmla="*/ 4277 h 10126"/>
                <a:gd name="connsiteX493" fmla="*/ 565 w 10000"/>
                <a:gd name="connsiteY493" fmla="*/ 4252 h 10126"/>
                <a:gd name="connsiteX494" fmla="*/ 640 w 10000"/>
                <a:gd name="connsiteY494" fmla="*/ 4240 h 10126"/>
                <a:gd name="connsiteX495" fmla="*/ 709 w 10000"/>
                <a:gd name="connsiteY495" fmla="*/ 4216 h 10126"/>
                <a:gd name="connsiteX496" fmla="*/ 772 w 10000"/>
                <a:gd name="connsiteY496" fmla="*/ 4198 h 10126"/>
                <a:gd name="connsiteX497" fmla="*/ 834 w 10000"/>
                <a:gd name="connsiteY497" fmla="*/ 4168 h 10126"/>
                <a:gd name="connsiteX498" fmla="*/ 891 w 10000"/>
                <a:gd name="connsiteY498" fmla="*/ 4138 h 10126"/>
                <a:gd name="connsiteX499" fmla="*/ 947 w 10000"/>
                <a:gd name="connsiteY499" fmla="*/ 4090 h 10126"/>
                <a:gd name="connsiteX500" fmla="*/ 997 w 10000"/>
                <a:gd name="connsiteY500" fmla="*/ 4035 h 10126"/>
                <a:gd name="connsiteX501" fmla="*/ 1035 w 10000"/>
                <a:gd name="connsiteY501" fmla="*/ 3968 h 10126"/>
                <a:gd name="connsiteX502" fmla="*/ 1010 w 10000"/>
                <a:gd name="connsiteY502" fmla="*/ 3956 h 10126"/>
                <a:gd name="connsiteX503" fmla="*/ 985 w 10000"/>
                <a:gd name="connsiteY503" fmla="*/ 3938 h 10126"/>
                <a:gd name="connsiteX504" fmla="*/ 947 w 10000"/>
                <a:gd name="connsiteY504" fmla="*/ 3914 h 10126"/>
                <a:gd name="connsiteX505" fmla="*/ 910 w 10000"/>
                <a:gd name="connsiteY505" fmla="*/ 3878 h 10126"/>
                <a:gd name="connsiteX506" fmla="*/ 822 w 10000"/>
                <a:gd name="connsiteY506" fmla="*/ 3806 h 10126"/>
                <a:gd name="connsiteX507" fmla="*/ 740 w 10000"/>
                <a:gd name="connsiteY507" fmla="*/ 3722 h 10126"/>
                <a:gd name="connsiteX508" fmla="*/ 665 w 10000"/>
                <a:gd name="connsiteY508" fmla="*/ 3631 h 10126"/>
                <a:gd name="connsiteX509" fmla="*/ 596 w 10000"/>
                <a:gd name="connsiteY509" fmla="*/ 3535 h 10126"/>
                <a:gd name="connsiteX510" fmla="*/ 577 w 10000"/>
                <a:gd name="connsiteY510" fmla="*/ 3493 h 10126"/>
                <a:gd name="connsiteX511" fmla="*/ 558 w 10000"/>
                <a:gd name="connsiteY511" fmla="*/ 3451 h 10126"/>
                <a:gd name="connsiteX512" fmla="*/ 540 w 10000"/>
                <a:gd name="connsiteY512" fmla="*/ 3408 h 10126"/>
                <a:gd name="connsiteX513" fmla="*/ 533 w 10000"/>
                <a:gd name="connsiteY513" fmla="*/ 3372 h 10126"/>
                <a:gd name="connsiteX514" fmla="*/ 508 w 10000"/>
                <a:gd name="connsiteY514" fmla="*/ 3366 h 10126"/>
                <a:gd name="connsiteX515" fmla="*/ 483 w 10000"/>
                <a:gd name="connsiteY515" fmla="*/ 3360 h 10126"/>
                <a:gd name="connsiteX516" fmla="*/ 458 w 10000"/>
                <a:gd name="connsiteY516" fmla="*/ 3348 h 10126"/>
                <a:gd name="connsiteX517" fmla="*/ 439 w 10000"/>
                <a:gd name="connsiteY517" fmla="*/ 3325 h 10126"/>
                <a:gd name="connsiteX518" fmla="*/ 402 w 10000"/>
                <a:gd name="connsiteY518" fmla="*/ 3282 h 10126"/>
                <a:gd name="connsiteX519" fmla="*/ 370 w 10000"/>
                <a:gd name="connsiteY519" fmla="*/ 3222 h 10126"/>
                <a:gd name="connsiteX520" fmla="*/ 370 w 10000"/>
                <a:gd name="connsiteY520" fmla="*/ 3077 h 10126"/>
                <a:gd name="connsiteX521" fmla="*/ 458 w 10000"/>
                <a:gd name="connsiteY521" fmla="*/ 3071 h 10126"/>
                <a:gd name="connsiteX522" fmla="*/ 540 w 10000"/>
                <a:gd name="connsiteY522" fmla="*/ 3065 h 10126"/>
                <a:gd name="connsiteX523" fmla="*/ 615 w 10000"/>
                <a:gd name="connsiteY523" fmla="*/ 3053 h 10126"/>
                <a:gd name="connsiteX524" fmla="*/ 684 w 10000"/>
                <a:gd name="connsiteY524" fmla="*/ 3029 h 10126"/>
                <a:gd name="connsiteX525" fmla="*/ 747 w 10000"/>
                <a:gd name="connsiteY525" fmla="*/ 3011 h 10126"/>
                <a:gd name="connsiteX526" fmla="*/ 809 w 10000"/>
                <a:gd name="connsiteY526" fmla="*/ 2980 h 10126"/>
                <a:gd name="connsiteX527" fmla="*/ 866 w 10000"/>
                <a:gd name="connsiteY527" fmla="*/ 2950 h 10126"/>
                <a:gd name="connsiteX528" fmla="*/ 922 w 10000"/>
                <a:gd name="connsiteY528" fmla="*/ 2914 h 10126"/>
                <a:gd name="connsiteX529" fmla="*/ 966 w 10000"/>
                <a:gd name="connsiteY529" fmla="*/ 2872 h 10126"/>
                <a:gd name="connsiteX530" fmla="*/ 1016 w 10000"/>
                <a:gd name="connsiteY530" fmla="*/ 2831 h 10126"/>
                <a:gd name="connsiteX531" fmla="*/ 1060 w 10000"/>
                <a:gd name="connsiteY531" fmla="*/ 2789 h 10126"/>
                <a:gd name="connsiteX532" fmla="*/ 1098 w 10000"/>
                <a:gd name="connsiteY532" fmla="*/ 2740 h 10126"/>
                <a:gd name="connsiteX533" fmla="*/ 1167 w 10000"/>
                <a:gd name="connsiteY533" fmla="*/ 2644 h 10126"/>
                <a:gd name="connsiteX534" fmla="*/ 1236 w 10000"/>
                <a:gd name="connsiteY534" fmla="*/ 2534 h 10126"/>
                <a:gd name="connsiteX535" fmla="*/ 1355 w 10000"/>
                <a:gd name="connsiteY535" fmla="*/ 2318 h 10126"/>
                <a:gd name="connsiteX536" fmla="*/ 1474 w 10000"/>
                <a:gd name="connsiteY536" fmla="*/ 2101 h 10126"/>
                <a:gd name="connsiteX537" fmla="*/ 1543 w 10000"/>
                <a:gd name="connsiteY537" fmla="*/ 2005 h 10126"/>
                <a:gd name="connsiteX538" fmla="*/ 1612 w 10000"/>
                <a:gd name="connsiteY538" fmla="*/ 1920 h 10126"/>
                <a:gd name="connsiteX539" fmla="*/ 1650 w 10000"/>
                <a:gd name="connsiteY539" fmla="*/ 1871 h 10126"/>
                <a:gd name="connsiteX540" fmla="*/ 1694 w 10000"/>
                <a:gd name="connsiteY540" fmla="*/ 1835 h 10126"/>
                <a:gd name="connsiteX541" fmla="*/ 1738 w 10000"/>
                <a:gd name="connsiteY541" fmla="*/ 1806 h 10126"/>
                <a:gd name="connsiteX542" fmla="*/ 1788 w 10000"/>
                <a:gd name="connsiteY542" fmla="*/ 1776 h 10126"/>
                <a:gd name="connsiteX543" fmla="*/ 1750 w 10000"/>
                <a:gd name="connsiteY543" fmla="*/ 1703 h 10126"/>
                <a:gd name="connsiteX544" fmla="*/ 1719 w 10000"/>
                <a:gd name="connsiteY544" fmla="*/ 1637 h 10126"/>
                <a:gd name="connsiteX545" fmla="*/ 1713 w 10000"/>
                <a:gd name="connsiteY545" fmla="*/ 1607 h 10126"/>
                <a:gd name="connsiteX546" fmla="*/ 1706 w 10000"/>
                <a:gd name="connsiteY546" fmla="*/ 1577 h 10126"/>
                <a:gd name="connsiteX547" fmla="*/ 1706 w 10000"/>
                <a:gd name="connsiteY547" fmla="*/ 1541 h 10126"/>
                <a:gd name="connsiteX548" fmla="*/ 1706 w 10000"/>
                <a:gd name="connsiteY548" fmla="*/ 1511 h 10126"/>
                <a:gd name="connsiteX549" fmla="*/ 1713 w 10000"/>
                <a:gd name="connsiteY549" fmla="*/ 1480 h 10126"/>
                <a:gd name="connsiteX550" fmla="*/ 1719 w 10000"/>
                <a:gd name="connsiteY550" fmla="*/ 1450 h 10126"/>
                <a:gd name="connsiteX551" fmla="*/ 1731 w 10000"/>
                <a:gd name="connsiteY551" fmla="*/ 1426 h 10126"/>
                <a:gd name="connsiteX552" fmla="*/ 1757 w 10000"/>
                <a:gd name="connsiteY552" fmla="*/ 1402 h 10126"/>
                <a:gd name="connsiteX553" fmla="*/ 1775 w 10000"/>
                <a:gd name="connsiteY553" fmla="*/ 1384 h 10126"/>
                <a:gd name="connsiteX554" fmla="*/ 1801 w 10000"/>
                <a:gd name="connsiteY554" fmla="*/ 1366 h 10126"/>
                <a:gd name="connsiteX555" fmla="*/ 1838 w 10000"/>
                <a:gd name="connsiteY555" fmla="*/ 1348 h 10126"/>
                <a:gd name="connsiteX556" fmla="*/ 1870 w 10000"/>
                <a:gd name="connsiteY556" fmla="*/ 133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577" fmla="*/ 2651 w 10000"/>
                <a:gd name="connsiteY577" fmla="*/ 149 h 10126"/>
                <a:gd name="connsiteX0" fmla="*/ 2576 w 10000"/>
                <a:gd name="connsiteY0" fmla="*/ 149 h 10126"/>
                <a:gd name="connsiteX1" fmla="*/ 2509 w 10000"/>
                <a:gd name="connsiteY1" fmla="*/ 161 h 10126"/>
                <a:gd name="connsiteX2" fmla="*/ 2818 w 10000"/>
                <a:gd name="connsiteY2" fmla="*/ 127 h 10126"/>
                <a:gd name="connsiteX3" fmla="*/ 2857 w 10000"/>
                <a:gd name="connsiteY3" fmla="*/ 131 h 10126"/>
                <a:gd name="connsiteX4" fmla="*/ 2880 w 10000"/>
                <a:gd name="connsiteY4" fmla="*/ 115 h 10126"/>
                <a:gd name="connsiteX5" fmla="*/ 3155 w 10000"/>
                <a:gd name="connsiteY5" fmla="*/ 192 h 10126"/>
                <a:gd name="connsiteX6" fmla="*/ 3162 w 10000"/>
                <a:gd name="connsiteY6" fmla="*/ 346 h 10126"/>
                <a:gd name="connsiteX7" fmla="*/ 3120 w 10000"/>
                <a:gd name="connsiteY7" fmla="*/ 471 h 10126"/>
                <a:gd name="connsiteX8" fmla="*/ 3152 w 10000"/>
                <a:gd name="connsiteY8" fmla="*/ 534 h 10126"/>
                <a:gd name="connsiteX9" fmla="*/ 3093 w 10000"/>
                <a:gd name="connsiteY9" fmla="*/ 619 h 10126"/>
                <a:gd name="connsiteX10" fmla="*/ 2992 w 10000"/>
                <a:gd name="connsiteY10" fmla="*/ 710 h 10126"/>
                <a:gd name="connsiteX11" fmla="*/ 3043 w 10000"/>
                <a:gd name="connsiteY11" fmla="*/ 734 h 10126"/>
                <a:gd name="connsiteX12" fmla="*/ 3087 w 10000"/>
                <a:gd name="connsiteY12" fmla="*/ 776 h 10126"/>
                <a:gd name="connsiteX13" fmla="*/ 3130 w 10000"/>
                <a:gd name="connsiteY13" fmla="*/ 823 h 10126"/>
                <a:gd name="connsiteX14" fmla="*/ 3174 w 10000"/>
                <a:gd name="connsiteY14" fmla="*/ 872 h 10126"/>
                <a:gd name="connsiteX15" fmla="*/ 3212 w 10000"/>
                <a:gd name="connsiteY15" fmla="*/ 932 h 10126"/>
                <a:gd name="connsiteX16" fmla="*/ 3256 w 10000"/>
                <a:gd name="connsiteY16" fmla="*/ 986 h 10126"/>
                <a:gd name="connsiteX17" fmla="*/ 3281 w 10000"/>
                <a:gd name="connsiteY17" fmla="*/ 1046 h 10126"/>
                <a:gd name="connsiteX18" fmla="*/ 3312 w 10000"/>
                <a:gd name="connsiteY18" fmla="*/ 1113 h 10126"/>
                <a:gd name="connsiteX19" fmla="*/ 3331 w 10000"/>
                <a:gd name="connsiteY19" fmla="*/ 1180 h 10126"/>
                <a:gd name="connsiteX20" fmla="*/ 3043 w 10000"/>
                <a:gd name="connsiteY20" fmla="*/ 1180 h 10126"/>
                <a:gd name="connsiteX21" fmla="*/ 3043 w 10000"/>
                <a:gd name="connsiteY21" fmla="*/ 1366 h 10126"/>
                <a:gd name="connsiteX22" fmla="*/ 3074 w 10000"/>
                <a:gd name="connsiteY22" fmla="*/ 1444 h 10126"/>
                <a:gd name="connsiteX23" fmla="*/ 3118 w 10000"/>
                <a:gd name="connsiteY23" fmla="*/ 1511 h 10126"/>
                <a:gd name="connsiteX24" fmla="*/ 3168 w 10000"/>
                <a:gd name="connsiteY24" fmla="*/ 1571 h 10126"/>
                <a:gd name="connsiteX25" fmla="*/ 3225 w 10000"/>
                <a:gd name="connsiteY25" fmla="*/ 1613 h 10126"/>
                <a:gd name="connsiteX26" fmla="*/ 3281 w 10000"/>
                <a:gd name="connsiteY26" fmla="*/ 1655 h 10126"/>
                <a:gd name="connsiteX27" fmla="*/ 3350 w 10000"/>
                <a:gd name="connsiteY27" fmla="*/ 1685 h 10126"/>
                <a:gd name="connsiteX28" fmla="*/ 3413 w 10000"/>
                <a:gd name="connsiteY28" fmla="*/ 1715 h 10126"/>
                <a:gd name="connsiteX29" fmla="*/ 3488 w 10000"/>
                <a:gd name="connsiteY29" fmla="*/ 1740 h 10126"/>
                <a:gd name="connsiteX30" fmla="*/ 3626 w 10000"/>
                <a:gd name="connsiteY30" fmla="*/ 1794 h 10126"/>
                <a:gd name="connsiteX31" fmla="*/ 3764 w 10000"/>
                <a:gd name="connsiteY31" fmla="*/ 1847 h 10126"/>
                <a:gd name="connsiteX32" fmla="*/ 3827 w 10000"/>
                <a:gd name="connsiteY32" fmla="*/ 1884 h 10126"/>
                <a:gd name="connsiteX33" fmla="*/ 3890 w 10000"/>
                <a:gd name="connsiteY33" fmla="*/ 1932 h 10126"/>
                <a:gd name="connsiteX34" fmla="*/ 3946 w 10000"/>
                <a:gd name="connsiteY34" fmla="*/ 1981 h 10126"/>
                <a:gd name="connsiteX35" fmla="*/ 4003 w 10000"/>
                <a:gd name="connsiteY35" fmla="*/ 2035 h 10126"/>
                <a:gd name="connsiteX36" fmla="*/ 3959 w 10000"/>
                <a:gd name="connsiteY36" fmla="*/ 2596 h 10126"/>
                <a:gd name="connsiteX37" fmla="*/ 4034 w 10000"/>
                <a:gd name="connsiteY37" fmla="*/ 2650 h 10126"/>
                <a:gd name="connsiteX38" fmla="*/ 4141 w 10000"/>
                <a:gd name="connsiteY38" fmla="*/ 2716 h 10126"/>
                <a:gd name="connsiteX39" fmla="*/ 4260 w 10000"/>
                <a:gd name="connsiteY39" fmla="*/ 2776 h 10126"/>
                <a:gd name="connsiteX40" fmla="*/ 4398 w 10000"/>
                <a:gd name="connsiteY40" fmla="*/ 2831 h 10126"/>
                <a:gd name="connsiteX41" fmla="*/ 4536 w 10000"/>
                <a:gd name="connsiteY41" fmla="*/ 2884 h 10126"/>
                <a:gd name="connsiteX42" fmla="*/ 4668 w 10000"/>
                <a:gd name="connsiteY42" fmla="*/ 2926 h 10126"/>
                <a:gd name="connsiteX43" fmla="*/ 4724 w 10000"/>
                <a:gd name="connsiteY43" fmla="*/ 2944 h 10126"/>
                <a:gd name="connsiteX44" fmla="*/ 4780 w 10000"/>
                <a:gd name="connsiteY44" fmla="*/ 2956 h 10126"/>
                <a:gd name="connsiteX45" fmla="*/ 4831 w 10000"/>
                <a:gd name="connsiteY45" fmla="*/ 2962 h 10126"/>
                <a:gd name="connsiteX46" fmla="*/ 4875 w 10000"/>
                <a:gd name="connsiteY46" fmla="*/ 2962 h 10126"/>
                <a:gd name="connsiteX47" fmla="*/ 4887 w 10000"/>
                <a:gd name="connsiteY47" fmla="*/ 3005 h 10126"/>
                <a:gd name="connsiteX48" fmla="*/ 4918 w 10000"/>
                <a:gd name="connsiteY48" fmla="*/ 3041 h 10126"/>
                <a:gd name="connsiteX49" fmla="*/ 4950 w 10000"/>
                <a:gd name="connsiteY49" fmla="*/ 3059 h 10126"/>
                <a:gd name="connsiteX50" fmla="*/ 4987 w 10000"/>
                <a:gd name="connsiteY50" fmla="*/ 3071 h 10126"/>
                <a:gd name="connsiteX51" fmla="*/ 5019 w 10000"/>
                <a:gd name="connsiteY51" fmla="*/ 3083 h 10126"/>
                <a:gd name="connsiteX52" fmla="*/ 5063 w 10000"/>
                <a:gd name="connsiteY52" fmla="*/ 3083 h 10126"/>
                <a:gd name="connsiteX53" fmla="*/ 5107 w 10000"/>
                <a:gd name="connsiteY53" fmla="*/ 3077 h 10126"/>
                <a:gd name="connsiteX54" fmla="*/ 5157 w 10000"/>
                <a:gd name="connsiteY54" fmla="*/ 3071 h 10126"/>
                <a:gd name="connsiteX55" fmla="*/ 5245 w 10000"/>
                <a:gd name="connsiteY55" fmla="*/ 3053 h 10126"/>
                <a:gd name="connsiteX56" fmla="*/ 5345 w 10000"/>
                <a:gd name="connsiteY56" fmla="*/ 3029 h 10126"/>
                <a:gd name="connsiteX57" fmla="*/ 5383 w 10000"/>
                <a:gd name="connsiteY57" fmla="*/ 3029 h 10126"/>
                <a:gd name="connsiteX58" fmla="*/ 5427 w 10000"/>
                <a:gd name="connsiteY58" fmla="*/ 3023 h 10126"/>
                <a:gd name="connsiteX59" fmla="*/ 5464 w 10000"/>
                <a:gd name="connsiteY59" fmla="*/ 3029 h 10126"/>
                <a:gd name="connsiteX60" fmla="*/ 5502 w 10000"/>
                <a:gd name="connsiteY60" fmla="*/ 3035 h 10126"/>
                <a:gd name="connsiteX61" fmla="*/ 5558 w 10000"/>
                <a:gd name="connsiteY61" fmla="*/ 3071 h 10126"/>
                <a:gd name="connsiteX62" fmla="*/ 5596 w 10000"/>
                <a:gd name="connsiteY62" fmla="*/ 3101 h 10126"/>
                <a:gd name="connsiteX63" fmla="*/ 5634 w 10000"/>
                <a:gd name="connsiteY63" fmla="*/ 3143 h 10126"/>
                <a:gd name="connsiteX64" fmla="*/ 5665 w 10000"/>
                <a:gd name="connsiteY64" fmla="*/ 3179 h 10126"/>
                <a:gd name="connsiteX65" fmla="*/ 5696 w 10000"/>
                <a:gd name="connsiteY65" fmla="*/ 3216 h 10126"/>
                <a:gd name="connsiteX66" fmla="*/ 5734 w 10000"/>
                <a:gd name="connsiteY66" fmla="*/ 3252 h 10126"/>
                <a:gd name="connsiteX67" fmla="*/ 5759 w 10000"/>
                <a:gd name="connsiteY67" fmla="*/ 3270 h 10126"/>
                <a:gd name="connsiteX68" fmla="*/ 5778 w 10000"/>
                <a:gd name="connsiteY68" fmla="*/ 3282 h 10126"/>
                <a:gd name="connsiteX69" fmla="*/ 5803 w 10000"/>
                <a:gd name="connsiteY69" fmla="*/ 3294 h 10126"/>
                <a:gd name="connsiteX70" fmla="*/ 5834 w 10000"/>
                <a:gd name="connsiteY70" fmla="*/ 3300 h 10126"/>
                <a:gd name="connsiteX71" fmla="*/ 5935 w 10000"/>
                <a:gd name="connsiteY71" fmla="*/ 3319 h 10126"/>
                <a:gd name="connsiteX72" fmla="*/ 6073 w 10000"/>
                <a:gd name="connsiteY72" fmla="*/ 3354 h 10126"/>
                <a:gd name="connsiteX73" fmla="*/ 6230 w 10000"/>
                <a:gd name="connsiteY73" fmla="*/ 3390 h 10126"/>
                <a:gd name="connsiteX74" fmla="*/ 6405 w 10000"/>
                <a:gd name="connsiteY74" fmla="*/ 3433 h 10126"/>
                <a:gd name="connsiteX75" fmla="*/ 6568 w 10000"/>
                <a:gd name="connsiteY75" fmla="*/ 3463 h 10126"/>
                <a:gd name="connsiteX76" fmla="*/ 6719 w 10000"/>
                <a:gd name="connsiteY76" fmla="*/ 3487 h 10126"/>
                <a:gd name="connsiteX77" fmla="*/ 6788 w 10000"/>
                <a:gd name="connsiteY77" fmla="*/ 3493 h 10126"/>
                <a:gd name="connsiteX78" fmla="*/ 6838 w 10000"/>
                <a:gd name="connsiteY78" fmla="*/ 3499 h 10126"/>
                <a:gd name="connsiteX79" fmla="*/ 6888 w 10000"/>
                <a:gd name="connsiteY79" fmla="*/ 3493 h 10126"/>
                <a:gd name="connsiteX80" fmla="*/ 6913 w 10000"/>
                <a:gd name="connsiteY80" fmla="*/ 3481 h 10126"/>
                <a:gd name="connsiteX81" fmla="*/ 6888 w 10000"/>
                <a:gd name="connsiteY81" fmla="*/ 3439 h 10126"/>
                <a:gd name="connsiteX82" fmla="*/ 6857 w 10000"/>
                <a:gd name="connsiteY82" fmla="*/ 3390 h 10126"/>
                <a:gd name="connsiteX83" fmla="*/ 6838 w 10000"/>
                <a:gd name="connsiteY83" fmla="*/ 3342 h 10126"/>
                <a:gd name="connsiteX84" fmla="*/ 6826 w 10000"/>
                <a:gd name="connsiteY84" fmla="*/ 3288 h 10126"/>
                <a:gd name="connsiteX85" fmla="*/ 6794 w 10000"/>
                <a:gd name="connsiteY85" fmla="*/ 3197 h 10126"/>
                <a:gd name="connsiteX86" fmla="*/ 6788 w 10000"/>
                <a:gd name="connsiteY86" fmla="*/ 3149 h 10126"/>
                <a:gd name="connsiteX87" fmla="*/ 6788 w 10000"/>
                <a:gd name="connsiteY87" fmla="*/ 2962 h 10126"/>
                <a:gd name="connsiteX88" fmla="*/ 6788 w 10000"/>
                <a:gd name="connsiteY88" fmla="*/ 2776 h 10126"/>
                <a:gd name="connsiteX89" fmla="*/ 6995 w 10000"/>
                <a:gd name="connsiteY89" fmla="*/ 2776 h 10126"/>
                <a:gd name="connsiteX90" fmla="*/ 7033 w 10000"/>
                <a:gd name="connsiteY90" fmla="*/ 2842 h 10126"/>
                <a:gd name="connsiteX91" fmla="*/ 7058 w 10000"/>
                <a:gd name="connsiteY91" fmla="*/ 2884 h 10126"/>
                <a:gd name="connsiteX92" fmla="*/ 7095 w 10000"/>
                <a:gd name="connsiteY92" fmla="*/ 2920 h 10126"/>
                <a:gd name="connsiteX93" fmla="*/ 7127 w 10000"/>
                <a:gd name="connsiteY93" fmla="*/ 2962 h 10126"/>
                <a:gd name="connsiteX94" fmla="*/ 7120 w 10000"/>
                <a:gd name="connsiteY94" fmla="*/ 3059 h 10126"/>
                <a:gd name="connsiteX95" fmla="*/ 7102 w 10000"/>
                <a:gd name="connsiteY95" fmla="*/ 3119 h 10126"/>
                <a:gd name="connsiteX96" fmla="*/ 7089 w 10000"/>
                <a:gd name="connsiteY96" fmla="*/ 3167 h 10126"/>
                <a:gd name="connsiteX97" fmla="*/ 7077 w 10000"/>
                <a:gd name="connsiteY97" fmla="*/ 3222 h 10126"/>
                <a:gd name="connsiteX98" fmla="*/ 7208 w 10000"/>
                <a:gd name="connsiteY98" fmla="*/ 3258 h 10126"/>
                <a:gd name="connsiteX99" fmla="*/ 7334 w 10000"/>
                <a:gd name="connsiteY99" fmla="*/ 3294 h 10126"/>
                <a:gd name="connsiteX100" fmla="*/ 7396 w 10000"/>
                <a:gd name="connsiteY100" fmla="*/ 3313 h 10126"/>
                <a:gd name="connsiteX101" fmla="*/ 7459 w 10000"/>
                <a:gd name="connsiteY101" fmla="*/ 3325 h 10126"/>
                <a:gd name="connsiteX102" fmla="*/ 7522 w 10000"/>
                <a:gd name="connsiteY102" fmla="*/ 3331 h 10126"/>
                <a:gd name="connsiteX103" fmla="*/ 7585 w 10000"/>
                <a:gd name="connsiteY103" fmla="*/ 3336 h 10126"/>
                <a:gd name="connsiteX104" fmla="*/ 7591 w 10000"/>
                <a:gd name="connsiteY104" fmla="*/ 3360 h 10126"/>
                <a:gd name="connsiteX105" fmla="*/ 7604 w 10000"/>
                <a:gd name="connsiteY105" fmla="*/ 3384 h 10126"/>
                <a:gd name="connsiteX106" fmla="*/ 7622 w 10000"/>
                <a:gd name="connsiteY106" fmla="*/ 3402 h 10126"/>
                <a:gd name="connsiteX107" fmla="*/ 7654 w 10000"/>
                <a:gd name="connsiteY107" fmla="*/ 3420 h 10126"/>
                <a:gd name="connsiteX108" fmla="*/ 7704 w 10000"/>
                <a:gd name="connsiteY108" fmla="*/ 3439 h 10126"/>
                <a:gd name="connsiteX109" fmla="*/ 7748 w 10000"/>
                <a:gd name="connsiteY109" fmla="*/ 3445 h 10126"/>
                <a:gd name="connsiteX110" fmla="*/ 7798 w 10000"/>
                <a:gd name="connsiteY110" fmla="*/ 3445 h 10126"/>
                <a:gd name="connsiteX111" fmla="*/ 7836 w 10000"/>
                <a:gd name="connsiteY111" fmla="*/ 3433 h 10126"/>
                <a:gd name="connsiteX112" fmla="*/ 7880 w 10000"/>
                <a:gd name="connsiteY112" fmla="*/ 3414 h 10126"/>
                <a:gd name="connsiteX113" fmla="*/ 7911 w 10000"/>
                <a:gd name="connsiteY113" fmla="*/ 3396 h 10126"/>
                <a:gd name="connsiteX114" fmla="*/ 7949 w 10000"/>
                <a:gd name="connsiteY114" fmla="*/ 3372 h 10126"/>
                <a:gd name="connsiteX115" fmla="*/ 7980 w 10000"/>
                <a:gd name="connsiteY115" fmla="*/ 3342 h 10126"/>
                <a:gd name="connsiteX116" fmla="*/ 8011 w 10000"/>
                <a:gd name="connsiteY116" fmla="*/ 3313 h 10126"/>
                <a:gd name="connsiteX117" fmla="*/ 8036 w 10000"/>
                <a:gd name="connsiteY117" fmla="*/ 3282 h 10126"/>
                <a:gd name="connsiteX118" fmla="*/ 8087 w 10000"/>
                <a:gd name="connsiteY118" fmla="*/ 3203 h 10126"/>
                <a:gd name="connsiteX119" fmla="*/ 8118 w 10000"/>
                <a:gd name="connsiteY119" fmla="*/ 3131 h 10126"/>
                <a:gd name="connsiteX120" fmla="*/ 8149 w 10000"/>
                <a:gd name="connsiteY120" fmla="*/ 3065 h 10126"/>
                <a:gd name="connsiteX121" fmla="*/ 8168 w 10000"/>
                <a:gd name="connsiteY121" fmla="*/ 2999 h 10126"/>
                <a:gd name="connsiteX122" fmla="*/ 8231 w 10000"/>
                <a:gd name="connsiteY122" fmla="*/ 2932 h 10126"/>
                <a:gd name="connsiteX123" fmla="*/ 8294 w 10000"/>
                <a:gd name="connsiteY123" fmla="*/ 2866 h 10126"/>
                <a:gd name="connsiteX124" fmla="*/ 8363 w 10000"/>
                <a:gd name="connsiteY124" fmla="*/ 2813 h 10126"/>
                <a:gd name="connsiteX125" fmla="*/ 8432 w 10000"/>
                <a:gd name="connsiteY125" fmla="*/ 2752 h 10126"/>
                <a:gd name="connsiteX126" fmla="*/ 8507 w 10000"/>
                <a:gd name="connsiteY126" fmla="*/ 2704 h 10126"/>
                <a:gd name="connsiteX127" fmla="*/ 8576 w 10000"/>
                <a:gd name="connsiteY127" fmla="*/ 2656 h 10126"/>
                <a:gd name="connsiteX128" fmla="*/ 8651 w 10000"/>
                <a:gd name="connsiteY128" fmla="*/ 2614 h 10126"/>
                <a:gd name="connsiteX129" fmla="*/ 8726 w 10000"/>
                <a:gd name="connsiteY129" fmla="*/ 2570 h 10126"/>
                <a:gd name="connsiteX130" fmla="*/ 8808 w 10000"/>
                <a:gd name="connsiteY130" fmla="*/ 2528 h 10126"/>
                <a:gd name="connsiteX131" fmla="*/ 8890 w 10000"/>
                <a:gd name="connsiteY131" fmla="*/ 2492 h 10126"/>
                <a:gd name="connsiteX132" fmla="*/ 8971 w 10000"/>
                <a:gd name="connsiteY132" fmla="*/ 2462 h 10126"/>
                <a:gd name="connsiteX133" fmla="*/ 9059 w 10000"/>
                <a:gd name="connsiteY133" fmla="*/ 2432 h 10126"/>
                <a:gd name="connsiteX134" fmla="*/ 9235 w 10000"/>
                <a:gd name="connsiteY134" fmla="*/ 2378 h 10126"/>
                <a:gd name="connsiteX135" fmla="*/ 9417 w 10000"/>
                <a:gd name="connsiteY135" fmla="*/ 2335 h 10126"/>
                <a:gd name="connsiteX136" fmla="*/ 9454 w 10000"/>
                <a:gd name="connsiteY136" fmla="*/ 2384 h 10126"/>
                <a:gd name="connsiteX137" fmla="*/ 9504 w 10000"/>
                <a:gd name="connsiteY137" fmla="*/ 2444 h 10126"/>
                <a:gd name="connsiteX138" fmla="*/ 9573 w 10000"/>
                <a:gd name="connsiteY138" fmla="*/ 2510 h 10126"/>
                <a:gd name="connsiteX139" fmla="*/ 9642 w 10000"/>
                <a:gd name="connsiteY139" fmla="*/ 2583 h 10126"/>
                <a:gd name="connsiteX140" fmla="*/ 9718 w 10000"/>
                <a:gd name="connsiteY140" fmla="*/ 2644 h 10126"/>
                <a:gd name="connsiteX141" fmla="*/ 9799 w 10000"/>
                <a:gd name="connsiteY141" fmla="*/ 2692 h 10126"/>
                <a:gd name="connsiteX142" fmla="*/ 9837 w 10000"/>
                <a:gd name="connsiteY142" fmla="*/ 2716 h 10126"/>
                <a:gd name="connsiteX143" fmla="*/ 9875 w 10000"/>
                <a:gd name="connsiteY143" fmla="*/ 2728 h 10126"/>
                <a:gd name="connsiteX144" fmla="*/ 9918 w 10000"/>
                <a:gd name="connsiteY144" fmla="*/ 2740 h 10126"/>
                <a:gd name="connsiteX145" fmla="*/ 9956 w 10000"/>
                <a:gd name="connsiteY145" fmla="*/ 2740 h 10126"/>
                <a:gd name="connsiteX146" fmla="*/ 10000 w 10000"/>
                <a:gd name="connsiteY146" fmla="*/ 2668 h 10126"/>
                <a:gd name="connsiteX147" fmla="*/ 9975 w 10000"/>
                <a:gd name="connsiteY147" fmla="*/ 2795 h 10126"/>
                <a:gd name="connsiteX148" fmla="*/ 9944 w 10000"/>
                <a:gd name="connsiteY148" fmla="*/ 2938 h 10126"/>
                <a:gd name="connsiteX149" fmla="*/ 9931 w 10000"/>
                <a:gd name="connsiteY149" fmla="*/ 3005 h 10126"/>
                <a:gd name="connsiteX150" fmla="*/ 9906 w 10000"/>
                <a:gd name="connsiteY150" fmla="*/ 3065 h 10126"/>
                <a:gd name="connsiteX151" fmla="*/ 9887 w 10000"/>
                <a:gd name="connsiteY151" fmla="*/ 3089 h 10126"/>
                <a:gd name="connsiteX152" fmla="*/ 9875 w 10000"/>
                <a:gd name="connsiteY152" fmla="*/ 3113 h 10126"/>
                <a:gd name="connsiteX153" fmla="*/ 9856 w 10000"/>
                <a:gd name="connsiteY153" fmla="*/ 3131 h 10126"/>
                <a:gd name="connsiteX154" fmla="*/ 9837 w 10000"/>
                <a:gd name="connsiteY154" fmla="*/ 3149 h 10126"/>
                <a:gd name="connsiteX155" fmla="*/ 9749 w 10000"/>
                <a:gd name="connsiteY155" fmla="*/ 3167 h 10126"/>
                <a:gd name="connsiteX156" fmla="*/ 9605 w 10000"/>
                <a:gd name="connsiteY156" fmla="*/ 3216 h 10126"/>
                <a:gd name="connsiteX157" fmla="*/ 9536 w 10000"/>
                <a:gd name="connsiteY157" fmla="*/ 3258 h 10126"/>
                <a:gd name="connsiteX158" fmla="*/ 9479 w 10000"/>
                <a:gd name="connsiteY158" fmla="*/ 3294 h 10126"/>
                <a:gd name="connsiteX159" fmla="*/ 9448 w 10000"/>
                <a:gd name="connsiteY159" fmla="*/ 3313 h 10126"/>
                <a:gd name="connsiteX160" fmla="*/ 9435 w 10000"/>
                <a:gd name="connsiteY160" fmla="*/ 3331 h 10126"/>
                <a:gd name="connsiteX161" fmla="*/ 9423 w 10000"/>
                <a:gd name="connsiteY161" fmla="*/ 3354 h 10126"/>
                <a:gd name="connsiteX162" fmla="*/ 9417 w 10000"/>
                <a:gd name="connsiteY162" fmla="*/ 3372 h 10126"/>
                <a:gd name="connsiteX163" fmla="*/ 9423 w 10000"/>
                <a:gd name="connsiteY163" fmla="*/ 3583 h 10126"/>
                <a:gd name="connsiteX164" fmla="*/ 9417 w 10000"/>
                <a:gd name="connsiteY164" fmla="*/ 3824 h 10126"/>
                <a:gd name="connsiteX165" fmla="*/ 9398 w 10000"/>
                <a:gd name="connsiteY165" fmla="*/ 3884 h 10126"/>
                <a:gd name="connsiteX166" fmla="*/ 9391 w 10000"/>
                <a:gd name="connsiteY166" fmla="*/ 3950 h 10126"/>
                <a:gd name="connsiteX167" fmla="*/ 9379 w 10000"/>
                <a:gd name="connsiteY167" fmla="*/ 4004 h 10126"/>
                <a:gd name="connsiteX168" fmla="*/ 9366 w 10000"/>
                <a:gd name="connsiteY168" fmla="*/ 4059 h 10126"/>
                <a:gd name="connsiteX169" fmla="*/ 9348 w 10000"/>
                <a:gd name="connsiteY169" fmla="*/ 4108 h 10126"/>
                <a:gd name="connsiteX170" fmla="*/ 9316 w 10000"/>
                <a:gd name="connsiteY170" fmla="*/ 4156 h 10126"/>
                <a:gd name="connsiteX171" fmla="*/ 9285 w 10000"/>
                <a:gd name="connsiteY171" fmla="*/ 4192 h 10126"/>
                <a:gd name="connsiteX172" fmla="*/ 9247 w 10000"/>
                <a:gd name="connsiteY172" fmla="*/ 4222 h 10126"/>
                <a:gd name="connsiteX173" fmla="*/ 9228 w 10000"/>
                <a:gd name="connsiteY173" fmla="*/ 4240 h 10126"/>
                <a:gd name="connsiteX174" fmla="*/ 9184 w 10000"/>
                <a:gd name="connsiteY174" fmla="*/ 4246 h 10126"/>
                <a:gd name="connsiteX175" fmla="*/ 9141 w 10000"/>
                <a:gd name="connsiteY175" fmla="*/ 4252 h 10126"/>
                <a:gd name="connsiteX176" fmla="*/ 9090 w 10000"/>
                <a:gd name="connsiteY176" fmla="*/ 4258 h 10126"/>
                <a:gd name="connsiteX177" fmla="*/ 9040 w 10000"/>
                <a:gd name="connsiteY177" fmla="*/ 4264 h 10126"/>
                <a:gd name="connsiteX178" fmla="*/ 8996 w 10000"/>
                <a:gd name="connsiteY178" fmla="*/ 4283 h 10126"/>
                <a:gd name="connsiteX179" fmla="*/ 8977 w 10000"/>
                <a:gd name="connsiteY179" fmla="*/ 4289 h 10126"/>
                <a:gd name="connsiteX180" fmla="*/ 8965 w 10000"/>
                <a:gd name="connsiteY180" fmla="*/ 4307 h 10126"/>
                <a:gd name="connsiteX181" fmla="*/ 8959 w 10000"/>
                <a:gd name="connsiteY181" fmla="*/ 4319 h 10126"/>
                <a:gd name="connsiteX182" fmla="*/ 8959 w 10000"/>
                <a:gd name="connsiteY182" fmla="*/ 4337 h 10126"/>
                <a:gd name="connsiteX183" fmla="*/ 8952 w 10000"/>
                <a:gd name="connsiteY183" fmla="*/ 4408 h 10126"/>
                <a:gd name="connsiteX184" fmla="*/ 8952 w 10000"/>
                <a:gd name="connsiteY184" fmla="*/ 4493 h 10126"/>
                <a:gd name="connsiteX185" fmla="*/ 8940 w 10000"/>
                <a:gd name="connsiteY185" fmla="*/ 4583 h 10126"/>
                <a:gd name="connsiteX186" fmla="*/ 8927 w 10000"/>
                <a:gd name="connsiteY186" fmla="*/ 4667 h 10126"/>
                <a:gd name="connsiteX187" fmla="*/ 8908 w 10000"/>
                <a:gd name="connsiteY187" fmla="*/ 4753 h 10126"/>
                <a:gd name="connsiteX188" fmla="*/ 8890 w 10000"/>
                <a:gd name="connsiteY188" fmla="*/ 4831 h 10126"/>
                <a:gd name="connsiteX189" fmla="*/ 8864 w 10000"/>
                <a:gd name="connsiteY189" fmla="*/ 4902 h 10126"/>
                <a:gd name="connsiteX190" fmla="*/ 8833 w 10000"/>
                <a:gd name="connsiteY190" fmla="*/ 4969 h 10126"/>
                <a:gd name="connsiteX191" fmla="*/ 8538 w 10000"/>
                <a:gd name="connsiteY191" fmla="*/ 4480 h 10126"/>
                <a:gd name="connsiteX192" fmla="*/ 8526 w 10000"/>
                <a:gd name="connsiteY192" fmla="*/ 4505 h 10126"/>
                <a:gd name="connsiteX193" fmla="*/ 8494 w 10000"/>
                <a:gd name="connsiteY193" fmla="*/ 4559 h 10126"/>
                <a:gd name="connsiteX194" fmla="*/ 8463 w 10000"/>
                <a:gd name="connsiteY194" fmla="*/ 4589 h 10126"/>
                <a:gd name="connsiteX195" fmla="*/ 8438 w 10000"/>
                <a:gd name="connsiteY195" fmla="*/ 4613 h 10126"/>
                <a:gd name="connsiteX196" fmla="*/ 8407 w 10000"/>
                <a:gd name="connsiteY196" fmla="*/ 4631 h 10126"/>
                <a:gd name="connsiteX197" fmla="*/ 8375 w 10000"/>
                <a:gd name="connsiteY197" fmla="*/ 4637 h 10126"/>
                <a:gd name="connsiteX198" fmla="*/ 8338 w 10000"/>
                <a:gd name="connsiteY198" fmla="*/ 4631 h 10126"/>
                <a:gd name="connsiteX199" fmla="*/ 8312 w 10000"/>
                <a:gd name="connsiteY199" fmla="*/ 4625 h 10126"/>
                <a:gd name="connsiteX200" fmla="*/ 8287 w 10000"/>
                <a:gd name="connsiteY200" fmla="*/ 4607 h 10126"/>
                <a:gd name="connsiteX201" fmla="*/ 8256 w 10000"/>
                <a:gd name="connsiteY201" fmla="*/ 4589 h 10126"/>
                <a:gd name="connsiteX202" fmla="*/ 8237 w 10000"/>
                <a:gd name="connsiteY202" fmla="*/ 4559 h 10126"/>
                <a:gd name="connsiteX203" fmla="*/ 8225 w 10000"/>
                <a:gd name="connsiteY203" fmla="*/ 4535 h 10126"/>
                <a:gd name="connsiteX204" fmla="*/ 8206 w 10000"/>
                <a:gd name="connsiteY204" fmla="*/ 4511 h 10126"/>
                <a:gd name="connsiteX205" fmla="*/ 8206 w 10000"/>
                <a:gd name="connsiteY205" fmla="*/ 4480 h 10126"/>
                <a:gd name="connsiteX206" fmla="*/ 8206 w 10000"/>
                <a:gd name="connsiteY206" fmla="*/ 4444 h 10126"/>
                <a:gd name="connsiteX207" fmla="*/ 8225 w 10000"/>
                <a:gd name="connsiteY207" fmla="*/ 4408 h 10126"/>
                <a:gd name="connsiteX208" fmla="*/ 8237 w 10000"/>
                <a:gd name="connsiteY208" fmla="*/ 4372 h 10126"/>
                <a:gd name="connsiteX209" fmla="*/ 8250 w 10000"/>
                <a:gd name="connsiteY209" fmla="*/ 4337 h 10126"/>
                <a:gd name="connsiteX210" fmla="*/ 8300 w 10000"/>
                <a:gd name="connsiteY210" fmla="*/ 4270 h 10126"/>
                <a:gd name="connsiteX211" fmla="*/ 8356 w 10000"/>
                <a:gd name="connsiteY211" fmla="*/ 4204 h 10126"/>
                <a:gd name="connsiteX212" fmla="*/ 8407 w 10000"/>
                <a:gd name="connsiteY212" fmla="*/ 4144 h 10126"/>
                <a:gd name="connsiteX213" fmla="*/ 8457 w 10000"/>
                <a:gd name="connsiteY213" fmla="*/ 4078 h 10126"/>
                <a:gd name="connsiteX214" fmla="*/ 8469 w 10000"/>
                <a:gd name="connsiteY214" fmla="*/ 4041 h 10126"/>
                <a:gd name="connsiteX215" fmla="*/ 8482 w 10000"/>
                <a:gd name="connsiteY215" fmla="*/ 4010 h 10126"/>
                <a:gd name="connsiteX216" fmla="*/ 8501 w 10000"/>
                <a:gd name="connsiteY216" fmla="*/ 3968 h 10126"/>
                <a:gd name="connsiteX217" fmla="*/ 8501 w 10000"/>
                <a:gd name="connsiteY217" fmla="*/ 3932 h 10126"/>
                <a:gd name="connsiteX218" fmla="*/ 7748 w 10000"/>
                <a:gd name="connsiteY218" fmla="*/ 3932 h 10126"/>
                <a:gd name="connsiteX219" fmla="*/ 7723 w 10000"/>
                <a:gd name="connsiteY219" fmla="*/ 3926 h 10126"/>
                <a:gd name="connsiteX220" fmla="*/ 7685 w 10000"/>
                <a:gd name="connsiteY220" fmla="*/ 3908 h 10126"/>
                <a:gd name="connsiteX221" fmla="*/ 7660 w 10000"/>
                <a:gd name="connsiteY221" fmla="*/ 3872 h 10126"/>
                <a:gd name="connsiteX222" fmla="*/ 7635 w 10000"/>
                <a:gd name="connsiteY222" fmla="*/ 3836 h 10126"/>
                <a:gd name="connsiteX223" fmla="*/ 7616 w 10000"/>
                <a:gd name="connsiteY223" fmla="*/ 3788 h 10126"/>
                <a:gd name="connsiteX224" fmla="*/ 7597 w 10000"/>
                <a:gd name="connsiteY224" fmla="*/ 3740 h 10126"/>
                <a:gd name="connsiteX225" fmla="*/ 7591 w 10000"/>
                <a:gd name="connsiteY225" fmla="*/ 3686 h 10126"/>
                <a:gd name="connsiteX226" fmla="*/ 7585 w 10000"/>
                <a:gd name="connsiteY226" fmla="*/ 3631 h 10126"/>
                <a:gd name="connsiteX227" fmla="*/ 7547 w 10000"/>
                <a:gd name="connsiteY227" fmla="*/ 3631 h 10126"/>
                <a:gd name="connsiteX228" fmla="*/ 7516 w 10000"/>
                <a:gd name="connsiteY228" fmla="*/ 3625 h 10126"/>
                <a:gd name="connsiteX229" fmla="*/ 7478 w 10000"/>
                <a:gd name="connsiteY229" fmla="*/ 3619 h 10126"/>
                <a:gd name="connsiteX230" fmla="*/ 7447 w 10000"/>
                <a:gd name="connsiteY230" fmla="*/ 3607 h 10126"/>
                <a:gd name="connsiteX231" fmla="*/ 7415 w 10000"/>
                <a:gd name="connsiteY231" fmla="*/ 3589 h 10126"/>
                <a:gd name="connsiteX232" fmla="*/ 7396 w 10000"/>
                <a:gd name="connsiteY232" fmla="*/ 3571 h 10126"/>
                <a:gd name="connsiteX233" fmla="*/ 7384 w 10000"/>
                <a:gd name="connsiteY233" fmla="*/ 3541 h 10126"/>
                <a:gd name="connsiteX234" fmla="*/ 7378 w 10000"/>
                <a:gd name="connsiteY234" fmla="*/ 3517 h 10126"/>
                <a:gd name="connsiteX235" fmla="*/ 7321 w 10000"/>
                <a:gd name="connsiteY235" fmla="*/ 3517 h 10126"/>
                <a:gd name="connsiteX236" fmla="*/ 7271 w 10000"/>
                <a:gd name="connsiteY236" fmla="*/ 3517 h 10126"/>
                <a:gd name="connsiteX237" fmla="*/ 7221 w 10000"/>
                <a:gd name="connsiteY237" fmla="*/ 3517 h 10126"/>
                <a:gd name="connsiteX238" fmla="*/ 7171 w 10000"/>
                <a:gd name="connsiteY238" fmla="*/ 3517 h 10126"/>
                <a:gd name="connsiteX239" fmla="*/ 7127 w 10000"/>
                <a:gd name="connsiteY239" fmla="*/ 3523 h 10126"/>
                <a:gd name="connsiteX240" fmla="*/ 7095 w 10000"/>
                <a:gd name="connsiteY240" fmla="*/ 3529 h 10126"/>
                <a:gd name="connsiteX241" fmla="*/ 7051 w 10000"/>
                <a:gd name="connsiteY241" fmla="*/ 3547 h 10126"/>
                <a:gd name="connsiteX242" fmla="*/ 7008 w 10000"/>
                <a:gd name="connsiteY242" fmla="*/ 3571 h 10126"/>
                <a:gd name="connsiteX243" fmla="*/ 6976 w 10000"/>
                <a:gd name="connsiteY243" fmla="*/ 3601 h 10126"/>
                <a:gd name="connsiteX244" fmla="*/ 6939 w 10000"/>
                <a:gd name="connsiteY244" fmla="*/ 3631 h 10126"/>
                <a:gd name="connsiteX245" fmla="*/ 6920 w 10000"/>
                <a:gd name="connsiteY245" fmla="*/ 3668 h 10126"/>
                <a:gd name="connsiteX246" fmla="*/ 6913 w 10000"/>
                <a:gd name="connsiteY246" fmla="*/ 3704 h 10126"/>
                <a:gd name="connsiteX247" fmla="*/ 6926 w 10000"/>
                <a:gd name="connsiteY247" fmla="*/ 3728 h 10126"/>
                <a:gd name="connsiteX248" fmla="*/ 6964 w 10000"/>
                <a:gd name="connsiteY248" fmla="*/ 3758 h 10126"/>
                <a:gd name="connsiteX249" fmla="*/ 7008 w 10000"/>
                <a:gd name="connsiteY249" fmla="*/ 3794 h 10126"/>
                <a:gd name="connsiteX250" fmla="*/ 7070 w 10000"/>
                <a:gd name="connsiteY250" fmla="*/ 3830 h 10126"/>
                <a:gd name="connsiteX251" fmla="*/ 7133 w 10000"/>
                <a:gd name="connsiteY251" fmla="*/ 3866 h 10126"/>
                <a:gd name="connsiteX252" fmla="*/ 7196 w 10000"/>
                <a:gd name="connsiteY252" fmla="*/ 3896 h 10126"/>
                <a:gd name="connsiteX253" fmla="*/ 7252 w 10000"/>
                <a:gd name="connsiteY253" fmla="*/ 3920 h 10126"/>
                <a:gd name="connsiteX254" fmla="*/ 7290 w 10000"/>
                <a:gd name="connsiteY254" fmla="*/ 3932 h 10126"/>
                <a:gd name="connsiteX255" fmla="*/ 7208 w 10000"/>
                <a:gd name="connsiteY255" fmla="*/ 3992 h 10126"/>
                <a:gd name="connsiteX256" fmla="*/ 7114 w 10000"/>
                <a:gd name="connsiteY256" fmla="*/ 4066 h 10126"/>
                <a:gd name="connsiteX257" fmla="*/ 7070 w 10000"/>
                <a:gd name="connsiteY257" fmla="*/ 4102 h 10126"/>
                <a:gd name="connsiteX258" fmla="*/ 7033 w 10000"/>
                <a:gd name="connsiteY258" fmla="*/ 4144 h 10126"/>
                <a:gd name="connsiteX259" fmla="*/ 7020 w 10000"/>
                <a:gd name="connsiteY259" fmla="*/ 4162 h 10126"/>
                <a:gd name="connsiteX260" fmla="*/ 7008 w 10000"/>
                <a:gd name="connsiteY260" fmla="*/ 4180 h 10126"/>
                <a:gd name="connsiteX261" fmla="*/ 7001 w 10000"/>
                <a:gd name="connsiteY261" fmla="*/ 4204 h 10126"/>
                <a:gd name="connsiteX262" fmla="*/ 6995 w 10000"/>
                <a:gd name="connsiteY262" fmla="*/ 4222 h 10126"/>
                <a:gd name="connsiteX263" fmla="*/ 7001 w 10000"/>
                <a:gd name="connsiteY263" fmla="*/ 4252 h 10126"/>
                <a:gd name="connsiteX264" fmla="*/ 7008 w 10000"/>
                <a:gd name="connsiteY264" fmla="*/ 4270 h 10126"/>
                <a:gd name="connsiteX265" fmla="*/ 7026 w 10000"/>
                <a:gd name="connsiteY265" fmla="*/ 4295 h 10126"/>
                <a:gd name="connsiteX266" fmla="*/ 7039 w 10000"/>
                <a:gd name="connsiteY266" fmla="*/ 4319 h 10126"/>
                <a:gd name="connsiteX267" fmla="*/ 7089 w 10000"/>
                <a:gd name="connsiteY267" fmla="*/ 4366 h 10126"/>
                <a:gd name="connsiteX268" fmla="*/ 7146 w 10000"/>
                <a:gd name="connsiteY268" fmla="*/ 4414 h 10126"/>
                <a:gd name="connsiteX269" fmla="*/ 7208 w 10000"/>
                <a:gd name="connsiteY269" fmla="*/ 4456 h 10126"/>
                <a:gd name="connsiteX270" fmla="*/ 7277 w 10000"/>
                <a:gd name="connsiteY270" fmla="*/ 4493 h 10126"/>
                <a:gd name="connsiteX271" fmla="*/ 7315 w 10000"/>
                <a:gd name="connsiteY271" fmla="*/ 4505 h 10126"/>
                <a:gd name="connsiteX272" fmla="*/ 7346 w 10000"/>
                <a:gd name="connsiteY272" fmla="*/ 4511 h 10126"/>
                <a:gd name="connsiteX273" fmla="*/ 7384 w 10000"/>
                <a:gd name="connsiteY273" fmla="*/ 4517 h 10126"/>
                <a:gd name="connsiteX274" fmla="*/ 7415 w 10000"/>
                <a:gd name="connsiteY274" fmla="*/ 4523 h 10126"/>
                <a:gd name="connsiteX275" fmla="*/ 7585 w 10000"/>
                <a:gd name="connsiteY275" fmla="*/ 5150 h 10126"/>
                <a:gd name="connsiteX276" fmla="*/ 7491 w 10000"/>
                <a:gd name="connsiteY276" fmla="*/ 5150 h 10126"/>
                <a:gd name="connsiteX277" fmla="*/ 7403 w 10000"/>
                <a:gd name="connsiteY277" fmla="*/ 5150 h 10126"/>
                <a:gd name="connsiteX278" fmla="*/ 7321 w 10000"/>
                <a:gd name="connsiteY278" fmla="*/ 5150 h 10126"/>
                <a:gd name="connsiteX279" fmla="*/ 7252 w 10000"/>
                <a:gd name="connsiteY279" fmla="*/ 5150 h 10126"/>
                <a:gd name="connsiteX280" fmla="*/ 7208 w 10000"/>
                <a:gd name="connsiteY280" fmla="*/ 5144 h 10126"/>
                <a:gd name="connsiteX281" fmla="*/ 7164 w 10000"/>
                <a:gd name="connsiteY281" fmla="*/ 5113 h 10126"/>
                <a:gd name="connsiteX282" fmla="*/ 7133 w 10000"/>
                <a:gd name="connsiteY282" fmla="*/ 5101 h 10126"/>
                <a:gd name="connsiteX283" fmla="*/ 7102 w 10000"/>
                <a:gd name="connsiteY283" fmla="*/ 5089 h 10126"/>
                <a:gd name="connsiteX284" fmla="*/ 7070 w 10000"/>
                <a:gd name="connsiteY284" fmla="*/ 5083 h 10126"/>
                <a:gd name="connsiteX285" fmla="*/ 7039 w 10000"/>
                <a:gd name="connsiteY285" fmla="*/ 5077 h 10126"/>
                <a:gd name="connsiteX286" fmla="*/ 7008 w 10000"/>
                <a:gd name="connsiteY286" fmla="*/ 5089 h 10126"/>
                <a:gd name="connsiteX287" fmla="*/ 6957 w 10000"/>
                <a:gd name="connsiteY287" fmla="*/ 5119 h 10126"/>
                <a:gd name="connsiteX288" fmla="*/ 6895 w 10000"/>
                <a:gd name="connsiteY288" fmla="*/ 5162 h 10126"/>
                <a:gd name="connsiteX289" fmla="*/ 6819 w 10000"/>
                <a:gd name="connsiteY289" fmla="*/ 5210 h 10126"/>
                <a:gd name="connsiteX290" fmla="*/ 6744 w 10000"/>
                <a:gd name="connsiteY290" fmla="*/ 5270 h 10126"/>
                <a:gd name="connsiteX291" fmla="*/ 6681 w 10000"/>
                <a:gd name="connsiteY291" fmla="*/ 5318 h 10126"/>
                <a:gd name="connsiteX292" fmla="*/ 6637 w 10000"/>
                <a:gd name="connsiteY292" fmla="*/ 5354 h 10126"/>
                <a:gd name="connsiteX293" fmla="*/ 6625 w 10000"/>
                <a:gd name="connsiteY293" fmla="*/ 5378 h 10126"/>
                <a:gd name="connsiteX294" fmla="*/ 6750 w 10000"/>
                <a:gd name="connsiteY294" fmla="*/ 5450 h 10126"/>
                <a:gd name="connsiteX295" fmla="*/ 6744 w 10000"/>
                <a:gd name="connsiteY295" fmla="*/ 5487 h 10126"/>
                <a:gd name="connsiteX296" fmla="*/ 6725 w 10000"/>
                <a:gd name="connsiteY296" fmla="*/ 5529 h 10126"/>
                <a:gd name="connsiteX297" fmla="*/ 6706 w 10000"/>
                <a:gd name="connsiteY297" fmla="*/ 5560 h 10126"/>
                <a:gd name="connsiteX298" fmla="*/ 6688 w 10000"/>
                <a:gd name="connsiteY298" fmla="*/ 5602 h 10126"/>
                <a:gd name="connsiteX299" fmla="*/ 6637 w 10000"/>
                <a:gd name="connsiteY299" fmla="*/ 5656 h 10126"/>
                <a:gd name="connsiteX300" fmla="*/ 6581 w 10000"/>
                <a:gd name="connsiteY300" fmla="*/ 5710 h 10126"/>
                <a:gd name="connsiteX301" fmla="*/ 6518 w 10000"/>
                <a:gd name="connsiteY301" fmla="*/ 5758 h 10126"/>
                <a:gd name="connsiteX302" fmla="*/ 6443 w 10000"/>
                <a:gd name="connsiteY302" fmla="*/ 5801 h 10126"/>
                <a:gd name="connsiteX303" fmla="*/ 6374 w 10000"/>
                <a:gd name="connsiteY303" fmla="*/ 5837 h 10126"/>
                <a:gd name="connsiteX304" fmla="*/ 6299 w 10000"/>
                <a:gd name="connsiteY304" fmla="*/ 5872 h 10126"/>
                <a:gd name="connsiteX305" fmla="*/ 6223 w 10000"/>
                <a:gd name="connsiteY305" fmla="*/ 5920 h 10126"/>
                <a:gd name="connsiteX306" fmla="*/ 6154 w 10000"/>
                <a:gd name="connsiteY306" fmla="*/ 5956 h 10126"/>
                <a:gd name="connsiteX307" fmla="*/ 6092 w 10000"/>
                <a:gd name="connsiteY307" fmla="*/ 5999 h 10126"/>
                <a:gd name="connsiteX308" fmla="*/ 6035 w 10000"/>
                <a:gd name="connsiteY308" fmla="*/ 6047 h 10126"/>
                <a:gd name="connsiteX309" fmla="*/ 6004 w 10000"/>
                <a:gd name="connsiteY309" fmla="*/ 6071 h 10126"/>
                <a:gd name="connsiteX310" fmla="*/ 5985 w 10000"/>
                <a:gd name="connsiteY310" fmla="*/ 6095 h 10126"/>
                <a:gd name="connsiteX311" fmla="*/ 5966 w 10000"/>
                <a:gd name="connsiteY311" fmla="*/ 6125 h 10126"/>
                <a:gd name="connsiteX312" fmla="*/ 5947 w 10000"/>
                <a:gd name="connsiteY312" fmla="*/ 6155 h 10126"/>
                <a:gd name="connsiteX313" fmla="*/ 5935 w 10000"/>
                <a:gd name="connsiteY313" fmla="*/ 6193 h 10126"/>
                <a:gd name="connsiteX314" fmla="*/ 5922 w 10000"/>
                <a:gd name="connsiteY314" fmla="*/ 6223 h 10126"/>
                <a:gd name="connsiteX315" fmla="*/ 5916 w 10000"/>
                <a:gd name="connsiteY315" fmla="*/ 6265 h 10126"/>
                <a:gd name="connsiteX316" fmla="*/ 5916 w 10000"/>
                <a:gd name="connsiteY316" fmla="*/ 6307 h 10126"/>
                <a:gd name="connsiteX317" fmla="*/ 5859 w 10000"/>
                <a:gd name="connsiteY317" fmla="*/ 6325 h 10126"/>
                <a:gd name="connsiteX318" fmla="*/ 5809 w 10000"/>
                <a:gd name="connsiteY318" fmla="*/ 6343 h 10126"/>
                <a:gd name="connsiteX319" fmla="*/ 5765 w 10000"/>
                <a:gd name="connsiteY319" fmla="*/ 6366 h 10126"/>
                <a:gd name="connsiteX320" fmla="*/ 5721 w 10000"/>
                <a:gd name="connsiteY320" fmla="*/ 6390 h 10126"/>
                <a:gd name="connsiteX321" fmla="*/ 5634 w 10000"/>
                <a:gd name="connsiteY321" fmla="*/ 6451 h 10126"/>
                <a:gd name="connsiteX322" fmla="*/ 5558 w 10000"/>
                <a:gd name="connsiteY322" fmla="*/ 6523 h 10126"/>
                <a:gd name="connsiteX323" fmla="*/ 5420 w 10000"/>
                <a:gd name="connsiteY323" fmla="*/ 6686 h 10126"/>
                <a:gd name="connsiteX324" fmla="*/ 5289 w 10000"/>
                <a:gd name="connsiteY324" fmla="*/ 6860 h 10126"/>
                <a:gd name="connsiteX325" fmla="*/ 5220 w 10000"/>
                <a:gd name="connsiteY325" fmla="*/ 6951 h 10126"/>
                <a:gd name="connsiteX326" fmla="*/ 5151 w 10000"/>
                <a:gd name="connsiteY326" fmla="*/ 7029 h 10126"/>
                <a:gd name="connsiteX327" fmla="*/ 5075 w 10000"/>
                <a:gd name="connsiteY327" fmla="*/ 7102 h 10126"/>
                <a:gd name="connsiteX328" fmla="*/ 4994 w 10000"/>
                <a:gd name="connsiteY328" fmla="*/ 7168 h 10126"/>
                <a:gd name="connsiteX329" fmla="*/ 4944 w 10000"/>
                <a:gd name="connsiteY329" fmla="*/ 7198 h 10126"/>
                <a:gd name="connsiteX330" fmla="*/ 4893 w 10000"/>
                <a:gd name="connsiteY330" fmla="*/ 7222 h 10126"/>
                <a:gd name="connsiteX331" fmla="*/ 4849 w 10000"/>
                <a:gd name="connsiteY331" fmla="*/ 7246 h 10126"/>
                <a:gd name="connsiteX332" fmla="*/ 4793 w 10000"/>
                <a:gd name="connsiteY332" fmla="*/ 7271 h 10126"/>
                <a:gd name="connsiteX333" fmla="*/ 4730 w 10000"/>
                <a:gd name="connsiteY333" fmla="*/ 7289 h 10126"/>
                <a:gd name="connsiteX334" fmla="*/ 4674 w 10000"/>
                <a:gd name="connsiteY334" fmla="*/ 7301 h 10126"/>
                <a:gd name="connsiteX335" fmla="*/ 4605 w 10000"/>
                <a:gd name="connsiteY335" fmla="*/ 7307 h 10126"/>
                <a:gd name="connsiteX336" fmla="*/ 4536 w 10000"/>
                <a:gd name="connsiteY336" fmla="*/ 7307 h 10126"/>
                <a:gd name="connsiteX337" fmla="*/ 4536 w 10000"/>
                <a:gd name="connsiteY337" fmla="*/ 7360 h 10126"/>
                <a:gd name="connsiteX338" fmla="*/ 4536 w 10000"/>
                <a:gd name="connsiteY338" fmla="*/ 7414 h 10126"/>
                <a:gd name="connsiteX339" fmla="*/ 4536 w 10000"/>
                <a:gd name="connsiteY339" fmla="*/ 7456 h 10126"/>
                <a:gd name="connsiteX340" fmla="*/ 4536 w 10000"/>
                <a:gd name="connsiteY340" fmla="*/ 7493 h 10126"/>
                <a:gd name="connsiteX341" fmla="*/ 4536 w 10000"/>
                <a:gd name="connsiteY341" fmla="*/ 7559 h 10126"/>
                <a:gd name="connsiteX342" fmla="*/ 4536 w 10000"/>
                <a:gd name="connsiteY342" fmla="*/ 7662 h 10126"/>
                <a:gd name="connsiteX343" fmla="*/ 4536 w 10000"/>
                <a:gd name="connsiteY343" fmla="*/ 7771 h 10126"/>
                <a:gd name="connsiteX344" fmla="*/ 4548 w 10000"/>
                <a:gd name="connsiteY344" fmla="*/ 7884 h 10126"/>
                <a:gd name="connsiteX345" fmla="*/ 4561 w 10000"/>
                <a:gd name="connsiteY345" fmla="*/ 7945 h 10126"/>
                <a:gd name="connsiteX346" fmla="*/ 4573 w 10000"/>
                <a:gd name="connsiteY346" fmla="*/ 7999 h 10126"/>
                <a:gd name="connsiteX347" fmla="*/ 4586 w 10000"/>
                <a:gd name="connsiteY347" fmla="*/ 8047 h 10126"/>
                <a:gd name="connsiteX348" fmla="*/ 4611 w 10000"/>
                <a:gd name="connsiteY348" fmla="*/ 8089 h 10126"/>
                <a:gd name="connsiteX349" fmla="*/ 4636 w 10000"/>
                <a:gd name="connsiteY349" fmla="*/ 8132 h 10126"/>
                <a:gd name="connsiteX350" fmla="*/ 4668 w 10000"/>
                <a:gd name="connsiteY350" fmla="*/ 8162 h 10126"/>
                <a:gd name="connsiteX351" fmla="*/ 4705 w 10000"/>
                <a:gd name="connsiteY351" fmla="*/ 8186 h 10126"/>
                <a:gd name="connsiteX352" fmla="*/ 4749 w 10000"/>
                <a:gd name="connsiteY352" fmla="*/ 8198 h 10126"/>
                <a:gd name="connsiteX353" fmla="*/ 4711 w 10000"/>
                <a:gd name="connsiteY353" fmla="*/ 8294 h 10126"/>
                <a:gd name="connsiteX354" fmla="*/ 4668 w 10000"/>
                <a:gd name="connsiteY354" fmla="*/ 8379 h 10126"/>
                <a:gd name="connsiteX355" fmla="*/ 4617 w 10000"/>
                <a:gd name="connsiteY355" fmla="*/ 8457 h 10126"/>
                <a:gd name="connsiteX356" fmla="*/ 4573 w 10000"/>
                <a:gd name="connsiteY356" fmla="*/ 8529 h 10126"/>
                <a:gd name="connsiteX357" fmla="*/ 4523 w 10000"/>
                <a:gd name="connsiteY357" fmla="*/ 8614 h 10126"/>
                <a:gd name="connsiteX358" fmla="*/ 4492 w 10000"/>
                <a:gd name="connsiteY358" fmla="*/ 8692 h 10126"/>
                <a:gd name="connsiteX359" fmla="*/ 4473 w 10000"/>
                <a:gd name="connsiteY359" fmla="*/ 8728 h 10126"/>
                <a:gd name="connsiteX360" fmla="*/ 4467 w 10000"/>
                <a:gd name="connsiteY360" fmla="*/ 8771 h 10126"/>
                <a:gd name="connsiteX361" fmla="*/ 4460 w 10000"/>
                <a:gd name="connsiteY361" fmla="*/ 8819 h 10126"/>
                <a:gd name="connsiteX362" fmla="*/ 4454 w 10000"/>
                <a:gd name="connsiteY362" fmla="*/ 8861 h 10126"/>
                <a:gd name="connsiteX363" fmla="*/ 4460 w 10000"/>
                <a:gd name="connsiteY363" fmla="*/ 8878 h 10126"/>
                <a:gd name="connsiteX364" fmla="*/ 4467 w 10000"/>
                <a:gd name="connsiteY364" fmla="*/ 8890 h 10126"/>
                <a:gd name="connsiteX365" fmla="*/ 4479 w 10000"/>
                <a:gd name="connsiteY365" fmla="*/ 8902 h 10126"/>
                <a:gd name="connsiteX366" fmla="*/ 4504 w 10000"/>
                <a:gd name="connsiteY366" fmla="*/ 8914 h 10126"/>
                <a:gd name="connsiteX367" fmla="*/ 4542 w 10000"/>
                <a:gd name="connsiteY367" fmla="*/ 8938 h 10126"/>
                <a:gd name="connsiteX368" fmla="*/ 4580 w 10000"/>
                <a:gd name="connsiteY368" fmla="*/ 8944 h 10126"/>
                <a:gd name="connsiteX369" fmla="*/ 4580 w 10000"/>
                <a:gd name="connsiteY369" fmla="*/ 9162 h 10126"/>
                <a:gd name="connsiteX370" fmla="*/ 4529 w 10000"/>
                <a:gd name="connsiteY370" fmla="*/ 9247 h 10126"/>
                <a:gd name="connsiteX371" fmla="*/ 4492 w 10000"/>
                <a:gd name="connsiteY371" fmla="*/ 9337 h 10126"/>
                <a:gd name="connsiteX372" fmla="*/ 4460 w 10000"/>
                <a:gd name="connsiteY372" fmla="*/ 9372 h 10126"/>
                <a:gd name="connsiteX373" fmla="*/ 4429 w 10000"/>
                <a:gd name="connsiteY373" fmla="*/ 9397 h 10126"/>
                <a:gd name="connsiteX374" fmla="*/ 4404 w 10000"/>
                <a:gd name="connsiteY374" fmla="*/ 9409 h 10126"/>
                <a:gd name="connsiteX375" fmla="*/ 4385 w 10000"/>
                <a:gd name="connsiteY375" fmla="*/ 9415 h 10126"/>
                <a:gd name="connsiteX376" fmla="*/ 4360 w 10000"/>
                <a:gd name="connsiteY376" fmla="*/ 9421 h 10126"/>
                <a:gd name="connsiteX377" fmla="*/ 4329 w 10000"/>
                <a:gd name="connsiteY377" fmla="*/ 9421 h 10126"/>
                <a:gd name="connsiteX378" fmla="*/ 4329 w 10000"/>
                <a:gd name="connsiteY378" fmla="*/ 9469 h 10126"/>
                <a:gd name="connsiteX379" fmla="*/ 4335 w 10000"/>
                <a:gd name="connsiteY379" fmla="*/ 9529 h 10126"/>
                <a:gd name="connsiteX380" fmla="*/ 4348 w 10000"/>
                <a:gd name="connsiteY380" fmla="*/ 9559 h 10126"/>
                <a:gd name="connsiteX381" fmla="*/ 4354 w 10000"/>
                <a:gd name="connsiteY381" fmla="*/ 9583 h 10126"/>
                <a:gd name="connsiteX382" fmla="*/ 4360 w 10000"/>
                <a:gd name="connsiteY382" fmla="*/ 9602 h 10126"/>
                <a:gd name="connsiteX383" fmla="*/ 4373 w 10000"/>
                <a:gd name="connsiteY383" fmla="*/ 9608 h 10126"/>
                <a:gd name="connsiteX384" fmla="*/ 4210 w 10000"/>
                <a:gd name="connsiteY384" fmla="*/ 9734 h 10126"/>
                <a:gd name="connsiteX385" fmla="*/ 4072 w 10000"/>
                <a:gd name="connsiteY385" fmla="*/ 9838 h 10126"/>
                <a:gd name="connsiteX386" fmla="*/ 4009 w 10000"/>
                <a:gd name="connsiteY386" fmla="*/ 9897 h 10126"/>
                <a:gd name="connsiteX387" fmla="*/ 3952 w 10000"/>
                <a:gd name="connsiteY387" fmla="*/ 9963 h 10126"/>
                <a:gd name="connsiteX388" fmla="*/ 3890 w 10000"/>
                <a:gd name="connsiteY388" fmla="*/ 10042 h 10126"/>
                <a:gd name="connsiteX389" fmla="*/ 3833 w 10000"/>
                <a:gd name="connsiteY389" fmla="*/ 10126 h 10126"/>
                <a:gd name="connsiteX390" fmla="*/ 3733 w 10000"/>
                <a:gd name="connsiteY390" fmla="*/ 10084 h 10126"/>
                <a:gd name="connsiteX391" fmla="*/ 3664 w 10000"/>
                <a:gd name="connsiteY391" fmla="*/ 10042 h 10126"/>
                <a:gd name="connsiteX392" fmla="*/ 3607 w 10000"/>
                <a:gd name="connsiteY392" fmla="*/ 9999 h 10126"/>
                <a:gd name="connsiteX393" fmla="*/ 3563 w 10000"/>
                <a:gd name="connsiteY393" fmla="*/ 9951 h 10126"/>
                <a:gd name="connsiteX394" fmla="*/ 3532 w 10000"/>
                <a:gd name="connsiteY394" fmla="*/ 9891 h 10126"/>
                <a:gd name="connsiteX395" fmla="*/ 3513 w 10000"/>
                <a:gd name="connsiteY395" fmla="*/ 9832 h 10126"/>
                <a:gd name="connsiteX396" fmla="*/ 3482 w 10000"/>
                <a:gd name="connsiteY396" fmla="*/ 9758 h 10126"/>
                <a:gd name="connsiteX397" fmla="*/ 3457 w 10000"/>
                <a:gd name="connsiteY397" fmla="*/ 9686 h 10126"/>
                <a:gd name="connsiteX398" fmla="*/ 3400 w 10000"/>
                <a:gd name="connsiteY398" fmla="*/ 9547 h 10126"/>
                <a:gd name="connsiteX399" fmla="*/ 3325 w 10000"/>
                <a:gd name="connsiteY399" fmla="*/ 9415 h 10126"/>
                <a:gd name="connsiteX400" fmla="*/ 3237 w 10000"/>
                <a:gd name="connsiteY400" fmla="*/ 9277 h 10126"/>
                <a:gd name="connsiteX401" fmla="*/ 3143 w 10000"/>
                <a:gd name="connsiteY401" fmla="*/ 9132 h 10126"/>
                <a:gd name="connsiteX402" fmla="*/ 3049 w 10000"/>
                <a:gd name="connsiteY402" fmla="*/ 8999 h 10126"/>
                <a:gd name="connsiteX403" fmla="*/ 2967 w 10000"/>
                <a:gd name="connsiteY403" fmla="*/ 8867 h 10126"/>
                <a:gd name="connsiteX404" fmla="*/ 2892 w 10000"/>
                <a:gd name="connsiteY404" fmla="*/ 8747 h 10126"/>
                <a:gd name="connsiteX405" fmla="*/ 2829 w 10000"/>
                <a:gd name="connsiteY405" fmla="*/ 8644 h 10126"/>
                <a:gd name="connsiteX406" fmla="*/ 2773 w 10000"/>
                <a:gd name="connsiteY406" fmla="*/ 8529 h 10126"/>
                <a:gd name="connsiteX407" fmla="*/ 2735 w 10000"/>
                <a:gd name="connsiteY407" fmla="*/ 8427 h 10126"/>
                <a:gd name="connsiteX408" fmla="*/ 2698 w 10000"/>
                <a:gd name="connsiteY408" fmla="*/ 8319 h 10126"/>
                <a:gd name="connsiteX409" fmla="*/ 2666 w 10000"/>
                <a:gd name="connsiteY409" fmla="*/ 8210 h 10126"/>
                <a:gd name="connsiteX410" fmla="*/ 2629 w 10000"/>
                <a:gd name="connsiteY410" fmla="*/ 8101 h 10126"/>
                <a:gd name="connsiteX411" fmla="*/ 2597 w 10000"/>
                <a:gd name="connsiteY411" fmla="*/ 7993 h 10126"/>
                <a:gd name="connsiteX412" fmla="*/ 2553 w 10000"/>
                <a:gd name="connsiteY412" fmla="*/ 7872 h 10126"/>
                <a:gd name="connsiteX413" fmla="*/ 2497 w 10000"/>
                <a:gd name="connsiteY413" fmla="*/ 7753 h 10126"/>
                <a:gd name="connsiteX414" fmla="*/ 2359 w 10000"/>
                <a:gd name="connsiteY414" fmla="*/ 7559 h 10126"/>
                <a:gd name="connsiteX415" fmla="*/ 2208 w 10000"/>
                <a:gd name="connsiteY415" fmla="*/ 7378 h 10126"/>
                <a:gd name="connsiteX416" fmla="*/ 2139 w 10000"/>
                <a:gd name="connsiteY416" fmla="*/ 7295 h 10126"/>
                <a:gd name="connsiteX417" fmla="*/ 2070 w 10000"/>
                <a:gd name="connsiteY417" fmla="*/ 7198 h 10126"/>
                <a:gd name="connsiteX418" fmla="*/ 2008 w 10000"/>
                <a:gd name="connsiteY418" fmla="*/ 7108 h 10126"/>
                <a:gd name="connsiteX419" fmla="*/ 1957 w 10000"/>
                <a:gd name="connsiteY419" fmla="*/ 7011 h 10126"/>
                <a:gd name="connsiteX420" fmla="*/ 1888 w 10000"/>
                <a:gd name="connsiteY420" fmla="*/ 6776 h 10126"/>
                <a:gd name="connsiteX421" fmla="*/ 1832 w 10000"/>
                <a:gd name="connsiteY421" fmla="*/ 6559 h 10126"/>
                <a:gd name="connsiteX422" fmla="*/ 1782 w 10000"/>
                <a:gd name="connsiteY422" fmla="*/ 6349 h 10126"/>
                <a:gd name="connsiteX423" fmla="*/ 1757 w 10000"/>
                <a:gd name="connsiteY423" fmla="*/ 6137 h 10126"/>
                <a:gd name="connsiteX424" fmla="*/ 1725 w 10000"/>
                <a:gd name="connsiteY424" fmla="*/ 5932 h 10126"/>
                <a:gd name="connsiteX425" fmla="*/ 1713 w 10000"/>
                <a:gd name="connsiteY425" fmla="*/ 5716 h 10126"/>
                <a:gd name="connsiteX426" fmla="*/ 1706 w 10000"/>
                <a:gd name="connsiteY426" fmla="*/ 5493 h 10126"/>
                <a:gd name="connsiteX427" fmla="*/ 1706 w 10000"/>
                <a:gd name="connsiteY427" fmla="*/ 5270 h 10126"/>
                <a:gd name="connsiteX428" fmla="*/ 1681 w 10000"/>
                <a:gd name="connsiteY428" fmla="*/ 5264 h 10126"/>
                <a:gd name="connsiteX429" fmla="*/ 1650 w 10000"/>
                <a:gd name="connsiteY429" fmla="*/ 5258 h 10126"/>
                <a:gd name="connsiteX430" fmla="*/ 1625 w 10000"/>
                <a:gd name="connsiteY430" fmla="*/ 5252 h 10126"/>
                <a:gd name="connsiteX431" fmla="*/ 1606 w 10000"/>
                <a:gd name="connsiteY431" fmla="*/ 5228 h 10126"/>
                <a:gd name="connsiteX432" fmla="*/ 1581 w 10000"/>
                <a:gd name="connsiteY432" fmla="*/ 5216 h 10126"/>
                <a:gd name="connsiteX433" fmla="*/ 1568 w 10000"/>
                <a:gd name="connsiteY433" fmla="*/ 5198 h 10126"/>
                <a:gd name="connsiteX434" fmla="*/ 1550 w 10000"/>
                <a:gd name="connsiteY434" fmla="*/ 5174 h 10126"/>
                <a:gd name="connsiteX435" fmla="*/ 1543 w 10000"/>
                <a:gd name="connsiteY435" fmla="*/ 5150 h 10126"/>
                <a:gd name="connsiteX436" fmla="*/ 1518 w 10000"/>
                <a:gd name="connsiteY436" fmla="*/ 5101 h 10126"/>
                <a:gd name="connsiteX437" fmla="*/ 1506 w 10000"/>
                <a:gd name="connsiteY437" fmla="*/ 5047 h 10126"/>
                <a:gd name="connsiteX438" fmla="*/ 1499 w 10000"/>
                <a:gd name="connsiteY438" fmla="*/ 4987 h 10126"/>
                <a:gd name="connsiteX439" fmla="*/ 1499 w 10000"/>
                <a:gd name="connsiteY439" fmla="*/ 4933 h 10126"/>
                <a:gd name="connsiteX440" fmla="*/ 1443 w 10000"/>
                <a:gd name="connsiteY440" fmla="*/ 4969 h 10126"/>
                <a:gd name="connsiteX441" fmla="*/ 1405 w 10000"/>
                <a:gd name="connsiteY441" fmla="*/ 5011 h 10126"/>
                <a:gd name="connsiteX442" fmla="*/ 1361 w 10000"/>
                <a:gd name="connsiteY442" fmla="*/ 5053 h 10126"/>
                <a:gd name="connsiteX443" fmla="*/ 1317 w 10000"/>
                <a:gd name="connsiteY443" fmla="*/ 5101 h 10126"/>
                <a:gd name="connsiteX444" fmla="*/ 1261 w 10000"/>
                <a:gd name="connsiteY444" fmla="*/ 5198 h 10126"/>
                <a:gd name="connsiteX445" fmla="*/ 1205 w 10000"/>
                <a:gd name="connsiteY445" fmla="*/ 5300 h 10126"/>
                <a:gd name="connsiteX446" fmla="*/ 1167 w 10000"/>
                <a:gd name="connsiteY446" fmla="*/ 5343 h 10126"/>
                <a:gd name="connsiteX447" fmla="*/ 1142 w 10000"/>
                <a:gd name="connsiteY447" fmla="*/ 5384 h 10126"/>
                <a:gd name="connsiteX448" fmla="*/ 1104 w 10000"/>
                <a:gd name="connsiteY448" fmla="*/ 5426 h 10126"/>
                <a:gd name="connsiteX449" fmla="*/ 1073 w 10000"/>
                <a:gd name="connsiteY449" fmla="*/ 5456 h 10126"/>
                <a:gd name="connsiteX450" fmla="*/ 1029 w 10000"/>
                <a:gd name="connsiteY450" fmla="*/ 5487 h 10126"/>
                <a:gd name="connsiteX451" fmla="*/ 985 w 10000"/>
                <a:gd name="connsiteY451" fmla="*/ 5505 h 10126"/>
                <a:gd name="connsiteX452" fmla="*/ 928 w 10000"/>
                <a:gd name="connsiteY452" fmla="*/ 5517 h 10126"/>
                <a:gd name="connsiteX453" fmla="*/ 872 w 10000"/>
                <a:gd name="connsiteY453" fmla="*/ 5523 h 10126"/>
                <a:gd name="connsiteX454" fmla="*/ 841 w 10000"/>
                <a:gd name="connsiteY454" fmla="*/ 5517 h 10126"/>
                <a:gd name="connsiteX455" fmla="*/ 797 w 10000"/>
                <a:gd name="connsiteY455" fmla="*/ 5505 h 10126"/>
                <a:gd name="connsiteX456" fmla="*/ 753 w 10000"/>
                <a:gd name="connsiteY456" fmla="*/ 5487 h 10126"/>
                <a:gd name="connsiteX457" fmla="*/ 709 w 10000"/>
                <a:gd name="connsiteY457" fmla="*/ 5456 h 10126"/>
                <a:gd name="connsiteX458" fmla="*/ 659 w 10000"/>
                <a:gd name="connsiteY458" fmla="*/ 5420 h 10126"/>
                <a:gd name="connsiteX459" fmla="*/ 609 w 10000"/>
                <a:gd name="connsiteY459" fmla="*/ 5384 h 10126"/>
                <a:gd name="connsiteX460" fmla="*/ 565 w 10000"/>
                <a:gd name="connsiteY460" fmla="*/ 5343 h 10126"/>
                <a:gd name="connsiteX461" fmla="*/ 514 w 10000"/>
                <a:gd name="connsiteY461" fmla="*/ 5294 h 10126"/>
                <a:gd name="connsiteX462" fmla="*/ 471 w 10000"/>
                <a:gd name="connsiteY462" fmla="*/ 5246 h 10126"/>
                <a:gd name="connsiteX463" fmla="*/ 433 w 10000"/>
                <a:gd name="connsiteY463" fmla="*/ 5192 h 10126"/>
                <a:gd name="connsiteX464" fmla="*/ 389 w 10000"/>
                <a:gd name="connsiteY464" fmla="*/ 5138 h 10126"/>
                <a:gd name="connsiteX465" fmla="*/ 358 w 10000"/>
                <a:gd name="connsiteY465" fmla="*/ 5083 h 10126"/>
                <a:gd name="connsiteX466" fmla="*/ 326 w 10000"/>
                <a:gd name="connsiteY466" fmla="*/ 5035 h 10126"/>
                <a:gd name="connsiteX467" fmla="*/ 307 w 10000"/>
                <a:gd name="connsiteY467" fmla="*/ 4987 h 10126"/>
                <a:gd name="connsiteX468" fmla="*/ 295 w 10000"/>
                <a:gd name="connsiteY468" fmla="*/ 4939 h 10126"/>
                <a:gd name="connsiteX469" fmla="*/ 289 w 10000"/>
                <a:gd name="connsiteY469" fmla="*/ 4890 h 10126"/>
                <a:gd name="connsiteX470" fmla="*/ 320 w 10000"/>
                <a:gd name="connsiteY470" fmla="*/ 4872 h 10126"/>
                <a:gd name="connsiteX471" fmla="*/ 395 w 10000"/>
                <a:gd name="connsiteY471" fmla="*/ 4837 h 10126"/>
                <a:gd name="connsiteX472" fmla="*/ 483 w 10000"/>
                <a:gd name="connsiteY472" fmla="*/ 4801 h 10126"/>
                <a:gd name="connsiteX473" fmla="*/ 533 w 10000"/>
                <a:gd name="connsiteY473" fmla="*/ 4783 h 10126"/>
                <a:gd name="connsiteX474" fmla="*/ 483 w 10000"/>
                <a:gd name="connsiteY474" fmla="*/ 4783 h 10126"/>
                <a:gd name="connsiteX475" fmla="*/ 420 w 10000"/>
                <a:gd name="connsiteY475" fmla="*/ 4777 h 10126"/>
                <a:gd name="connsiteX476" fmla="*/ 370 w 10000"/>
                <a:gd name="connsiteY476" fmla="*/ 4765 h 10126"/>
                <a:gd name="connsiteX477" fmla="*/ 320 w 10000"/>
                <a:gd name="connsiteY477" fmla="*/ 4759 h 10126"/>
                <a:gd name="connsiteX478" fmla="*/ 276 w 10000"/>
                <a:gd name="connsiteY478" fmla="*/ 4740 h 10126"/>
                <a:gd name="connsiteX479" fmla="*/ 232 w 10000"/>
                <a:gd name="connsiteY479" fmla="*/ 4728 h 10126"/>
                <a:gd name="connsiteX480" fmla="*/ 188 w 10000"/>
                <a:gd name="connsiteY480" fmla="*/ 4710 h 10126"/>
                <a:gd name="connsiteX481" fmla="*/ 157 w 10000"/>
                <a:gd name="connsiteY481" fmla="*/ 4685 h 10126"/>
                <a:gd name="connsiteX482" fmla="*/ 132 w 10000"/>
                <a:gd name="connsiteY482" fmla="*/ 4661 h 10126"/>
                <a:gd name="connsiteX483" fmla="*/ 100 w 10000"/>
                <a:gd name="connsiteY483" fmla="*/ 4637 h 10126"/>
                <a:gd name="connsiteX484" fmla="*/ 75 w 10000"/>
                <a:gd name="connsiteY484" fmla="*/ 4607 h 10126"/>
                <a:gd name="connsiteX485" fmla="*/ 50 w 10000"/>
                <a:gd name="connsiteY485" fmla="*/ 4583 h 10126"/>
                <a:gd name="connsiteX486" fmla="*/ 19 w 10000"/>
                <a:gd name="connsiteY486" fmla="*/ 4511 h 10126"/>
                <a:gd name="connsiteX487" fmla="*/ 0 w 10000"/>
                <a:gd name="connsiteY487" fmla="*/ 4444 h 10126"/>
                <a:gd name="connsiteX488" fmla="*/ 63 w 10000"/>
                <a:gd name="connsiteY488" fmla="*/ 4396 h 10126"/>
                <a:gd name="connsiteX489" fmla="*/ 132 w 10000"/>
                <a:gd name="connsiteY489" fmla="*/ 4360 h 10126"/>
                <a:gd name="connsiteX490" fmla="*/ 201 w 10000"/>
                <a:gd name="connsiteY490" fmla="*/ 4331 h 10126"/>
                <a:gd name="connsiteX491" fmla="*/ 276 w 10000"/>
                <a:gd name="connsiteY491" fmla="*/ 4307 h 10126"/>
                <a:gd name="connsiteX492" fmla="*/ 420 w 10000"/>
                <a:gd name="connsiteY492" fmla="*/ 4277 h 10126"/>
                <a:gd name="connsiteX493" fmla="*/ 565 w 10000"/>
                <a:gd name="connsiteY493" fmla="*/ 4252 h 10126"/>
                <a:gd name="connsiteX494" fmla="*/ 640 w 10000"/>
                <a:gd name="connsiteY494" fmla="*/ 4240 h 10126"/>
                <a:gd name="connsiteX495" fmla="*/ 709 w 10000"/>
                <a:gd name="connsiteY495" fmla="*/ 4216 h 10126"/>
                <a:gd name="connsiteX496" fmla="*/ 772 w 10000"/>
                <a:gd name="connsiteY496" fmla="*/ 4198 h 10126"/>
                <a:gd name="connsiteX497" fmla="*/ 834 w 10000"/>
                <a:gd name="connsiteY497" fmla="*/ 4168 h 10126"/>
                <a:gd name="connsiteX498" fmla="*/ 891 w 10000"/>
                <a:gd name="connsiteY498" fmla="*/ 4138 h 10126"/>
                <a:gd name="connsiteX499" fmla="*/ 947 w 10000"/>
                <a:gd name="connsiteY499" fmla="*/ 4090 h 10126"/>
                <a:gd name="connsiteX500" fmla="*/ 997 w 10000"/>
                <a:gd name="connsiteY500" fmla="*/ 4035 h 10126"/>
                <a:gd name="connsiteX501" fmla="*/ 1035 w 10000"/>
                <a:gd name="connsiteY501" fmla="*/ 3968 h 10126"/>
                <a:gd name="connsiteX502" fmla="*/ 1010 w 10000"/>
                <a:gd name="connsiteY502" fmla="*/ 3956 h 10126"/>
                <a:gd name="connsiteX503" fmla="*/ 985 w 10000"/>
                <a:gd name="connsiteY503" fmla="*/ 3938 h 10126"/>
                <a:gd name="connsiteX504" fmla="*/ 947 w 10000"/>
                <a:gd name="connsiteY504" fmla="*/ 3914 h 10126"/>
                <a:gd name="connsiteX505" fmla="*/ 910 w 10000"/>
                <a:gd name="connsiteY505" fmla="*/ 3878 h 10126"/>
                <a:gd name="connsiteX506" fmla="*/ 822 w 10000"/>
                <a:gd name="connsiteY506" fmla="*/ 3806 h 10126"/>
                <a:gd name="connsiteX507" fmla="*/ 740 w 10000"/>
                <a:gd name="connsiteY507" fmla="*/ 3722 h 10126"/>
                <a:gd name="connsiteX508" fmla="*/ 665 w 10000"/>
                <a:gd name="connsiteY508" fmla="*/ 3631 h 10126"/>
                <a:gd name="connsiteX509" fmla="*/ 596 w 10000"/>
                <a:gd name="connsiteY509" fmla="*/ 3535 h 10126"/>
                <a:gd name="connsiteX510" fmla="*/ 577 w 10000"/>
                <a:gd name="connsiteY510" fmla="*/ 3493 h 10126"/>
                <a:gd name="connsiteX511" fmla="*/ 558 w 10000"/>
                <a:gd name="connsiteY511" fmla="*/ 3451 h 10126"/>
                <a:gd name="connsiteX512" fmla="*/ 540 w 10000"/>
                <a:gd name="connsiteY512" fmla="*/ 3408 h 10126"/>
                <a:gd name="connsiteX513" fmla="*/ 533 w 10000"/>
                <a:gd name="connsiteY513" fmla="*/ 3372 h 10126"/>
                <a:gd name="connsiteX514" fmla="*/ 508 w 10000"/>
                <a:gd name="connsiteY514" fmla="*/ 3366 h 10126"/>
                <a:gd name="connsiteX515" fmla="*/ 483 w 10000"/>
                <a:gd name="connsiteY515" fmla="*/ 3360 h 10126"/>
                <a:gd name="connsiteX516" fmla="*/ 458 w 10000"/>
                <a:gd name="connsiteY516" fmla="*/ 3348 h 10126"/>
                <a:gd name="connsiteX517" fmla="*/ 439 w 10000"/>
                <a:gd name="connsiteY517" fmla="*/ 3325 h 10126"/>
                <a:gd name="connsiteX518" fmla="*/ 402 w 10000"/>
                <a:gd name="connsiteY518" fmla="*/ 3282 h 10126"/>
                <a:gd name="connsiteX519" fmla="*/ 370 w 10000"/>
                <a:gd name="connsiteY519" fmla="*/ 3222 h 10126"/>
                <a:gd name="connsiteX520" fmla="*/ 370 w 10000"/>
                <a:gd name="connsiteY520" fmla="*/ 3077 h 10126"/>
                <a:gd name="connsiteX521" fmla="*/ 458 w 10000"/>
                <a:gd name="connsiteY521" fmla="*/ 3071 h 10126"/>
                <a:gd name="connsiteX522" fmla="*/ 540 w 10000"/>
                <a:gd name="connsiteY522" fmla="*/ 3065 h 10126"/>
                <a:gd name="connsiteX523" fmla="*/ 615 w 10000"/>
                <a:gd name="connsiteY523" fmla="*/ 3053 h 10126"/>
                <a:gd name="connsiteX524" fmla="*/ 684 w 10000"/>
                <a:gd name="connsiteY524" fmla="*/ 3029 h 10126"/>
                <a:gd name="connsiteX525" fmla="*/ 747 w 10000"/>
                <a:gd name="connsiteY525" fmla="*/ 3011 h 10126"/>
                <a:gd name="connsiteX526" fmla="*/ 809 w 10000"/>
                <a:gd name="connsiteY526" fmla="*/ 2980 h 10126"/>
                <a:gd name="connsiteX527" fmla="*/ 866 w 10000"/>
                <a:gd name="connsiteY527" fmla="*/ 2950 h 10126"/>
                <a:gd name="connsiteX528" fmla="*/ 922 w 10000"/>
                <a:gd name="connsiteY528" fmla="*/ 2914 h 10126"/>
                <a:gd name="connsiteX529" fmla="*/ 966 w 10000"/>
                <a:gd name="connsiteY529" fmla="*/ 2872 h 10126"/>
                <a:gd name="connsiteX530" fmla="*/ 1016 w 10000"/>
                <a:gd name="connsiteY530" fmla="*/ 2831 h 10126"/>
                <a:gd name="connsiteX531" fmla="*/ 1060 w 10000"/>
                <a:gd name="connsiteY531" fmla="*/ 2789 h 10126"/>
                <a:gd name="connsiteX532" fmla="*/ 1098 w 10000"/>
                <a:gd name="connsiteY532" fmla="*/ 2740 h 10126"/>
                <a:gd name="connsiteX533" fmla="*/ 1167 w 10000"/>
                <a:gd name="connsiteY533" fmla="*/ 2644 h 10126"/>
                <a:gd name="connsiteX534" fmla="*/ 1236 w 10000"/>
                <a:gd name="connsiteY534" fmla="*/ 2534 h 10126"/>
                <a:gd name="connsiteX535" fmla="*/ 1355 w 10000"/>
                <a:gd name="connsiteY535" fmla="*/ 2318 h 10126"/>
                <a:gd name="connsiteX536" fmla="*/ 1474 w 10000"/>
                <a:gd name="connsiteY536" fmla="*/ 2101 h 10126"/>
                <a:gd name="connsiteX537" fmla="*/ 1543 w 10000"/>
                <a:gd name="connsiteY537" fmla="*/ 2005 h 10126"/>
                <a:gd name="connsiteX538" fmla="*/ 1612 w 10000"/>
                <a:gd name="connsiteY538" fmla="*/ 1920 h 10126"/>
                <a:gd name="connsiteX539" fmla="*/ 1650 w 10000"/>
                <a:gd name="connsiteY539" fmla="*/ 1871 h 10126"/>
                <a:gd name="connsiteX540" fmla="*/ 1694 w 10000"/>
                <a:gd name="connsiteY540" fmla="*/ 1835 h 10126"/>
                <a:gd name="connsiteX541" fmla="*/ 1738 w 10000"/>
                <a:gd name="connsiteY541" fmla="*/ 1806 h 10126"/>
                <a:gd name="connsiteX542" fmla="*/ 1788 w 10000"/>
                <a:gd name="connsiteY542" fmla="*/ 1776 h 10126"/>
                <a:gd name="connsiteX543" fmla="*/ 1750 w 10000"/>
                <a:gd name="connsiteY543" fmla="*/ 1703 h 10126"/>
                <a:gd name="connsiteX544" fmla="*/ 1719 w 10000"/>
                <a:gd name="connsiteY544" fmla="*/ 1637 h 10126"/>
                <a:gd name="connsiteX545" fmla="*/ 1713 w 10000"/>
                <a:gd name="connsiteY545" fmla="*/ 1607 h 10126"/>
                <a:gd name="connsiteX546" fmla="*/ 1706 w 10000"/>
                <a:gd name="connsiteY546" fmla="*/ 1577 h 10126"/>
                <a:gd name="connsiteX547" fmla="*/ 1706 w 10000"/>
                <a:gd name="connsiteY547" fmla="*/ 1541 h 10126"/>
                <a:gd name="connsiteX548" fmla="*/ 1706 w 10000"/>
                <a:gd name="connsiteY548" fmla="*/ 1511 h 10126"/>
                <a:gd name="connsiteX549" fmla="*/ 1713 w 10000"/>
                <a:gd name="connsiteY549" fmla="*/ 1480 h 10126"/>
                <a:gd name="connsiteX550" fmla="*/ 1719 w 10000"/>
                <a:gd name="connsiteY550" fmla="*/ 1450 h 10126"/>
                <a:gd name="connsiteX551" fmla="*/ 1731 w 10000"/>
                <a:gd name="connsiteY551" fmla="*/ 1426 h 10126"/>
                <a:gd name="connsiteX552" fmla="*/ 1757 w 10000"/>
                <a:gd name="connsiteY552" fmla="*/ 1402 h 10126"/>
                <a:gd name="connsiteX553" fmla="*/ 1775 w 10000"/>
                <a:gd name="connsiteY553" fmla="*/ 1384 h 10126"/>
                <a:gd name="connsiteX554" fmla="*/ 1801 w 10000"/>
                <a:gd name="connsiteY554" fmla="*/ 1366 h 10126"/>
                <a:gd name="connsiteX555" fmla="*/ 1838 w 10000"/>
                <a:gd name="connsiteY555" fmla="*/ 1348 h 10126"/>
                <a:gd name="connsiteX556" fmla="*/ 1870 w 10000"/>
                <a:gd name="connsiteY556" fmla="*/ 1330 h 10126"/>
                <a:gd name="connsiteX557" fmla="*/ 1755 w 10000"/>
                <a:gd name="connsiteY557" fmla="*/ 1240 h 10126"/>
                <a:gd name="connsiteX558" fmla="*/ 1688 w 10000"/>
                <a:gd name="connsiteY558" fmla="*/ 1168 h 10126"/>
                <a:gd name="connsiteX559" fmla="*/ 1550 w 10000"/>
                <a:gd name="connsiteY559" fmla="*/ 1046 h 10126"/>
                <a:gd name="connsiteX560" fmla="*/ 1487 w 10000"/>
                <a:gd name="connsiteY560" fmla="*/ 986 h 10126"/>
                <a:gd name="connsiteX561" fmla="*/ 1383 w 10000"/>
                <a:gd name="connsiteY561" fmla="*/ 868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576 w 10000"/>
                <a:gd name="connsiteY0" fmla="*/ 149 h 10126"/>
                <a:gd name="connsiteX1" fmla="*/ 2509 w 10000"/>
                <a:gd name="connsiteY1" fmla="*/ 161 h 10126"/>
                <a:gd name="connsiteX2" fmla="*/ 2818 w 10000"/>
                <a:gd name="connsiteY2" fmla="*/ 127 h 10126"/>
                <a:gd name="connsiteX3" fmla="*/ 2857 w 10000"/>
                <a:gd name="connsiteY3" fmla="*/ 131 h 10126"/>
                <a:gd name="connsiteX4" fmla="*/ 2880 w 10000"/>
                <a:gd name="connsiteY4" fmla="*/ 115 h 10126"/>
                <a:gd name="connsiteX5" fmla="*/ 3155 w 10000"/>
                <a:gd name="connsiteY5" fmla="*/ 192 h 10126"/>
                <a:gd name="connsiteX6" fmla="*/ 3162 w 10000"/>
                <a:gd name="connsiteY6" fmla="*/ 346 h 10126"/>
                <a:gd name="connsiteX7" fmla="*/ 3120 w 10000"/>
                <a:gd name="connsiteY7" fmla="*/ 471 h 10126"/>
                <a:gd name="connsiteX8" fmla="*/ 3152 w 10000"/>
                <a:gd name="connsiteY8" fmla="*/ 534 h 10126"/>
                <a:gd name="connsiteX9" fmla="*/ 3093 w 10000"/>
                <a:gd name="connsiteY9" fmla="*/ 619 h 10126"/>
                <a:gd name="connsiteX10" fmla="*/ 2992 w 10000"/>
                <a:gd name="connsiteY10" fmla="*/ 710 h 10126"/>
                <a:gd name="connsiteX11" fmla="*/ 3043 w 10000"/>
                <a:gd name="connsiteY11" fmla="*/ 734 h 10126"/>
                <a:gd name="connsiteX12" fmla="*/ 3087 w 10000"/>
                <a:gd name="connsiteY12" fmla="*/ 776 h 10126"/>
                <a:gd name="connsiteX13" fmla="*/ 3130 w 10000"/>
                <a:gd name="connsiteY13" fmla="*/ 823 h 10126"/>
                <a:gd name="connsiteX14" fmla="*/ 3174 w 10000"/>
                <a:gd name="connsiteY14" fmla="*/ 872 h 10126"/>
                <a:gd name="connsiteX15" fmla="*/ 3212 w 10000"/>
                <a:gd name="connsiteY15" fmla="*/ 932 h 10126"/>
                <a:gd name="connsiteX16" fmla="*/ 3256 w 10000"/>
                <a:gd name="connsiteY16" fmla="*/ 986 h 10126"/>
                <a:gd name="connsiteX17" fmla="*/ 3281 w 10000"/>
                <a:gd name="connsiteY17" fmla="*/ 1046 h 10126"/>
                <a:gd name="connsiteX18" fmla="*/ 3312 w 10000"/>
                <a:gd name="connsiteY18" fmla="*/ 1113 h 10126"/>
                <a:gd name="connsiteX19" fmla="*/ 3331 w 10000"/>
                <a:gd name="connsiteY19" fmla="*/ 1180 h 10126"/>
                <a:gd name="connsiteX20" fmla="*/ 3043 w 10000"/>
                <a:gd name="connsiteY20" fmla="*/ 1180 h 10126"/>
                <a:gd name="connsiteX21" fmla="*/ 3043 w 10000"/>
                <a:gd name="connsiteY21" fmla="*/ 1366 h 10126"/>
                <a:gd name="connsiteX22" fmla="*/ 3074 w 10000"/>
                <a:gd name="connsiteY22" fmla="*/ 1444 h 10126"/>
                <a:gd name="connsiteX23" fmla="*/ 3118 w 10000"/>
                <a:gd name="connsiteY23" fmla="*/ 1511 h 10126"/>
                <a:gd name="connsiteX24" fmla="*/ 3168 w 10000"/>
                <a:gd name="connsiteY24" fmla="*/ 1571 h 10126"/>
                <a:gd name="connsiteX25" fmla="*/ 3225 w 10000"/>
                <a:gd name="connsiteY25" fmla="*/ 1613 h 10126"/>
                <a:gd name="connsiteX26" fmla="*/ 3281 w 10000"/>
                <a:gd name="connsiteY26" fmla="*/ 1655 h 10126"/>
                <a:gd name="connsiteX27" fmla="*/ 3350 w 10000"/>
                <a:gd name="connsiteY27" fmla="*/ 1685 h 10126"/>
                <a:gd name="connsiteX28" fmla="*/ 3413 w 10000"/>
                <a:gd name="connsiteY28" fmla="*/ 1715 h 10126"/>
                <a:gd name="connsiteX29" fmla="*/ 3488 w 10000"/>
                <a:gd name="connsiteY29" fmla="*/ 1740 h 10126"/>
                <a:gd name="connsiteX30" fmla="*/ 3626 w 10000"/>
                <a:gd name="connsiteY30" fmla="*/ 1794 h 10126"/>
                <a:gd name="connsiteX31" fmla="*/ 3764 w 10000"/>
                <a:gd name="connsiteY31" fmla="*/ 1847 h 10126"/>
                <a:gd name="connsiteX32" fmla="*/ 3827 w 10000"/>
                <a:gd name="connsiteY32" fmla="*/ 1884 h 10126"/>
                <a:gd name="connsiteX33" fmla="*/ 3890 w 10000"/>
                <a:gd name="connsiteY33" fmla="*/ 1932 h 10126"/>
                <a:gd name="connsiteX34" fmla="*/ 3946 w 10000"/>
                <a:gd name="connsiteY34" fmla="*/ 1981 h 10126"/>
                <a:gd name="connsiteX35" fmla="*/ 4003 w 10000"/>
                <a:gd name="connsiteY35" fmla="*/ 2035 h 10126"/>
                <a:gd name="connsiteX36" fmla="*/ 3959 w 10000"/>
                <a:gd name="connsiteY36" fmla="*/ 2596 h 10126"/>
                <a:gd name="connsiteX37" fmla="*/ 4034 w 10000"/>
                <a:gd name="connsiteY37" fmla="*/ 2650 h 10126"/>
                <a:gd name="connsiteX38" fmla="*/ 4141 w 10000"/>
                <a:gd name="connsiteY38" fmla="*/ 2716 h 10126"/>
                <a:gd name="connsiteX39" fmla="*/ 4260 w 10000"/>
                <a:gd name="connsiteY39" fmla="*/ 2776 h 10126"/>
                <a:gd name="connsiteX40" fmla="*/ 4398 w 10000"/>
                <a:gd name="connsiteY40" fmla="*/ 2831 h 10126"/>
                <a:gd name="connsiteX41" fmla="*/ 4536 w 10000"/>
                <a:gd name="connsiteY41" fmla="*/ 2884 h 10126"/>
                <a:gd name="connsiteX42" fmla="*/ 4668 w 10000"/>
                <a:gd name="connsiteY42" fmla="*/ 2926 h 10126"/>
                <a:gd name="connsiteX43" fmla="*/ 4724 w 10000"/>
                <a:gd name="connsiteY43" fmla="*/ 2944 h 10126"/>
                <a:gd name="connsiteX44" fmla="*/ 4780 w 10000"/>
                <a:gd name="connsiteY44" fmla="*/ 2956 h 10126"/>
                <a:gd name="connsiteX45" fmla="*/ 4831 w 10000"/>
                <a:gd name="connsiteY45" fmla="*/ 2962 h 10126"/>
                <a:gd name="connsiteX46" fmla="*/ 4875 w 10000"/>
                <a:gd name="connsiteY46" fmla="*/ 2962 h 10126"/>
                <a:gd name="connsiteX47" fmla="*/ 4887 w 10000"/>
                <a:gd name="connsiteY47" fmla="*/ 3005 h 10126"/>
                <a:gd name="connsiteX48" fmla="*/ 4918 w 10000"/>
                <a:gd name="connsiteY48" fmla="*/ 3041 h 10126"/>
                <a:gd name="connsiteX49" fmla="*/ 4950 w 10000"/>
                <a:gd name="connsiteY49" fmla="*/ 3059 h 10126"/>
                <a:gd name="connsiteX50" fmla="*/ 4987 w 10000"/>
                <a:gd name="connsiteY50" fmla="*/ 3071 h 10126"/>
                <a:gd name="connsiteX51" fmla="*/ 5019 w 10000"/>
                <a:gd name="connsiteY51" fmla="*/ 3083 h 10126"/>
                <a:gd name="connsiteX52" fmla="*/ 5063 w 10000"/>
                <a:gd name="connsiteY52" fmla="*/ 3083 h 10126"/>
                <a:gd name="connsiteX53" fmla="*/ 5107 w 10000"/>
                <a:gd name="connsiteY53" fmla="*/ 3077 h 10126"/>
                <a:gd name="connsiteX54" fmla="*/ 5157 w 10000"/>
                <a:gd name="connsiteY54" fmla="*/ 3071 h 10126"/>
                <a:gd name="connsiteX55" fmla="*/ 5245 w 10000"/>
                <a:gd name="connsiteY55" fmla="*/ 3053 h 10126"/>
                <a:gd name="connsiteX56" fmla="*/ 5345 w 10000"/>
                <a:gd name="connsiteY56" fmla="*/ 3029 h 10126"/>
                <a:gd name="connsiteX57" fmla="*/ 5383 w 10000"/>
                <a:gd name="connsiteY57" fmla="*/ 3029 h 10126"/>
                <a:gd name="connsiteX58" fmla="*/ 5427 w 10000"/>
                <a:gd name="connsiteY58" fmla="*/ 3023 h 10126"/>
                <a:gd name="connsiteX59" fmla="*/ 5464 w 10000"/>
                <a:gd name="connsiteY59" fmla="*/ 3029 h 10126"/>
                <a:gd name="connsiteX60" fmla="*/ 5502 w 10000"/>
                <a:gd name="connsiteY60" fmla="*/ 3035 h 10126"/>
                <a:gd name="connsiteX61" fmla="*/ 5558 w 10000"/>
                <a:gd name="connsiteY61" fmla="*/ 3071 h 10126"/>
                <a:gd name="connsiteX62" fmla="*/ 5596 w 10000"/>
                <a:gd name="connsiteY62" fmla="*/ 3101 h 10126"/>
                <a:gd name="connsiteX63" fmla="*/ 5634 w 10000"/>
                <a:gd name="connsiteY63" fmla="*/ 3143 h 10126"/>
                <a:gd name="connsiteX64" fmla="*/ 5665 w 10000"/>
                <a:gd name="connsiteY64" fmla="*/ 3179 h 10126"/>
                <a:gd name="connsiteX65" fmla="*/ 5696 w 10000"/>
                <a:gd name="connsiteY65" fmla="*/ 3216 h 10126"/>
                <a:gd name="connsiteX66" fmla="*/ 5734 w 10000"/>
                <a:gd name="connsiteY66" fmla="*/ 3252 h 10126"/>
                <a:gd name="connsiteX67" fmla="*/ 5759 w 10000"/>
                <a:gd name="connsiteY67" fmla="*/ 3270 h 10126"/>
                <a:gd name="connsiteX68" fmla="*/ 5778 w 10000"/>
                <a:gd name="connsiteY68" fmla="*/ 3282 h 10126"/>
                <a:gd name="connsiteX69" fmla="*/ 5803 w 10000"/>
                <a:gd name="connsiteY69" fmla="*/ 3294 h 10126"/>
                <a:gd name="connsiteX70" fmla="*/ 5834 w 10000"/>
                <a:gd name="connsiteY70" fmla="*/ 3300 h 10126"/>
                <a:gd name="connsiteX71" fmla="*/ 5935 w 10000"/>
                <a:gd name="connsiteY71" fmla="*/ 3319 h 10126"/>
                <a:gd name="connsiteX72" fmla="*/ 6073 w 10000"/>
                <a:gd name="connsiteY72" fmla="*/ 3354 h 10126"/>
                <a:gd name="connsiteX73" fmla="*/ 6230 w 10000"/>
                <a:gd name="connsiteY73" fmla="*/ 3390 h 10126"/>
                <a:gd name="connsiteX74" fmla="*/ 6405 w 10000"/>
                <a:gd name="connsiteY74" fmla="*/ 3433 h 10126"/>
                <a:gd name="connsiteX75" fmla="*/ 6568 w 10000"/>
                <a:gd name="connsiteY75" fmla="*/ 3463 h 10126"/>
                <a:gd name="connsiteX76" fmla="*/ 6719 w 10000"/>
                <a:gd name="connsiteY76" fmla="*/ 3487 h 10126"/>
                <a:gd name="connsiteX77" fmla="*/ 6788 w 10000"/>
                <a:gd name="connsiteY77" fmla="*/ 3493 h 10126"/>
                <a:gd name="connsiteX78" fmla="*/ 6838 w 10000"/>
                <a:gd name="connsiteY78" fmla="*/ 3499 h 10126"/>
                <a:gd name="connsiteX79" fmla="*/ 6888 w 10000"/>
                <a:gd name="connsiteY79" fmla="*/ 3493 h 10126"/>
                <a:gd name="connsiteX80" fmla="*/ 6913 w 10000"/>
                <a:gd name="connsiteY80" fmla="*/ 3481 h 10126"/>
                <a:gd name="connsiteX81" fmla="*/ 6888 w 10000"/>
                <a:gd name="connsiteY81" fmla="*/ 3439 h 10126"/>
                <a:gd name="connsiteX82" fmla="*/ 6857 w 10000"/>
                <a:gd name="connsiteY82" fmla="*/ 3390 h 10126"/>
                <a:gd name="connsiteX83" fmla="*/ 6838 w 10000"/>
                <a:gd name="connsiteY83" fmla="*/ 3342 h 10126"/>
                <a:gd name="connsiteX84" fmla="*/ 6826 w 10000"/>
                <a:gd name="connsiteY84" fmla="*/ 3288 h 10126"/>
                <a:gd name="connsiteX85" fmla="*/ 6794 w 10000"/>
                <a:gd name="connsiteY85" fmla="*/ 3197 h 10126"/>
                <a:gd name="connsiteX86" fmla="*/ 6788 w 10000"/>
                <a:gd name="connsiteY86" fmla="*/ 3149 h 10126"/>
                <a:gd name="connsiteX87" fmla="*/ 6788 w 10000"/>
                <a:gd name="connsiteY87" fmla="*/ 2962 h 10126"/>
                <a:gd name="connsiteX88" fmla="*/ 6788 w 10000"/>
                <a:gd name="connsiteY88" fmla="*/ 2776 h 10126"/>
                <a:gd name="connsiteX89" fmla="*/ 6995 w 10000"/>
                <a:gd name="connsiteY89" fmla="*/ 2776 h 10126"/>
                <a:gd name="connsiteX90" fmla="*/ 7033 w 10000"/>
                <a:gd name="connsiteY90" fmla="*/ 2842 h 10126"/>
                <a:gd name="connsiteX91" fmla="*/ 7058 w 10000"/>
                <a:gd name="connsiteY91" fmla="*/ 2884 h 10126"/>
                <a:gd name="connsiteX92" fmla="*/ 7095 w 10000"/>
                <a:gd name="connsiteY92" fmla="*/ 2920 h 10126"/>
                <a:gd name="connsiteX93" fmla="*/ 7127 w 10000"/>
                <a:gd name="connsiteY93" fmla="*/ 2962 h 10126"/>
                <a:gd name="connsiteX94" fmla="*/ 7120 w 10000"/>
                <a:gd name="connsiteY94" fmla="*/ 3059 h 10126"/>
                <a:gd name="connsiteX95" fmla="*/ 7102 w 10000"/>
                <a:gd name="connsiteY95" fmla="*/ 3119 h 10126"/>
                <a:gd name="connsiteX96" fmla="*/ 7089 w 10000"/>
                <a:gd name="connsiteY96" fmla="*/ 3167 h 10126"/>
                <a:gd name="connsiteX97" fmla="*/ 7077 w 10000"/>
                <a:gd name="connsiteY97" fmla="*/ 3222 h 10126"/>
                <a:gd name="connsiteX98" fmla="*/ 7208 w 10000"/>
                <a:gd name="connsiteY98" fmla="*/ 3258 h 10126"/>
                <a:gd name="connsiteX99" fmla="*/ 7334 w 10000"/>
                <a:gd name="connsiteY99" fmla="*/ 3294 h 10126"/>
                <a:gd name="connsiteX100" fmla="*/ 7396 w 10000"/>
                <a:gd name="connsiteY100" fmla="*/ 3313 h 10126"/>
                <a:gd name="connsiteX101" fmla="*/ 7459 w 10000"/>
                <a:gd name="connsiteY101" fmla="*/ 3325 h 10126"/>
                <a:gd name="connsiteX102" fmla="*/ 7522 w 10000"/>
                <a:gd name="connsiteY102" fmla="*/ 3331 h 10126"/>
                <a:gd name="connsiteX103" fmla="*/ 7585 w 10000"/>
                <a:gd name="connsiteY103" fmla="*/ 3336 h 10126"/>
                <a:gd name="connsiteX104" fmla="*/ 7591 w 10000"/>
                <a:gd name="connsiteY104" fmla="*/ 3360 h 10126"/>
                <a:gd name="connsiteX105" fmla="*/ 7604 w 10000"/>
                <a:gd name="connsiteY105" fmla="*/ 3384 h 10126"/>
                <a:gd name="connsiteX106" fmla="*/ 7622 w 10000"/>
                <a:gd name="connsiteY106" fmla="*/ 3402 h 10126"/>
                <a:gd name="connsiteX107" fmla="*/ 7654 w 10000"/>
                <a:gd name="connsiteY107" fmla="*/ 3420 h 10126"/>
                <a:gd name="connsiteX108" fmla="*/ 7704 w 10000"/>
                <a:gd name="connsiteY108" fmla="*/ 3439 h 10126"/>
                <a:gd name="connsiteX109" fmla="*/ 7748 w 10000"/>
                <a:gd name="connsiteY109" fmla="*/ 3445 h 10126"/>
                <a:gd name="connsiteX110" fmla="*/ 7798 w 10000"/>
                <a:gd name="connsiteY110" fmla="*/ 3445 h 10126"/>
                <a:gd name="connsiteX111" fmla="*/ 7836 w 10000"/>
                <a:gd name="connsiteY111" fmla="*/ 3433 h 10126"/>
                <a:gd name="connsiteX112" fmla="*/ 7880 w 10000"/>
                <a:gd name="connsiteY112" fmla="*/ 3414 h 10126"/>
                <a:gd name="connsiteX113" fmla="*/ 7911 w 10000"/>
                <a:gd name="connsiteY113" fmla="*/ 3396 h 10126"/>
                <a:gd name="connsiteX114" fmla="*/ 7949 w 10000"/>
                <a:gd name="connsiteY114" fmla="*/ 3372 h 10126"/>
                <a:gd name="connsiteX115" fmla="*/ 7980 w 10000"/>
                <a:gd name="connsiteY115" fmla="*/ 3342 h 10126"/>
                <a:gd name="connsiteX116" fmla="*/ 8011 w 10000"/>
                <a:gd name="connsiteY116" fmla="*/ 3313 h 10126"/>
                <a:gd name="connsiteX117" fmla="*/ 8036 w 10000"/>
                <a:gd name="connsiteY117" fmla="*/ 3282 h 10126"/>
                <a:gd name="connsiteX118" fmla="*/ 8087 w 10000"/>
                <a:gd name="connsiteY118" fmla="*/ 3203 h 10126"/>
                <a:gd name="connsiteX119" fmla="*/ 8118 w 10000"/>
                <a:gd name="connsiteY119" fmla="*/ 3131 h 10126"/>
                <a:gd name="connsiteX120" fmla="*/ 8149 w 10000"/>
                <a:gd name="connsiteY120" fmla="*/ 3065 h 10126"/>
                <a:gd name="connsiteX121" fmla="*/ 8168 w 10000"/>
                <a:gd name="connsiteY121" fmla="*/ 2999 h 10126"/>
                <a:gd name="connsiteX122" fmla="*/ 8231 w 10000"/>
                <a:gd name="connsiteY122" fmla="*/ 2932 h 10126"/>
                <a:gd name="connsiteX123" fmla="*/ 8294 w 10000"/>
                <a:gd name="connsiteY123" fmla="*/ 2866 h 10126"/>
                <a:gd name="connsiteX124" fmla="*/ 8363 w 10000"/>
                <a:gd name="connsiteY124" fmla="*/ 2813 h 10126"/>
                <a:gd name="connsiteX125" fmla="*/ 8432 w 10000"/>
                <a:gd name="connsiteY125" fmla="*/ 2752 h 10126"/>
                <a:gd name="connsiteX126" fmla="*/ 8507 w 10000"/>
                <a:gd name="connsiteY126" fmla="*/ 2704 h 10126"/>
                <a:gd name="connsiteX127" fmla="*/ 8576 w 10000"/>
                <a:gd name="connsiteY127" fmla="*/ 2656 h 10126"/>
                <a:gd name="connsiteX128" fmla="*/ 8651 w 10000"/>
                <a:gd name="connsiteY128" fmla="*/ 2614 h 10126"/>
                <a:gd name="connsiteX129" fmla="*/ 8726 w 10000"/>
                <a:gd name="connsiteY129" fmla="*/ 2570 h 10126"/>
                <a:gd name="connsiteX130" fmla="*/ 8808 w 10000"/>
                <a:gd name="connsiteY130" fmla="*/ 2528 h 10126"/>
                <a:gd name="connsiteX131" fmla="*/ 8890 w 10000"/>
                <a:gd name="connsiteY131" fmla="*/ 2492 h 10126"/>
                <a:gd name="connsiteX132" fmla="*/ 8971 w 10000"/>
                <a:gd name="connsiteY132" fmla="*/ 2462 h 10126"/>
                <a:gd name="connsiteX133" fmla="*/ 9059 w 10000"/>
                <a:gd name="connsiteY133" fmla="*/ 2432 h 10126"/>
                <a:gd name="connsiteX134" fmla="*/ 9235 w 10000"/>
                <a:gd name="connsiteY134" fmla="*/ 2378 h 10126"/>
                <a:gd name="connsiteX135" fmla="*/ 9417 w 10000"/>
                <a:gd name="connsiteY135" fmla="*/ 2335 h 10126"/>
                <a:gd name="connsiteX136" fmla="*/ 9454 w 10000"/>
                <a:gd name="connsiteY136" fmla="*/ 2384 h 10126"/>
                <a:gd name="connsiteX137" fmla="*/ 9504 w 10000"/>
                <a:gd name="connsiteY137" fmla="*/ 2444 h 10126"/>
                <a:gd name="connsiteX138" fmla="*/ 9573 w 10000"/>
                <a:gd name="connsiteY138" fmla="*/ 2510 h 10126"/>
                <a:gd name="connsiteX139" fmla="*/ 9642 w 10000"/>
                <a:gd name="connsiteY139" fmla="*/ 2583 h 10126"/>
                <a:gd name="connsiteX140" fmla="*/ 9718 w 10000"/>
                <a:gd name="connsiteY140" fmla="*/ 2644 h 10126"/>
                <a:gd name="connsiteX141" fmla="*/ 9799 w 10000"/>
                <a:gd name="connsiteY141" fmla="*/ 2692 h 10126"/>
                <a:gd name="connsiteX142" fmla="*/ 9837 w 10000"/>
                <a:gd name="connsiteY142" fmla="*/ 2716 h 10126"/>
                <a:gd name="connsiteX143" fmla="*/ 9875 w 10000"/>
                <a:gd name="connsiteY143" fmla="*/ 2728 h 10126"/>
                <a:gd name="connsiteX144" fmla="*/ 9918 w 10000"/>
                <a:gd name="connsiteY144" fmla="*/ 2740 h 10126"/>
                <a:gd name="connsiteX145" fmla="*/ 9956 w 10000"/>
                <a:gd name="connsiteY145" fmla="*/ 2740 h 10126"/>
                <a:gd name="connsiteX146" fmla="*/ 10000 w 10000"/>
                <a:gd name="connsiteY146" fmla="*/ 2668 h 10126"/>
                <a:gd name="connsiteX147" fmla="*/ 9975 w 10000"/>
                <a:gd name="connsiteY147" fmla="*/ 2795 h 10126"/>
                <a:gd name="connsiteX148" fmla="*/ 9944 w 10000"/>
                <a:gd name="connsiteY148" fmla="*/ 2938 h 10126"/>
                <a:gd name="connsiteX149" fmla="*/ 9931 w 10000"/>
                <a:gd name="connsiteY149" fmla="*/ 3005 h 10126"/>
                <a:gd name="connsiteX150" fmla="*/ 9906 w 10000"/>
                <a:gd name="connsiteY150" fmla="*/ 3065 h 10126"/>
                <a:gd name="connsiteX151" fmla="*/ 9887 w 10000"/>
                <a:gd name="connsiteY151" fmla="*/ 3089 h 10126"/>
                <a:gd name="connsiteX152" fmla="*/ 9875 w 10000"/>
                <a:gd name="connsiteY152" fmla="*/ 3113 h 10126"/>
                <a:gd name="connsiteX153" fmla="*/ 9856 w 10000"/>
                <a:gd name="connsiteY153" fmla="*/ 3131 h 10126"/>
                <a:gd name="connsiteX154" fmla="*/ 9837 w 10000"/>
                <a:gd name="connsiteY154" fmla="*/ 3149 h 10126"/>
                <a:gd name="connsiteX155" fmla="*/ 9749 w 10000"/>
                <a:gd name="connsiteY155" fmla="*/ 3167 h 10126"/>
                <a:gd name="connsiteX156" fmla="*/ 9605 w 10000"/>
                <a:gd name="connsiteY156" fmla="*/ 3216 h 10126"/>
                <a:gd name="connsiteX157" fmla="*/ 9536 w 10000"/>
                <a:gd name="connsiteY157" fmla="*/ 3258 h 10126"/>
                <a:gd name="connsiteX158" fmla="*/ 9479 w 10000"/>
                <a:gd name="connsiteY158" fmla="*/ 3294 h 10126"/>
                <a:gd name="connsiteX159" fmla="*/ 9448 w 10000"/>
                <a:gd name="connsiteY159" fmla="*/ 3313 h 10126"/>
                <a:gd name="connsiteX160" fmla="*/ 9435 w 10000"/>
                <a:gd name="connsiteY160" fmla="*/ 3331 h 10126"/>
                <a:gd name="connsiteX161" fmla="*/ 9423 w 10000"/>
                <a:gd name="connsiteY161" fmla="*/ 3354 h 10126"/>
                <a:gd name="connsiteX162" fmla="*/ 9417 w 10000"/>
                <a:gd name="connsiteY162" fmla="*/ 3372 h 10126"/>
                <a:gd name="connsiteX163" fmla="*/ 9423 w 10000"/>
                <a:gd name="connsiteY163" fmla="*/ 3583 h 10126"/>
                <a:gd name="connsiteX164" fmla="*/ 9417 w 10000"/>
                <a:gd name="connsiteY164" fmla="*/ 3824 h 10126"/>
                <a:gd name="connsiteX165" fmla="*/ 9398 w 10000"/>
                <a:gd name="connsiteY165" fmla="*/ 3884 h 10126"/>
                <a:gd name="connsiteX166" fmla="*/ 9391 w 10000"/>
                <a:gd name="connsiteY166" fmla="*/ 3950 h 10126"/>
                <a:gd name="connsiteX167" fmla="*/ 9379 w 10000"/>
                <a:gd name="connsiteY167" fmla="*/ 4004 h 10126"/>
                <a:gd name="connsiteX168" fmla="*/ 9366 w 10000"/>
                <a:gd name="connsiteY168" fmla="*/ 4059 h 10126"/>
                <a:gd name="connsiteX169" fmla="*/ 9348 w 10000"/>
                <a:gd name="connsiteY169" fmla="*/ 4108 h 10126"/>
                <a:gd name="connsiteX170" fmla="*/ 9316 w 10000"/>
                <a:gd name="connsiteY170" fmla="*/ 4156 h 10126"/>
                <a:gd name="connsiteX171" fmla="*/ 9285 w 10000"/>
                <a:gd name="connsiteY171" fmla="*/ 4192 h 10126"/>
                <a:gd name="connsiteX172" fmla="*/ 9247 w 10000"/>
                <a:gd name="connsiteY172" fmla="*/ 4222 h 10126"/>
                <a:gd name="connsiteX173" fmla="*/ 9228 w 10000"/>
                <a:gd name="connsiteY173" fmla="*/ 4240 h 10126"/>
                <a:gd name="connsiteX174" fmla="*/ 9184 w 10000"/>
                <a:gd name="connsiteY174" fmla="*/ 4246 h 10126"/>
                <a:gd name="connsiteX175" fmla="*/ 9141 w 10000"/>
                <a:gd name="connsiteY175" fmla="*/ 4252 h 10126"/>
                <a:gd name="connsiteX176" fmla="*/ 9090 w 10000"/>
                <a:gd name="connsiteY176" fmla="*/ 4258 h 10126"/>
                <a:gd name="connsiteX177" fmla="*/ 9040 w 10000"/>
                <a:gd name="connsiteY177" fmla="*/ 4264 h 10126"/>
                <a:gd name="connsiteX178" fmla="*/ 8996 w 10000"/>
                <a:gd name="connsiteY178" fmla="*/ 4283 h 10126"/>
                <a:gd name="connsiteX179" fmla="*/ 8977 w 10000"/>
                <a:gd name="connsiteY179" fmla="*/ 4289 h 10126"/>
                <a:gd name="connsiteX180" fmla="*/ 8965 w 10000"/>
                <a:gd name="connsiteY180" fmla="*/ 4307 h 10126"/>
                <a:gd name="connsiteX181" fmla="*/ 8959 w 10000"/>
                <a:gd name="connsiteY181" fmla="*/ 4319 h 10126"/>
                <a:gd name="connsiteX182" fmla="*/ 8959 w 10000"/>
                <a:gd name="connsiteY182" fmla="*/ 4337 h 10126"/>
                <a:gd name="connsiteX183" fmla="*/ 8952 w 10000"/>
                <a:gd name="connsiteY183" fmla="*/ 4408 h 10126"/>
                <a:gd name="connsiteX184" fmla="*/ 8952 w 10000"/>
                <a:gd name="connsiteY184" fmla="*/ 4493 h 10126"/>
                <a:gd name="connsiteX185" fmla="*/ 8940 w 10000"/>
                <a:gd name="connsiteY185" fmla="*/ 4583 h 10126"/>
                <a:gd name="connsiteX186" fmla="*/ 8927 w 10000"/>
                <a:gd name="connsiteY186" fmla="*/ 4667 h 10126"/>
                <a:gd name="connsiteX187" fmla="*/ 8908 w 10000"/>
                <a:gd name="connsiteY187" fmla="*/ 4753 h 10126"/>
                <a:gd name="connsiteX188" fmla="*/ 8890 w 10000"/>
                <a:gd name="connsiteY188" fmla="*/ 4831 h 10126"/>
                <a:gd name="connsiteX189" fmla="*/ 8864 w 10000"/>
                <a:gd name="connsiteY189" fmla="*/ 4902 h 10126"/>
                <a:gd name="connsiteX190" fmla="*/ 8833 w 10000"/>
                <a:gd name="connsiteY190" fmla="*/ 4969 h 10126"/>
                <a:gd name="connsiteX191" fmla="*/ 8538 w 10000"/>
                <a:gd name="connsiteY191" fmla="*/ 4480 h 10126"/>
                <a:gd name="connsiteX192" fmla="*/ 8526 w 10000"/>
                <a:gd name="connsiteY192" fmla="*/ 4505 h 10126"/>
                <a:gd name="connsiteX193" fmla="*/ 8494 w 10000"/>
                <a:gd name="connsiteY193" fmla="*/ 4559 h 10126"/>
                <a:gd name="connsiteX194" fmla="*/ 8463 w 10000"/>
                <a:gd name="connsiteY194" fmla="*/ 4589 h 10126"/>
                <a:gd name="connsiteX195" fmla="*/ 8438 w 10000"/>
                <a:gd name="connsiteY195" fmla="*/ 4613 h 10126"/>
                <a:gd name="connsiteX196" fmla="*/ 8407 w 10000"/>
                <a:gd name="connsiteY196" fmla="*/ 4631 h 10126"/>
                <a:gd name="connsiteX197" fmla="*/ 8375 w 10000"/>
                <a:gd name="connsiteY197" fmla="*/ 4637 h 10126"/>
                <a:gd name="connsiteX198" fmla="*/ 8338 w 10000"/>
                <a:gd name="connsiteY198" fmla="*/ 4631 h 10126"/>
                <a:gd name="connsiteX199" fmla="*/ 8312 w 10000"/>
                <a:gd name="connsiteY199" fmla="*/ 4625 h 10126"/>
                <a:gd name="connsiteX200" fmla="*/ 8287 w 10000"/>
                <a:gd name="connsiteY200" fmla="*/ 4607 h 10126"/>
                <a:gd name="connsiteX201" fmla="*/ 8256 w 10000"/>
                <a:gd name="connsiteY201" fmla="*/ 4589 h 10126"/>
                <a:gd name="connsiteX202" fmla="*/ 8237 w 10000"/>
                <a:gd name="connsiteY202" fmla="*/ 4559 h 10126"/>
                <a:gd name="connsiteX203" fmla="*/ 8225 w 10000"/>
                <a:gd name="connsiteY203" fmla="*/ 4535 h 10126"/>
                <a:gd name="connsiteX204" fmla="*/ 8206 w 10000"/>
                <a:gd name="connsiteY204" fmla="*/ 4511 h 10126"/>
                <a:gd name="connsiteX205" fmla="*/ 8206 w 10000"/>
                <a:gd name="connsiteY205" fmla="*/ 4480 h 10126"/>
                <a:gd name="connsiteX206" fmla="*/ 8206 w 10000"/>
                <a:gd name="connsiteY206" fmla="*/ 4444 h 10126"/>
                <a:gd name="connsiteX207" fmla="*/ 8225 w 10000"/>
                <a:gd name="connsiteY207" fmla="*/ 4408 h 10126"/>
                <a:gd name="connsiteX208" fmla="*/ 8237 w 10000"/>
                <a:gd name="connsiteY208" fmla="*/ 4372 h 10126"/>
                <a:gd name="connsiteX209" fmla="*/ 8250 w 10000"/>
                <a:gd name="connsiteY209" fmla="*/ 4337 h 10126"/>
                <a:gd name="connsiteX210" fmla="*/ 8300 w 10000"/>
                <a:gd name="connsiteY210" fmla="*/ 4270 h 10126"/>
                <a:gd name="connsiteX211" fmla="*/ 8356 w 10000"/>
                <a:gd name="connsiteY211" fmla="*/ 4204 h 10126"/>
                <a:gd name="connsiteX212" fmla="*/ 8407 w 10000"/>
                <a:gd name="connsiteY212" fmla="*/ 4144 h 10126"/>
                <a:gd name="connsiteX213" fmla="*/ 8457 w 10000"/>
                <a:gd name="connsiteY213" fmla="*/ 4078 h 10126"/>
                <a:gd name="connsiteX214" fmla="*/ 8469 w 10000"/>
                <a:gd name="connsiteY214" fmla="*/ 4041 h 10126"/>
                <a:gd name="connsiteX215" fmla="*/ 8482 w 10000"/>
                <a:gd name="connsiteY215" fmla="*/ 4010 h 10126"/>
                <a:gd name="connsiteX216" fmla="*/ 8501 w 10000"/>
                <a:gd name="connsiteY216" fmla="*/ 3968 h 10126"/>
                <a:gd name="connsiteX217" fmla="*/ 8501 w 10000"/>
                <a:gd name="connsiteY217" fmla="*/ 3932 h 10126"/>
                <a:gd name="connsiteX218" fmla="*/ 7748 w 10000"/>
                <a:gd name="connsiteY218" fmla="*/ 3932 h 10126"/>
                <a:gd name="connsiteX219" fmla="*/ 7723 w 10000"/>
                <a:gd name="connsiteY219" fmla="*/ 3926 h 10126"/>
                <a:gd name="connsiteX220" fmla="*/ 7685 w 10000"/>
                <a:gd name="connsiteY220" fmla="*/ 3908 h 10126"/>
                <a:gd name="connsiteX221" fmla="*/ 7660 w 10000"/>
                <a:gd name="connsiteY221" fmla="*/ 3872 h 10126"/>
                <a:gd name="connsiteX222" fmla="*/ 7635 w 10000"/>
                <a:gd name="connsiteY222" fmla="*/ 3836 h 10126"/>
                <a:gd name="connsiteX223" fmla="*/ 7616 w 10000"/>
                <a:gd name="connsiteY223" fmla="*/ 3788 h 10126"/>
                <a:gd name="connsiteX224" fmla="*/ 7597 w 10000"/>
                <a:gd name="connsiteY224" fmla="*/ 3740 h 10126"/>
                <a:gd name="connsiteX225" fmla="*/ 7591 w 10000"/>
                <a:gd name="connsiteY225" fmla="*/ 3686 h 10126"/>
                <a:gd name="connsiteX226" fmla="*/ 7585 w 10000"/>
                <a:gd name="connsiteY226" fmla="*/ 3631 h 10126"/>
                <a:gd name="connsiteX227" fmla="*/ 7547 w 10000"/>
                <a:gd name="connsiteY227" fmla="*/ 3631 h 10126"/>
                <a:gd name="connsiteX228" fmla="*/ 7516 w 10000"/>
                <a:gd name="connsiteY228" fmla="*/ 3625 h 10126"/>
                <a:gd name="connsiteX229" fmla="*/ 7478 w 10000"/>
                <a:gd name="connsiteY229" fmla="*/ 3619 h 10126"/>
                <a:gd name="connsiteX230" fmla="*/ 7447 w 10000"/>
                <a:gd name="connsiteY230" fmla="*/ 3607 h 10126"/>
                <a:gd name="connsiteX231" fmla="*/ 7415 w 10000"/>
                <a:gd name="connsiteY231" fmla="*/ 3589 h 10126"/>
                <a:gd name="connsiteX232" fmla="*/ 7396 w 10000"/>
                <a:gd name="connsiteY232" fmla="*/ 3571 h 10126"/>
                <a:gd name="connsiteX233" fmla="*/ 7384 w 10000"/>
                <a:gd name="connsiteY233" fmla="*/ 3541 h 10126"/>
                <a:gd name="connsiteX234" fmla="*/ 7378 w 10000"/>
                <a:gd name="connsiteY234" fmla="*/ 3517 h 10126"/>
                <a:gd name="connsiteX235" fmla="*/ 7321 w 10000"/>
                <a:gd name="connsiteY235" fmla="*/ 3517 h 10126"/>
                <a:gd name="connsiteX236" fmla="*/ 7271 w 10000"/>
                <a:gd name="connsiteY236" fmla="*/ 3517 h 10126"/>
                <a:gd name="connsiteX237" fmla="*/ 7221 w 10000"/>
                <a:gd name="connsiteY237" fmla="*/ 3517 h 10126"/>
                <a:gd name="connsiteX238" fmla="*/ 7171 w 10000"/>
                <a:gd name="connsiteY238" fmla="*/ 3517 h 10126"/>
                <a:gd name="connsiteX239" fmla="*/ 7127 w 10000"/>
                <a:gd name="connsiteY239" fmla="*/ 3523 h 10126"/>
                <a:gd name="connsiteX240" fmla="*/ 7095 w 10000"/>
                <a:gd name="connsiteY240" fmla="*/ 3529 h 10126"/>
                <a:gd name="connsiteX241" fmla="*/ 7051 w 10000"/>
                <a:gd name="connsiteY241" fmla="*/ 3547 h 10126"/>
                <a:gd name="connsiteX242" fmla="*/ 7008 w 10000"/>
                <a:gd name="connsiteY242" fmla="*/ 3571 h 10126"/>
                <a:gd name="connsiteX243" fmla="*/ 6976 w 10000"/>
                <a:gd name="connsiteY243" fmla="*/ 3601 h 10126"/>
                <a:gd name="connsiteX244" fmla="*/ 6939 w 10000"/>
                <a:gd name="connsiteY244" fmla="*/ 3631 h 10126"/>
                <a:gd name="connsiteX245" fmla="*/ 6920 w 10000"/>
                <a:gd name="connsiteY245" fmla="*/ 3668 h 10126"/>
                <a:gd name="connsiteX246" fmla="*/ 6913 w 10000"/>
                <a:gd name="connsiteY246" fmla="*/ 3704 h 10126"/>
                <a:gd name="connsiteX247" fmla="*/ 6926 w 10000"/>
                <a:gd name="connsiteY247" fmla="*/ 3728 h 10126"/>
                <a:gd name="connsiteX248" fmla="*/ 6964 w 10000"/>
                <a:gd name="connsiteY248" fmla="*/ 3758 h 10126"/>
                <a:gd name="connsiteX249" fmla="*/ 7008 w 10000"/>
                <a:gd name="connsiteY249" fmla="*/ 3794 h 10126"/>
                <a:gd name="connsiteX250" fmla="*/ 7070 w 10000"/>
                <a:gd name="connsiteY250" fmla="*/ 3830 h 10126"/>
                <a:gd name="connsiteX251" fmla="*/ 7133 w 10000"/>
                <a:gd name="connsiteY251" fmla="*/ 3866 h 10126"/>
                <a:gd name="connsiteX252" fmla="*/ 7196 w 10000"/>
                <a:gd name="connsiteY252" fmla="*/ 3896 h 10126"/>
                <a:gd name="connsiteX253" fmla="*/ 7252 w 10000"/>
                <a:gd name="connsiteY253" fmla="*/ 3920 h 10126"/>
                <a:gd name="connsiteX254" fmla="*/ 7290 w 10000"/>
                <a:gd name="connsiteY254" fmla="*/ 3932 h 10126"/>
                <a:gd name="connsiteX255" fmla="*/ 7208 w 10000"/>
                <a:gd name="connsiteY255" fmla="*/ 3992 h 10126"/>
                <a:gd name="connsiteX256" fmla="*/ 7114 w 10000"/>
                <a:gd name="connsiteY256" fmla="*/ 4066 h 10126"/>
                <a:gd name="connsiteX257" fmla="*/ 7070 w 10000"/>
                <a:gd name="connsiteY257" fmla="*/ 4102 h 10126"/>
                <a:gd name="connsiteX258" fmla="*/ 7033 w 10000"/>
                <a:gd name="connsiteY258" fmla="*/ 4144 h 10126"/>
                <a:gd name="connsiteX259" fmla="*/ 7020 w 10000"/>
                <a:gd name="connsiteY259" fmla="*/ 4162 h 10126"/>
                <a:gd name="connsiteX260" fmla="*/ 7008 w 10000"/>
                <a:gd name="connsiteY260" fmla="*/ 4180 h 10126"/>
                <a:gd name="connsiteX261" fmla="*/ 7001 w 10000"/>
                <a:gd name="connsiteY261" fmla="*/ 4204 h 10126"/>
                <a:gd name="connsiteX262" fmla="*/ 6995 w 10000"/>
                <a:gd name="connsiteY262" fmla="*/ 4222 h 10126"/>
                <a:gd name="connsiteX263" fmla="*/ 7001 w 10000"/>
                <a:gd name="connsiteY263" fmla="*/ 4252 h 10126"/>
                <a:gd name="connsiteX264" fmla="*/ 7008 w 10000"/>
                <a:gd name="connsiteY264" fmla="*/ 4270 h 10126"/>
                <a:gd name="connsiteX265" fmla="*/ 7026 w 10000"/>
                <a:gd name="connsiteY265" fmla="*/ 4295 h 10126"/>
                <a:gd name="connsiteX266" fmla="*/ 7039 w 10000"/>
                <a:gd name="connsiteY266" fmla="*/ 4319 h 10126"/>
                <a:gd name="connsiteX267" fmla="*/ 7089 w 10000"/>
                <a:gd name="connsiteY267" fmla="*/ 4366 h 10126"/>
                <a:gd name="connsiteX268" fmla="*/ 7146 w 10000"/>
                <a:gd name="connsiteY268" fmla="*/ 4414 h 10126"/>
                <a:gd name="connsiteX269" fmla="*/ 7208 w 10000"/>
                <a:gd name="connsiteY269" fmla="*/ 4456 h 10126"/>
                <a:gd name="connsiteX270" fmla="*/ 7277 w 10000"/>
                <a:gd name="connsiteY270" fmla="*/ 4493 h 10126"/>
                <a:gd name="connsiteX271" fmla="*/ 7315 w 10000"/>
                <a:gd name="connsiteY271" fmla="*/ 4505 h 10126"/>
                <a:gd name="connsiteX272" fmla="*/ 7346 w 10000"/>
                <a:gd name="connsiteY272" fmla="*/ 4511 h 10126"/>
                <a:gd name="connsiteX273" fmla="*/ 7384 w 10000"/>
                <a:gd name="connsiteY273" fmla="*/ 4517 h 10126"/>
                <a:gd name="connsiteX274" fmla="*/ 7415 w 10000"/>
                <a:gd name="connsiteY274" fmla="*/ 4523 h 10126"/>
                <a:gd name="connsiteX275" fmla="*/ 7585 w 10000"/>
                <a:gd name="connsiteY275" fmla="*/ 5150 h 10126"/>
                <a:gd name="connsiteX276" fmla="*/ 7491 w 10000"/>
                <a:gd name="connsiteY276" fmla="*/ 5150 h 10126"/>
                <a:gd name="connsiteX277" fmla="*/ 7403 w 10000"/>
                <a:gd name="connsiteY277" fmla="*/ 5150 h 10126"/>
                <a:gd name="connsiteX278" fmla="*/ 7321 w 10000"/>
                <a:gd name="connsiteY278" fmla="*/ 5150 h 10126"/>
                <a:gd name="connsiteX279" fmla="*/ 7252 w 10000"/>
                <a:gd name="connsiteY279" fmla="*/ 5150 h 10126"/>
                <a:gd name="connsiteX280" fmla="*/ 7208 w 10000"/>
                <a:gd name="connsiteY280" fmla="*/ 5144 h 10126"/>
                <a:gd name="connsiteX281" fmla="*/ 7164 w 10000"/>
                <a:gd name="connsiteY281" fmla="*/ 5113 h 10126"/>
                <a:gd name="connsiteX282" fmla="*/ 7133 w 10000"/>
                <a:gd name="connsiteY282" fmla="*/ 5101 h 10126"/>
                <a:gd name="connsiteX283" fmla="*/ 7102 w 10000"/>
                <a:gd name="connsiteY283" fmla="*/ 5089 h 10126"/>
                <a:gd name="connsiteX284" fmla="*/ 7070 w 10000"/>
                <a:gd name="connsiteY284" fmla="*/ 5083 h 10126"/>
                <a:gd name="connsiteX285" fmla="*/ 7039 w 10000"/>
                <a:gd name="connsiteY285" fmla="*/ 5077 h 10126"/>
                <a:gd name="connsiteX286" fmla="*/ 7008 w 10000"/>
                <a:gd name="connsiteY286" fmla="*/ 5089 h 10126"/>
                <a:gd name="connsiteX287" fmla="*/ 6957 w 10000"/>
                <a:gd name="connsiteY287" fmla="*/ 5119 h 10126"/>
                <a:gd name="connsiteX288" fmla="*/ 6895 w 10000"/>
                <a:gd name="connsiteY288" fmla="*/ 5162 h 10126"/>
                <a:gd name="connsiteX289" fmla="*/ 6819 w 10000"/>
                <a:gd name="connsiteY289" fmla="*/ 5210 h 10126"/>
                <a:gd name="connsiteX290" fmla="*/ 6744 w 10000"/>
                <a:gd name="connsiteY290" fmla="*/ 5270 h 10126"/>
                <a:gd name="connsiteX291" fmla="*/ 6681 w 10000"/>
                <a:gd name="connsiteY291" fmla="*/ 5318 h 10126"/>
                <a:gd name="connsiteX292" fmla="*/ 6637 w 10000"/>
                <a:gd name="connsiteY292" fmla="*/ 5354 h 10126"/>
                <a:gd name="connsiteX293" fmla="*/ 6625 w 10000"/>
                <a:gd name="connsiteY293" fmla="*/ 5378 h 10126"/>
                <a:gd name="connsiteX294" fmla="*/ 6750 w 10000"/>
                <a:gd name="connsiteY294" fmla="*/ 5450 h 10126"/>
                <a:gd name="connsiteX295" fmla="*/ 6744 w 10000"/>
                <a:gd name="connsiteY295" fmla="*/ 5487 h 10126"/>
                <a:gd name="connsiteX296" fmla="*/ 6725 w 10000"/>
                <a:gd name="connsiteY296" fmla="*/ 5529 h 10126"/>
                <a:gd name="connsiteX297" fmla="*/ 6706 w 10000"/>
                <a:gd name="connsiteY297" fmla="*/ 5560 h 10126"/>
                <a:gd name="connsiteX298" fmla="*/ 6688 w 10000"/>
                <a:gd name="connsiteY298" fmla="*/ 5602 h 10126"/>
                <a:gd name="connsiteX299" fmla="*/ 6637 w 10000"/>
                <a:gd name="connsiteY299" fmla="*/ 5656 h 10126"/>
                <a:gd name="connsiteX300" fmla="*/ 6581 w 10000"/>
                <a:gd name="connsiteY300" fmla="*/ 5710 h 10126"/>
                <a:gd name="connsiteX301" fmla="*/ 6518 w 10000"/>
                <a:gd name="connsiteY301" fmla="*/ 5758 h 10126"/>
                <a:gd name="connsiteX302" fmla="*/ 6443 w 10000"/>
                <a:gd name="connsiteY302" fmla="*/ 5801 h 10126"/>
                <a:gd name="connsiteX303" fmla="*/ 6374 w 10000"/>
                <a:gd name="connsiteY303" fmla="*/ 5837 h 10126"/>
                <a:gd name="connsiteX304" fmla="*/ 6299 w 10000"/>
                <a:gd name="connsiteY304" fmla="*/ 5872 h 10126"/>
                <a:gd name="connsiteX305" fmla="*/ 6223 w 10000"/>
                <a:gd name="connsiteY305" fmla="*/ 5920 h 10126"/>
                <a:gd name="connsiteX306" fmla="*/ 6154 w 10000"/>
                <a:gd name="connsiteY306" fmla="*/ 5956 h 10126"/>
                <a:gd name="connsiteX307" fmla="*/ 6092 w 10000"/>
                <a:gd name="connsiteY307" fmla="*/ 5999 h 10126"/>
                <a:gd name="connsiteX308" fmla="*/ 6035 w 10000"/>
                <a:gd name="connsiteY308" fmla="*/ 6047 h 10126"/>
                <a:gd name="connsiteX309" fmla="*/ 6004 w 10000"/>
                <a:gd name="connsiteY309" fmla="*/ 6071 h 10126"/>
                <a:gd name="connsiteX310" fmla="*/ 5985 w 10000"/>
                <a:gd name="connsiteY310" fmla="*/ 6095 h 10126"/>
                <a:gd name="connsiteX311" fmla="*/ 5966 w 10000"/>
                <a:gd name="connsiteY311" fmla="*/ 6125 h 10126"/>
                <a:gd name="connsiteX312" fmla="*/ 5947 w 10000"/>
                <a:gd name="connsiteY312" fmla="*/ 6155 h 10126"/>
                <a:gd name="connsiteX313" fmla="*/ 5935 w 10000"/>
                <a:gd name="connsiteY313" fmla="*/ 6193 h 10126"/>
                <a:gd name="connsiteX314" fmla="*/ 5922 w 10000"/>
                <a:gd name="connsiteY314" fmla="*/ 6223 h 10126"/>
                <a:gd name="connsiteX315" fmla="*/ 5916 w 10000"/>
                <a:gd name="connsiteY315" fmla="*/ 6265 h 10126"/>
                <a:gd name="connsiteX316" fmla="*/ 5916 w 10000"/>
                <a:gd name="connsiteY316" fmla="*/ 6307 h 10126"/>
                <a:gd name="connsiteX317" fmla="*/ 5859 w 10000"/>
                <a:gd name="connsiteY317" fmla="*/ 6325 h 10126"/>
                <a:gd name="connsiteX318" fmla="*/ 5809 w 10000"/>
                <a:gd name="connsiteY318" fmla="*/ 6343 h 10126"/>
                <a:gd name="connsiteX319" fmla="*/ 5765 w 10000"/>
                <a:gd name="connsiteY319" fmla="*/ 6366 h 10126"/>
                <a:gd name="connsiteX320" fmla="*/ 5721 w 10000"/>
                <a:gd name="connsiteY320" fmla="*/ 6390 h 10126"/>
                <a:gd name="connsiteX321" fmla="*/ 5634 w 10000"/>
                <a:gd name="connsiteY321" fmla="*/ 6451 h 10126"/>
                <a:gd name="connsiteX322" fmla="*/ 5558 w 10000"/>
                <a:gd name="connsiteY322" fmla="*/ 6523 h 10126"/>
                <a:gd name="connsiteX323" fmla="*/ 5420 w 10000"/>
                <a:gd name="connsiteY323" fmla="*/ 6686 h 10126"/>
                <a:gd name="connsiteX324" fmla="*/ 5289 w 10000"/>
                <a:gd name="connsiteY324" fmla="*/ 6860 h 10126"/>
                <a:gd name="connsiteX325" fmla="*/ 5220 w 10000"/>
                <a:gd name="connsiteY325" fmla="*/ 6951 h 10126"/>
                <a:gd name="connsiteX326" fmla="*/ 5151 w 10000"/>
                <a:gd name="connsiteY326" fmla="*/ 7029 h 10126"/>
                <a:gd name="connsiteX327" fmla="*/ 5075 w 10000"/>
                <a:gd name="connsiteY327" fmla="*/ 7102 h 10126"/>
                <a:gd name="connsiteX328" fmla="*/ 4994 w 10000"/>
                <a:gd name="connsiteY328" fmla="*/ 7168 h 10126"/>
                <a:gd name="connsiteX329" fmla="*/ 4944 w 10000"/>
                <a:gd name="connsiteY329" fmla="*/ 7198 h 10126"/>
                <a:gd name="connsiteX330" fmla="*/ 4893 w 10000"/>
                <a:gd name="connsiteY330" fmla="*/ 7222 h 10126"/>
                <a:gd name="connsiteX331" fmla="*/ 4849 w 10000"/>
                <a:gd name="connsiteY331" fmla="*/ 7246 h 10126"/>
                <a:gd name="connsiteX332" fmla="*/ 4793 w 10000"/>
                <a:gd name="connsiteY332" fmla="*/ 7271 h 10126"/>
                <a:gd name="connsiteX333" fmla="*/ 4730 w 10000"/>
                <a:gd name="connsiteY333" fmla="*/ 7289 h 10126"/>
                <a:gd name="connsiteX334" fmla="*/ 4674 w 10000"/>
                <a:gd name="connsiteY334" fmla="*/ 7301 h 10126"/>
                <a:gd name="connsiteX335" fmla="*/ 4605 w 10000"/>
                <a:gd name="connsiteY335" fmla="*/ 7307 h 10126"/>
                <a:gd name="connsiteX336" fmla="*/ 4536 w 10000"/>
                <a:gd name="connsiteY336" fmla="*/ 7307 h 10126"/>
                <a:gd name="connsiteX337" fmla="*/ 4536 w 10000"/>
                <a:gd name="connsiteY337" fmla="*/ 7360 h 10126"/>
                <a:gd name="connsiteX338" fmla="*/ 4536 w 10000"/>
                <a:gd name="connsiteY338" fmla="*/ 7414 h 10126"/>
                <a:gd name="connsiteX339" fmla="*/ 4536 w 10000"/>
                <a:gd name="connsiteY339" fmla="*/ 7456 h 10126"/>
                <a:gd name="connsiteX340" fmla="*/ 4536 w 10000"/>
                <a:gd name="connsiteY340" fmla="*/ 7493 h 10126"/>
                <a:gd name="connsiteX341" fmla="*/ 4536 w 10000"/>
                <a:gd name="connsiteY341" fmla="*/ 7559 h 10126"/>
                <a:gd name="connsiteX342" fmla="*/ 4536 w 10000"/>
                <a:gd name="connsiteY342" fmla="*/ 7662 h 10126"/>
                <a:gd name="connsiteX343" fmla="*/ 4536 w 10000"/>
                <a:gd name="connsiteY343" fmla="*/ 7771 h 10126"/>
                <a:gd name="connsiteX344" fmla="*/ 4548 w 10000"/>
                <a:gd name="connsiteY344" fmla="*/ 7884 h 10126"/>
                <a:gd name="connsiteX345" fmla="*/ 4561 w 10000"/>
                <a:gd name="connsiteY345" fmla="*/ 7945 h 10126"/>
                <a:gd name="connsiteX346" fmla="*/ 4573 w 10000"/>
                <a:gd name="connsiteY346" fmla="*/ 7999 h 10126"/>
                <a:gd name="connsiteX347" fmla="*/ 4586 w 10000"/>
                <a:gd name="connsiteY347" fmla="*/ 8047 h 10126"/>
                <a:gd name="connsiteX348" fmla="*/ 4611 w 10000"/>
                <a:gd name="connsiteY348" fmla="*/ 8089 h 10126"/>
                <a:gd name="connsiteX349" fmla="*/ 4636 w 10000"/>
                <a:gd name="connsiteY349" fmla="*/ 8132 h 10126"/>
                <a:gd name="connsiteX350" fmla="*/ 4668 w 10000"/>
                <a:gd name="connsiteY350" fmla="*/ 8162 h 10126"/>
                <a:gd name="connsiteX351" fmla="*/ 4705 w 10000"/>
                <a:gd name="connsiteY351" fmla="*/ 8186 h 10126"/>
                <a:gd name="connsiteX352" fmla="*/ 4749 w 10000"/>
                <a:gd name="connsiteY352" fmla="*/ 8198 h 10126"/>
                <a:gd name="connsiteX353" fmla="*/ 4711 w 10000"/>
                <a:gd name="connsiteY353" fmla="*/ 8294 h 10126"/>
                <a:gd name="connsiteX354" fmla="*/ 4668 w 10000"/>
                <a:gd name="connsiteY354" fmla="*/ 8379 h 10126"/>
                <a:gd name="connsiteX355" fmla="*/ 4617 w 10000"/>
                <a:gd name="connsiteY355" fmla="*/ 8457 h 10126"/>
                <a:gd name="connsiteX356" fmla="*/ 4573 w 10000"/>
                <a:gd name="connsiteY356" fmla="*/ 8529 h 10126"/>
                <a:gd name="connsiteX357" fmla="*/ 4523 w 10000"/>
                <a:gd name="connsiteY357" fmla="*/ 8614 h 10126"/>
                <a:gd name="connsiteX358" fmla="*/ 4492 w 10000"/>
                <a:gd name="connsiteY358" fmla="*/ 8692 h 10126"/>
                <a:gd name="connsiteX359" fmla="*/ 4473 w 10000"/>
                <a:gd name="connsiteY359" fmla="*/ 8728 h 10126"/>
                <a:gd name="connsiteX360" fmla="*/ 4467 w 10000"/>
                <a:gd name="connsiteY360" fmla="*/ 8771 h 10126"/>
                <a:gd name="connsiteX361" fmla="*/ 4460 w 10000"/>
                <a:gd name="connsiteY361" fmla="*/ 8819 h 10126"/>
                <a:gd name="connsiteX362" fmla="*/ 4454 w 10000"/>
                <a:gd name="connsiteY362" fmla="*/ 8861 h 10126"/>
                <a:gd name="connsiteX363" fmla="*/ 4460 w 10000"/>
                <a:gd name="connsiteY363" fmla="*/ 8878 h 10126"/>
                <a:gd name="connsiteX364" fmla="*/ 4467 w 10000"/>
                <a:gd name="connsiteY364" fmla="*/ 8890 h 10126"/>
                <a:gd name="connsiteX365" fmla="*/ 4479 w 10000"/>
                <a:gd name="connsiteY365" fmla="*/ 8902 h 10126"/>
                <a:gd name="connsiteX366" fmla="*/ 4504 w 10000"/>
                <a:gd name="connsiteY366" fmla="*/ 8914 h 10126"/>
                <a:gd name="connsiteX367" fmla="*/ 4542 w 10000"/>
                <a:gd name="connsiteY367" fmla="*/ 8938 h 10126"/>
                <a:gd name="connsiteX368" fmla="*/ 4580 w 10000"/>
                <a:gd name="connsiteY368" fmla="*/ 8944 h 10126"/>
                <a:gd name="connsiteX369" fmla="*/ 4580 w 10000"/>
                <a:gd name="connsiteY369" fmla="*/ 9162 h 10126"/>
                <a:gd name="connsiteX370" fmla="*/ 4529 w 10000"/>
                <a:gd name="connsiteY370" fmla="*/ 9247 h 10126"/>
                <a:gd name="connsiteX371" fmla="*/ 4492 w 10000"/>
                <a:gd name="connsiteY371" fmla="*/ 9337 h 10126"/>
                <a:gd name="connsiteX372" fmla="*/ 4460 w 10000"/>
                <a:gd name="connsiteY372" fmla="*/ 9372 h 10126"/>
                <a:gd name="connsiteX373" fmla="*/ 4429 w 10000"/>
                <a:gd name="connsiteY373" fmla="*/ 9397 h 10126"/>
                <a:gd name="connsiteX374" fmla="*/ 4404 w 10000"/>
                <a:gd name="connsiteY374" fmla="*/ 9409 h 10126"/>
                <a:gd name="connsiteX375" fmla="*/ 4385 w 10000"/>
                <a:gd name="connsiteY375" fmla="*/ 9415 h 10126"/>
                <a:gd name="connsiteX376" fmla="*/ 4360 w 10000"/>
                <a:gd name="connsiteY376" fmla="*/ 9421 h 10126"/>
                <a:gd name="connsiteX377" fmla="*/ 4329 w 10000"/>
                <a:gd name="connsiteY377" fmla="*/ 9421 h 10126"/>
                <a:gd name="connsiteX378" fmla="*/ 4329 w 10000"/>
                <a:gd name="connsiteY378" fmla="*/ 9469 h 10126"/>
                <a:gd name="connsiteX379" fmla="*/ 4335 w 10000"/>
                <a:gd name="connsiteY379" fmla="*/ 9529 h 10126"/>
                <a:gd name="connsiteX380" fmla="*/ 4348 w 10000"/>
                <a:gd name="connsiteY380" fmla="*/ 9559 h 10126"/>
                <a:gd name="connsiteX381" fmla="*/ 4354 w 10000"/>
                <a:gd name="connsiteY381" fmla="*/ 9583 h 10126"/>
                <a:gd name="connsiteX382" fmla="*/ 4360 w 10000"/>
                <a:gd name="connsiteY382" fmla="*/ 9602 h 10126"/>
                <a:gd name="connsiteX383" fmla="*/ 4373 w 10000"/>
                <a:gd name="connsiteY383" fmla="*/ 9608 h 10126"/>
                <a:gd name="connsiteX384" fmla="*/ 4210 w 10000"/>
                <a:gd name="connsiteY384" fmla="*/ 9734 h 10126"/>
                <a:gd name="connsiteX385" fmla="*/ 4072 w 10000"/>
                <a:gd name="connsiteY385" fmla="*/ 9838 h 10126"/>
                <a:gd name="connsiteX386" fmla="*/ 4009 w 10000"/>
                <a:gd name="connsiteY386" fmla="*/ 9897 h 10126"/>
                <a:gd name="connsiteX387" fmla="*/ 3952 w 10000"/>
                <a:gd name="connsiteY387" fmla="*/ 9963 h 10126"/>
                <a:gd name="connsiteX388" fmla="*/ 3890 w 10000"/>
                <a:gd name="connsiteY388" fmla="*/ 10042 h 10126"/>
                <a:gd name="connsiteX389" fmla="*/ 3833 w 10000"/>
                <a:gd name="connsiteY389" fmla="*/ 10126 h 10126"/>
                <a:gd name="connsiteX390" fmla="*/ 3733 w 10000"/>
                <a:gd name="connsiteY390" fmla="*/ 10084 h 10126"/>
                <a:gd name="connsiteX391" fmla="*/ 3664 w 10000"/>
                <a:gd name="connsiteY391" fmla="*/ 10042 h 10126"/>
                <a:gd name="connsiteX392" fmla="*/ 3607 w 10000"/>
                <a:gd name="connsiteY392" fmla="*/ 9999 h 10126"/>
                <a:gd name="connsiteX393" fmla="*/ 3563 w 10000"/>
                <a:gd name="connsiteY393" fmla="*/ 9951 h 10126"/>
                <a:gd name="connsiteX394" fmla="*/ 3532 w 10000"/>
                <a:gd name="connsiteY394" fmla="*/ 9891 h 10126"/>
                <a:gd name="connsiteX395" fmla="*/ 3513 w 10000"/>
                <a:gd name="connsiteY395" fmla="*/ 9832 h 10126"/>
                <a:gd name="connsiteX396" fmla="*/ 3482 w 10000"/>
                <a:gd name="connsiteY396" fmla="*/ 9758 h 10126"/>
                <a:gd name="connsiteX397" fmla="*/ 3457 w 10000"/>
                <a:gd name="connsiteY397" fmla="*/ 9686 h 10126"/>
                <a:gd name="connsiteX398" fmla="*/ 3400 w 10000"/>
                <a:gd name="connsiteY398" fmla="*/ 9547 h 10126"/>
                <a:gd name="connsiteX399" fmla="*/ 3325 w 10000"/>
                <a:gd name="connsiteY399" fmla="*/ 9415 h 10126"/>
                <a:gd name="connsiteX400" fmla="*/ 3237 w 10000"/>
                <a:gd name="connsiteY400" fmla="*/ 9277 h 10126"/>
                <a:gd name="connsiteX401" fmla="*/ 3143 w 10000"/>
                <a:gd name="connsiteY401" fmla="*/ 9132 h 10126"/>
                <a:gd name="connsiteX402" fmla="*/ 3049 w 10000"/>
                <a:gd name="connsiteY402" fmla="*/ 8999 h 10126"/>
                <a:gd name="connsiteX403" fmla="*/ 2967 w 10000"/>
                <a:gd name="connsiteY403" fmla="*/ 8867 h 10126"/>
                <a:gd name="connsiteX404" fmla="*/ 2892 w 10000"/>
                <a:gd name="connsiteY404" fmla="*/ 8747 h 10126"/>
                <a:gd name="connsiteX405" fmla="*/ 2829 w 10000"/>
                <a:gd name="connsiteY405" fmla="*/ 8644 h 10126"/>
                <a:gd name="connsiteX406" fmla="*/ 2773 w 10000"/>
                <a:gd name="connsiteY406" fmla="*/ 8529 h 10126"/>
                <a:gd name="connsiteX407" fmla="*/ 2735 w 10000"/>
                <a:gd name="connsiteY407" fmla="*/ 8427 h 10126"/>
                <a:gd name="connsiteX408" fmla="*/ 2698 w 10000"/>
                <a:gd name="connsiteY408" fmla="*/ 8319 h 10126"/>
                <a:gd name="connsiteX409" fmla="*/ 2666 w 10000"/>
                <a:gd name="connsiteY409" fmla="*/ 8210 h 10126"/>
                <a:gd name="connsiteX410" fmla="*/ 2629 w 10000"/>
                <a:gd name="connsiteY410" fmla="*/ 8101 h 10126"/>
                <a:gd name="connsiteX411" fmla="*/ 2597 w 10000"/>
                <a:gd name="connsiteY411" fmla="*/ 7993 h 10126"/>
                <a:gd name="connsiteX412" fmla="*/ 2553 w 10000"/>
                <a:gd name="connsiteY412" fmla="*/ 7872 h 10126"/>
                <a:gd name="connsiteX413" fmla="*/ 2497 w 10000"/>
                <a:gd name="connsiteY413" fmla="*/ 7753 h 10126"/>
                <a:gd name="connsiteX414" fmla="*/ 2359 w 10000"/>
                <a:gd name="connsiteY414" fmla="*/ 7559 h 10126"/>
                <a:gd name="connsiteX415" fmla="*/ 2208 w 10000"/>
                <a:gd name="connsiteY415" fmla="*/ 7378 h 10126"/>
                <a:gd name="connsiteX416" fmla="*/ 2139 w 10000"/>
                <a:gd name="connsiteY416" fmla="*/ 7295 h 10126"/>
                <a:gd name="connsiteX417" fmla="*/ 2070 w 10000"/>
                <a:gd name="connsiteY417" fmla="*/ 7198 h 10126"/>
                <a:gd name="connsiteX418" fmla="*/ 2008 w 10000"/>
                <a:gd name="connsiteY418" fmla="*/ 7108 h 10126"/>
                <a:gd name="connsiteX419" fmla="*/ 1957 w 10000"/>
                <a:gd name="connsiteY419" fmla="*/ 7011 h 10126"/>
                <a:gd name="connsiteX420" fmla="*/ 1888 w 10000"/>
                <a:gd name="connsiteY420" fmla="*/ 6776 h 10126"/>
                <a:gd name="connsiteX421" fmla="*/ 1832 w 10000"/>
                <a:gd name="connsiteY421" fmla="*/ 6559 h 10126"/>
                <a:gd name="connsiteX422" fmla="*/ 1782 w 10000"/>
                <a:gd name="connsiteY422" fmla="*/ 6349 h 10126"/>
                <a:gd name="connsiteX423" fmla="*/ 1757 w 10000"/>
                <a:gd name="connsiteY423" fmla="*/ 6137 h 10126"/>
                <a:gd name="connsiteX424" fmla="*/ 1725 w 10000"/>
                <a:gd name="connsiteY424" fmla="*/ 5932 h 10126"/>
                <a:gd name="connsiteX425" fmla="*/ 1713 w 10000"/>
                <a:gd name="connsiteY425" fmla="*/ 5716 h 10126"/>
                <a:gd name="connsiteX426" fmla="*/ 1706 w 10000"/>
                <a:gd name="connsiteY426" fmla="*/ 5493 h 10126"/>
                <a:gd name="connsiteX427" fmla="*/ 1706 w 10000"/>
                <a:gd name="connsiteY427" fmla="*/ 5270 h 10126"/>
                <a:gd name="connsiteX428" fmla="*/ 1681 w 10000"/>
                <a:gd name="connsiteY428" fmla="*/ 5264 h 10126"/>
                <a:gd name="connsiteX429" fmla="*/ 1650 w 10000"/>
                <a:gd name="connsiteY429" fmla="*/ 5258 h 10126"/>
                <a:gd name="connsiteX430" fmla="*/ 1625 w 10000"/>
                <a:gd name="connsiteY430" fmla="*/ 5252 h 10126"/>
                <a:gd name="connsiteX431" fmla="*/ 1606 w 10000"/>
                <a:gd name="connsiteY431" fmla="*/ 5228 h 10126"/>
                <a:gd name="connsiteX432" fmla="*/ 1581 w 10000"/>
                <a:gd name="connsiteY432" fmla="*/ 5216 h 10126"/>
                <a:gd name="connsiteX433" fmla="*/ 1568 w 10000"/>
                <a:gd name="connsiteY433" fmla="*/ 5198 h 10126"/>
                <a:gd name="connsiteX434" fmla="*/ 1550 w 10000"/>
                <a:gd name="connsiteY434" fmla="*/ 5174 h 10126"/>
                <a:gd name="connsiteX435" fmla="*/ 1543 w 10000"/>
                <a:gd name="connsiteY435" fmla="*/ 5150 h 10126"/>
                <a:gd name="connsiteX436" fmla="*/ 1518 w 10000"/>
                <a:gd name="connsiteY436" fmla="*/ 5101 h 10126"/>
                <a:gd name="connsiteX437" fmla="*/ 1506 w 10000"/>
                <a:gd name="connsiteY437" fmla="*/ 5047 h 10126"/>
                <a:gd name="connsiteX438" fmla="*/ 1499 w 10000"/>
                <a:gd name="connsiteY438" fmla="*/ 4987 h 10126"/>
                <a:gd name="connsiteX439" fmla="*/ 1499 w 10000"/>
                <a:gd name="connsiteY439" fmla="*/ 4933 h 10126"/>
                <a:gd name="connsiteX440" fmla="*/ 1443 w 10000"/>
                <a:gd name="connsiteY440" fmla="*/ 4969 h 10126"/>
                <a:gd name="connsiteX441" fmla="*/ 1405 w 10000"/>
                <a:gd name="connsiteY441" fmla="*/ 5011 h 10126"/>
                <a:gd name="connsiteX442" fmla="*/ 1361 w 10000"/>
                <a:gd name="connsiteY442" fmla="*/ 5053 h 10126"/>
                <a:gd name="connsiteX443" fmla="*/ 1317 w 10000"/>
                <a:gd name="connsiteY443" fmla="*/ 5101 h 10126"/>
                <a:gd name="connsiteX444" fmla="*/ 1261 w 10000"/>
                <a:gd name="connsiteY444" fmla="*/ 5198 h 10126"/>
                <a:gd name="connsiteX445" fmla="*/ 1205 w 10000"/>
                <a:gd name="connsiteY445" fmla="*/ 5300 h 10126"/>
                <a:gd name="connsiteX446" fmla="*/ 1167 w 10000"/>
                <a:gd name="connsiteY446" fmla="*/ 5343 h 10126"/>
                <a:gd name="connsiteX447" fmla="*/ 1142 w 10000"/>
                <a:gd name="connsiteY447" fmla="*/ 5384 h 10126"/>
                <a:gd name="connsiteX448" fmla="*/ 1104 w 10000"/>
                <a:gd name="connsiteY448" fmla="*/ 5426 h 10126"/>
                <a:gd name="connsiteX449" fmla="*/ 1073 w 10000"/>
                <a:gd name="connsiteY449" fmla="*/ 5456 h 10126"/>
                <a:gd name="connsiteX450" fmla="*/ 1029 w 10000"/>
                <a:gd name="connsiteY450" fmla="*/ 5487 h 10126"/>
                <a:gd name="connsiteX451" fmla="*/ 985 w 10000"/>
                <a:gd name="connsiteY451" fmla="*/ 5505 h 10126"/>
                <a:gd name="connsiteX452" fmla="*/ 928 w 10000"/>
                <a:gd name="connsiteY452" fmla="*/ 5517 h 10126"/>
                <a:gd name="connsiteX453" fmla="*/ 872 w 10000"/>
                <a:gd name="connsiteY453" fmla="*/ 5523 h 10126"/>
                <a:gd name="connsiteX454" fmla="*/ 841 w 10000"/>
                <a:gd name="connsiteY454" fmla="*/ 5517 h 10126"/>
                <a:gd name="connsiteX455" fmla="*/ 797 w 10000"/>
                <a:gd name="connsiteY455" fmla="*/ 5505 h 10126"/>
                <a:gd name="connsiteX456" fmla="*/ 753 w 10000"/>
                <a:gd name="connsiteY456" fmla="*/ 5487 h 10126"/>
                <a:gd name="connsiteX457" fmla="*/ 709 w 10000"/>
                <a:gd name="connsiteY457" fmla="*/ 5456 h 10126"/>
                <a:gd name="connsiteX458" fmla="*/ 659 w 10000"/>
                <a:gd name="connsiteY458" fmla="*/ 5420 h 10126"/>
                <a:gd name="connsiteX459" fmla="*/ 609 w 10000"/>
                <a:gd name="connsiteY459" fmla="*/ 5384 h 10126"/>
                <a:gd name="connsiteX460" fmla="*/ 565 w 10000"/>
                <a:gd name="connsiteY460" fmla="*/ 5343 h 10126"/>
                <a:gd name="connsiteX461" fmla="*/ 514 w 10000"/>
                <a:gd name="connsiteY461" fmla="*/ 5294 h 10126"/>
                <a:gd name="connsiteX462" fmla="*/ 471 w 10000"/>
                <a:gd name="connsiteY462" fmla="*/ 5246 h 10126"/>
                <a:gd name="connsiteX463" fmla="*/ 433 w 10000"/>
                <a:gd name="connsiteY463" fmla="*/ 5192 h 10126"/>
                <a:gd name="connsiteX464" fmla="*/ 389 w 10000"/>
                <a:gd name="connsiteY464" fmla="*/ 5138 h 10126"/>
                <a:gd name="connsiteX465" fmla="*/ 358 w 10000"/>
                <a:gd name="connsiteY465" fmla="*/ 5083 h 10126"/>
                <a:gd name="connsiteX466" fmla="*/ 326 w 10000"/>
                <a:gd name="connsiteY466" fmla="*/ 5035 h 10126"/>
                <a:gd name="connsiteX467" fmla="*/ 307 w 10000"/>
                <a:gd name="connsiteY467" fmla="*/ 4987 h 10126"/>
                <a:gd name="connsiteX468" fmla="*/ 295 w 10000"/>
                <a:gd name="connsiteY468" fmla="*/ 4939 h 10126"/>
                <a:gd name="connsiteX469" fmla="*/ 289 w 10000"/>
                <a:gd name="connsiteY469" fmla="*/ 4890 h 10126"/>
                <a:gd name="connsiteX470" fmla="*/ 320 w 10000"/>
                <a:gd name="connsiteY470" fmla="*/ 4872 h 10126"/>
                <a:gd name="connsiteX471" fmla="*/ 395 w 10000"/>
                <a:gd name="connsiteY471" fmla="*/ 4837 h 10126"/>
                <a:gd name="connsiteX472" fmla="*/ 483 w 10000"/>
                <a:gd name="connsiteY472" fmla="*/ 4801 h 10126"/>
                <a:gd name="connsiteX473" fmla="*/ 533 w 10000"/>
                <a:gd name="connsiteY473" fmla="*/ 4783 h 10126"/>
                <a:gd name="connsiteX474" fmla="*/ 483 w 10000"/>
                <a:gd name="connsiteY474" fmla="*/ 4783 h 10126"/>
                <a:gd name="connsiteX475" fmla="*/ 420 w 10000"/>
                <a:gd name="connsiteY475" fmla="*/ 4777 h 10126"/>
                <a:gd name="connsiteX476" fmla="*/ 370 w 10000"/>
                <a:gd name="connsiteY476" fmla="*/ 4765 h 10126"/>
                <a:gd name="connsiteX477" fmla="*/ 320 w 10000"/>
                <a:gd name="connsiteY477" fmla="*/ 4759 h 10126"/>
                <a:gd name="connsiteX478" fmla="*/ 276 w 10000"/>
                <a:gd name="connsiteY478" fmla="*/ 4740 h 10126"/>
                <a:gd name="connsiteX479" fmla="*/ 232 w 10000"/>
                <a:gd name="connsiteY479" fmla="*/ 4728 h 10126"/>
                <a:gd name="connsiteX480" fmla="*/ 188 w 10000"/>
                <a:gd name="connsiteY480" fmla="*/ 4710 h 10126"/>
                <a:gd name="connsiteX481" fmla="*/ 157 w 10000"/>
                <a:gd name="connsiteY481" fmla="*/ 4685 h 10126"/>
                <a:gd name="connsiteX482" fmla="*/ 132 w 10000"/>
                <a:gd name="connsiteY482" fmla="*/ 4661 h 10126"/>
                <a:gd name="connsiteX483" fmla="*/ 100 w 10000"/>
                <a:gd name="connsiteY483" fmla="*/ 4637 h 10126"/>
                <a:gd name="connsiteX484" fmla="*/ 75 w 10000"/>
                <a:gd name="connsiteY484" fmla="*/ 4607 h 10126"/>
                <a:gd name="connsiteX485" fmla="*/ 50 w 10000"/>
                <a:gd name="connsiteY485" fmla="*/ 4583 h 10126"/>
                <a:gd name="connsiteX486" fmla="*/ 19 w 10000"/>
                <a:gd name="connsiteY486" fmla="*/ 4511 h 10126"/>
                <a:gd name="connsiteX487" fmla="*/ 0 w 10000"/>
                <a:gd name="connsiteY487" fmla="*/ 4444 h 10126"/>
                <a:gd name="connsiteX488" fmla="*/ 63 w 10000"/>
                <a:gd name="connsiteY488" fmla="*/ 4396 h 10126"/>
                <a:gd name="connsiteX489" fmla="*/ 132 w 10000"/>
                <a:gd name="connsiteY489" fmla="*/ 4360 h 10126"/>
                <a:gd name="connsiteX490" fmla="*/ 201 w 10000"/>
                <a:gd name="connsiteY490" fmla="*/ 4331 h 10126"/>
                <a:gd name="connsiteX491" fmla="*/ 276 w 10000"/>
                <a:gd name="connsiteY491" fmla="*/ 4307 h 10126"/>
                <a:gd name="connsiteX492" fmla="*/ 420 w 10000"/>
                <a:gd name="connsiteY492" fmla="*/ 4277 h 10126"/>
                <a:gd name="connsiteX493" fmla="*/ 565 w 10000"/>
                <a:gd name="connsiteY493" fmla="*/ 4252 h 10126"/>
                <a:gd name="connsiteX494" fmla="*/ 640 w 10000"/>
                <a:gd name="connsiteY494" fmla="*/ 4240 h 10126"/>
                <a:gd name="connsiteX495" fmla="*/ 709 w 10000"/>
                <a:gd name="connsiteY495" fmla="*/ 4216 h 10126"/>
                <a:gd name="connsiteX496" fmla="*/ 772 w 10000"/>
                <a:gd name="connsiteY496" fmla="*/ 4198 h 10126"/>
                <a:gd name="connsiteX497" fmla="*/ 834 w 10000"/>
                <a:gd name="connsiteY497" fmla="*/ 4168 h 10126"/>
                <a:gd name="connsiteX498" fmla="*/ 891 w 10000"/>
                <a:gd name="connsiteY498" fmla="*/ 4138 h 10126"/>
                <a:gd name="connsiteX499" fmla="*/ 947 w 10000"/>
                <a:gd name="connsiteY499" fmla="*/ 4090 h 10126"/>
                <a:gd name="connsiteX500" fmla="*/ 997 w 10000"/>
                <a:gd name="connsiteY500" fmla="*/ 4035 h 10126"/>
                <a:gd name="connsiteX501" fmla="*/ 1035 w 10000"/>
                <a:gd name="connsiteY501" fmla="*/ 3968 h 10126"/>
                <a:gd name="connsiteX502" fmla="*/ 1010 w 10000"/>
                <a:gd name="connsiteY502" fmla="*/ 3956 h 10126"/>
                <a:gd name="connsiteX503" fmla="*/ 985 w 10000"/>
                <a:gd name="connsiteY503" fmla="*/ 3938 h 10126"/>
                <a:gd name="connsiteX504" fmla="*/ 947 w 10000"/>
                <a:gd name="connsiteY504" fmla="*/ 3914 h 10126"/>
                <a:gd name="connsiteX505" fmla="*/ 910 w 10000"/>
                <a:gd name="connsiteY505" fmla="*/ 3878 h 10126"/>
                <a:gd name="connsiteX506" fmla="*/ 822 w 10000"/>
                <a:gd name="connsiteY506" fmla="*/ 3806 h 10126"/>
                <a:gd name="connsiteX507" fmla="*/ 740 w 10000"/>
                <a:gd name="connsiteY507" fmla="*/ 3722 h 10126"/>
                <a:gd name="connsiteX508" fmla="*/ 665 w 10000"/>
                <a:gd name="connsiteY508" fmla="*/ 3631 h 10126"/>
                <a:gd name="connsiteX509" fmla="*/ 596 w 10000"/>
                <a:gd name="connsiteY509" fmla="*/ 3535 h 10126"/>
                <a:gd name="connsiteX510" fmla="*/ 577 w 10000"/>
                <a:gd name="connsiteY510" fmla="*/ 3493 h 10126"/>
                <a:gd name="connsiteX511" fmla="*/ 558 w 10000"/>
                <a:gd name="connsiteY511" fmla="*/ 3451 h 10126"/>
                <a:gd name="connsiteX512" fmla="*/ 540 w 10000"/>
                <a:gd name="connsiteY512" fmla="*/ 3408 h 10126"/>
                <a:gd name="connsiteX513" fmla="*/ 533 w 10000"/>
                <a:gd name="connsiteY513" fmla="*/ 3372 h 10126"/>
                <a:gd name="connsiteX514" fmla="*/ 508 w 10000"/>
                <a:gd name="connsiteY514" fmla="*/ 3366 h 10126"/>
                <a:gd name="connsiteX515" fmla="*/ 483 w 10000"/>
                <a:gd name="connsiteY515" fmla="*/ 3360 h 10126"/>
                <a:gd name="connsiteX516" fmla="*/ 458 w 10000"/>
                <a:gd name="connsiteY516" fmla="*/ 3348 h 10126"/>
                <a:gd name="connsiteX517" fmla="*/ 439 w 10000"/>
                <a:gd name="connsiteY517" fmla="*/ 3325 h 10126"/>
                <a:gd name="connsiteX518" fmla="*/ 402 w 10000"/>
                <a:gd name="connsiteY518" fmla="*/ 3282 h 10126"/>
                <a:gd name="connsiteX519" fmla="*/ 370 w 10000"/>
                <a:gd name="connsiteY519" fmla="*/ 3222 h 10126"/>
                <a:gd name="connsiteX520" fmla="*/ 370 w 10000"/>
                <a:gd name="connsiteY520" fmla="*/ 3077 h 10126"/>
                <a:gd name="connsiteX521" fmla="*/ 458 w 10000"/>
                <a:gd name="connsiteY521" fmla="*/ 3071 h 10126"/>
                <a:gd name="connsiteX522" fmla="*/ 540 w 10000"/>
                <a:gd name="connsiteY522" fmla="*/ 3065 h 10126"/>
                <a:gd name="connsiteX523" fmla="*/ 615 w 10000"/>
                <a:gd name="connsiteY523" fmla="*/ 3053 h 10126"/>
                <a:gd name="connsiteX524" fmla="*/ 684 w 10000"/>
                <a:gd name="connsiteY524" fmla="*/ 3029 h 10126"/>
                <a:gd name="connsiteX525" fmla="*/ 747 w 10000"/>
                <a:gd name="connsiteY525" fmla="*/ 3011 h 10126"/>
                <a:gd name="connsiteX526" fmla="*/ 809 w 10000"/>
                <a:gd name="connsiteY526" fmla="*/ 2980 h 10126"/>
                <a:gd name="connsiteX527" fmla="*/ 866 w 10000"/>
                <a:gd name="connsiteY527" fmla="*/ 2950 h 10126"/>
                <a:gd name="connsiteX528" fmla="*/ 922 w 10000"/>
                <a:gd name="connsiteY528" fmla="*/ 2914 h 10126"/>
                <a:gd name="connsiteX529" fmla="*/ 966 w 10000"/>
                <a:gd name="connsiteY529" fmla="*/ 2872 h 10126"/>
                <a:gd name="connsiteX530" fmla="*/ 1016 w 10000"/>
                <a:gd name="connsiteY530" fmla="*/ 2831 h 10126"/>
                <a:gd name="connsiteX531" fmla="*/ 1060 w 10000"/>
                <a:gd name="connsiteY531" fmla="*/ 2789 h 10126"/>
                <a:gd name="connsiteX532" fmla="*/ 1098 w 10000"/>
                <a:gd name="connsiteY532" fmla="*/ 2740 h 10126"/>
                <a:gd name="connsiteX533" fmla="*/ 1167 w 10000"/>
                <a:gd name="connsiteY533" fmla="*/ 2644 h 10126"/>
                <a:gd name="connsiteX534" fmla="*/ 1236 w 10000"/>
                <a:gd name="connsiteY534" fmla="*/ 2534 h 10126"/>
                <a:gd name="connsiteX535" fmla="*/ 1355 w 10000"/>
                <a:gd name="connsiteY535" fmla="*/ 2318 h 10126"/>
                <a:gd name="connsiteX536" fmla="*/ 1474 w 10000"/>
                <a:gd name="connsiteY536" fmla="*/ 2101 h 10126"/>
                <a:gd name="connsiteX537" fmla="*/ 1543 w 10000"/>
                <a:gd name="connsiteY537" fmla="*/ 2005 h 10126"/>
                <a:gd name="connsiteX538" fmla="*/ 1612 w 10000"/>
                <a:gd name="connsiteY538" fmla="*/ 1920 h 10126"/>
                <a:gd name="connsiteX539" fmla="*/ 1650 w 10000"/>
                <a:gd name="connsiteY539" fmla="*/ 1871 h 10126"/>
                <a:gd name="connsiteX540" fmla="*/ 1694 w 10000"/>
                <a:gd name="connsiteY540" fmla="*/ 1835 h 10126"/>
                <a:gd name="connsiteX541" fmla="*/ 1738 w 10000"/>
                <a:gd name="connsiteY541" fmla="*/ 1806 h 10126"/>
                <a:gd name="connsiteX542" fmla="*/ 1788 w 10000"/>
                <a:gd name="connsiteY542" fmla="*/ 1776 h 10126"/>
                <a:gd name="connsiteX543" fmla="*/ 1750 w 10000"/>
                <a:gd name="connsiteY543" fmla="*/ 1703 h 10126"/>
                <a:gd name="connsiteX544" fmla="*/ 1719 w 10000"/>
                <a:gd name="connsiteY544" fmla="*/ 1637 h 10126"/>
                <a:gd name="connsiteX545" fmla="*/ 1713 w 10000"/>
                <a:gd name="connsiteY545" fmla="*/ 1607 h 10126"/>
                <a:gd name="connsiteX546" fmla="*/ 1706 w 10000"/>
                <a:gd name="connsiteY546" fmla="*/ 1577 h 10126"/>
                <a:gd name="connsiteX547" fmla="*/ 1706 w 10000"/>
                <a:gd name="connsiteY547" fmla="*/ 1541 h 10126"/>
                <a:gd name="connsiteX548" fmla="*/ 1706 w 10000"/>
                <a:gd name="connsiteY548" fmla="*/ 1511 h 10126"/>
                <a:gd name="connsiteX549" fmla="*/ 1713 w 10000"/>
                <a:gd name="connsiteY549" fmla="*/ 1480 h 10126"/>
                <a:gd name="connsiteX550" fmla="*/ 1719 w 10000"/>
                <a:gd name="connsiteY550" fmla="*/ 1450 h 10126"/>
                <a:gd name="connsiteX551" fmla="*/ 1731 w 10000"/>
                <a:gd name="connsiteY551" fmla="*/ 1426 h 10126"/>
                <a:gd name="connsiteX552" fmla="*/ 1757 w 10000"/>
                <a:gd name="connsiteY552" fmla="*/ 1402 h 10126"/>
                <a:gd name="connsiteX553" fmla="*/ 1775 w 10000"/>
                <a:gd name="connsiteY553" fmla="*/ 1384 h 10126"/>
                <a:gd name="connsiteX554" fmla="*/ 1801 w 10000"/>
                <a:gd name="connsiteY554" fmla="*/ 1366 h 10126"/>
                <a:gd name="connsiteX555" fmla="*/ 1838 w 10000"/>
                <a:gd name="connsiteY555" fmla="*/ 1348 h 10126"/>
                <a:gd name="connsiteX556" fmla="*/ 1870 w 10000"/>
                <a:gd name="connsiteY556" fmla="*/ 1330 h 10126"/>
                <a:gd name="connsiteX557" fmla="*/ 1788 w 10000"/>
                <a:gd name="connsiteY557" fmla="*/ 1240 h 10126"/>
                <a:gd name="connsiteX558" fmla="*/ 1688 w 10000"/>
                <a:gd name="connsiteY558" fmla="*/ 1168 h 10126"/>
                <a:gd name="connsiteX559" fmla="*/ 1550 w 10000"/>
                <a:gd name="connsiteY559" fmla="*/ 1046 h 10126"/>
                <a:gd name="connsiteX560" fmla="*/ 1487 w 10000"/>
                <a:gd name="connsiteY560" fmla="*/ 986 h 10126"/>
                <a:gd name="connsiteX561" fmla="*/ 1383 w 10000"/>
                <a:gd name="connsiteY561" fmla="*/ 868 h 10126"/>
                <a:gd name="connsiteX562" fmla="*/ 1426 w 10000"/>
                <a:gd name="connsiteY562" fmla="*/ 764 h 10126"/>
                <a:gd name="connsiteX563" fmla="*/ 1603 w 10000"/>
                <a:gd name="connsiteY563" fmla="*/ 650 h 10126"/>
                <a:gd name="connsiteX564" fmla="*/ 1708 w 10000"/>
                <a:gd name="connsiteY564" fmla="*/ 605 h 10126"/>
                <a:gd name="connsiteX565" fmla="*/ 1673 w 10000"/>
                <a:gd name="connsiteY565" fmla="*/ 540 h 10126"/>
                <a:gd name="connsiteX566" fmla="*/ 1606 w 10000"/>
                <a:gd name="connsiteY566" fmla="*/ 463 h 10126"/>
                <a:gd name="connsiteX567" fmla="*/ 1539 w 10000"/>
                <a:gd name="connsiteY567" fmla="*/ 431 h 10126"/>
                <a:gd name="connsiteX568" fmla="*/ 1539 w 10000"/>
                <a:gd name="connsiteY568" fmla="*/ 366 h 10126"/>
                <a:gd name="connsiteX569" fmla="*/ 1424 w 10000"/>
                <a:gd name="connsiteY569" fmla="*/ 270 h 10126"/>
                <a:gd name="connsiteX570" fmla="*/ 1490 w 10000"/>
                <a:gd name="connsiteY570" fmla="*/ 123 h 10126"/>
                <a:gd name="connsiteX571" fmla="*/ 1654 w 10000"/>
                <a:gd name="connsiteY571" fmla="*/ 0 h 10126"/>
                <a:gd name="connsiteX572" fmla="*/ 1842 w 10000"/>
                <a:gd name="connsiteY572" fmla="*/ 61 h 10126"/>
                <a:gd name="connsiteX573" fmla="*/ 1925 w 10000"/>
                <a:gd name="connsiteY573" fmla="*/ 57 h 10126"/>
                <a:gd name="connsiteX574" fmla="*/ 2151 w 10000"/>
                <a:gd name="connsiteY574" fmla="*/ 94 h 10126"/>
                <a:gd name="connsiteX575" fmla="*/ 2280 w 10000"/>
                <a:gd name="connsiteY575" fmla="*/ 123 h 10126"/>
                <a:gd name="connsiteX576" fmla="*/ 2385 w 10000"/>
                <a:gd name="connsiteY576" fmla="*/ 131 h 10126"/>
                <a:gd name="connsiteX577" fmla="*/ 2444 w 10000"/>
                <a:gd name="connsiteY577" fmla="*/ 160 h 10126"/>
                <a:gd name="connsiteX578" fmla="*/ 2651 w 10000"/>
                <a:gd name="connsiteY578" fmla="*/ 149 h 10126"/>
                <a:gd name="connsiteX0" fmla="*/ 2576 w 10000"/>
                <a:gd name="connsiteY0" fmla="*/ 149 h 10126"/>
                <a:gd name="connsiteX1" fmla="*/ 2509 w 10000"/>
                <a:gd name="connsiteY1" fmla="*/ 161 h 10126"/>
                <a:gd name="connsiteX2" fmla="*/ 2818 w 10000"/>
                <a:gd name="connsiteY2" fmla="*/ 127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577" fmla="*/ 2651 w 10000"/>
                <a:gd name="connsiteY577" fmla="*/ 149 h 10126"/>
                <a:gd name="connsiteX0" fmla="*/ 2576 w 10000"/>
                <a:gd name="connsiteY0" fmla="*/ 149 h 10126"/>
                <a:gd name="connsiteX1" fmla="*/ 2509 w 10000"/>
                <a:gd name="connsiteY1" fmla="*/ 161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577" fmla="*/ 2651 w 10000"/>
                <a:gd name="connsiteY577" fmla="*/ 149 h 10126"/>
                <a:gd name="connsiteX0" fmla="*/ 2576 w 10000"/>
                <a:gd name="connsiteY0" fmla="*/ 149 h 10126"/>
                <a:gd name="connsiteX1" fmla="*/ 2509 w 10000"/>
                <a:gd name="connsiteY1" fmla="*/ 161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577" fmla="*/ 2643 w 10000"/>
                <a:gd name="connsiteY577" fmla="*/ 246 h 10126"/>
                <a:gd name="connsiteX0" fmla="*/ 2576 w 10000"/>
                <a:gd name="connsiteY0" fmla="*/ 149 h 10126"/>
                <a:gd name="connsiteX1" fmla="*/ 2509 w 10000"/>
                <a:gd name="connsiteY1" fmla="*/ 161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0" fmla="*/ 2592 w 10000"/>
                <a:gd name="connsiteY0" fmla="*/ 220 h 10126"/>
                <a:gd name="connsiteX1" fmla="*/ 2509 w 10000"/>
                <a:gd name="connsiteY1" fmla="*/ 161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0" fmla="*/ 2592 w 10000"/>
                <a:gd name="connsiteY0" fmla="*/ 220 h 10126"/>
                <a:gd name="connsiteX1" fmla="*/ 2468 w 10000"/>
                <a:gd name="connsiteY1" fmla="*/ 219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444 w 10000"/>
                <a:gd name="connsiteY576" fmla="*/ 160 h 10126"/>
                <a:gd name="connsiteX0" fmla="*/ 2592 w 10000"/>
                <a:gd name="connsiteY0" fmla="*/ 220 h 10126"/>
                <a:gd name="connsiteX1" fmla="*/ 2468 w 10000"/>
                <a:gd name="connsiteY1" fmla="*/ 219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51 h 10126"/>
                <a:gd name="connsiteX0" fmla="*/ 2641 w 10000"/>
                <a:gd name="connsiteY0" fmla="*/ 265 h 10126"/>
                <a:gd name="connsiteX1" fmla="*/ 2468 w 10000"/>
                <a:gd name="connsiteY1" fmla="*/ 219 h 10126"/>
                <a:gd name="connsiteX2" fmla="*/ 2761 w 10000"/>
                <a:gd name="connsiteY2" fmla="*/ 192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51 h 10126"/>
                <a:gd name="connsiteX0" fmla="*/ 2641 w 10000"/>
                <a:gd name="connsiteY0" fmla="*/ 265 h 10126"/>
                <a:gd name="connsiteX1" fmla="*/ 2468 w 10000"/>
                <a:gd name="connsiteY1" fmla="*/ 219 h 10126"/>
                <a:gd name="connsiteX2" fmla="*/ 2794 w 10000"/>
                <a:gd name="connsiteY2" fmla="*/ 263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51 h 10126"/>
                <a:gd name="connsiteX0" fmla="*/ 2641 w 10000"/>
                <a:gd name="connsiteY0" fmla="*/ 265 h 10126"/>
                <a:gd name="connsiteX1" fmla="*/ 2468 w 10000"/>
                <a:gd name="connsiteY1" fmla="*/ 219 h 10126"/>
                <a:gd name="connsiteX2" fmla="*/ 2761 w 10000"/>
                <a:gd name="connsiteY2" fmla="*/ 198 h 10126"/>
                <a:gd name="connsiteX3" fmla="*/ 2880 w 10000"/>
                <a:gd name="connsiteY3" fmla="*/ 115 h 10126"/>
                <a:gd name="connsiteX4" fmla="*/ 3155 w 10000"/>
                <a:gd name="connsiteY4" fmla="*/ 192 h 10126"/>
                <a:gd name="connsiteX5" fmla="*/ 3162 w 10000"/>
                <a:gd name="connsiteY5" fmla="*/ 346 h 10126"/>
                <a:gd name="connsiteX6" fmla="*/ 3120 w 10000"/>
                <a:gd name="connsiteY6" fmla="*/ 471 h 10126"/>
                <a:gd name="connsiteX7" fmla="*/ 3152 w 10000"/>
                <a:gd name="connsiteY7" fmla="*/ 534 h 10126"/>
                <a:gd name="connsiteX8" fmla="*/ 3093 w 10000"/>
                <a:gd name="connsiteY8" fmla="*/ 619 h 10126"/>
                <a:gd name="connsiteX9" fmla="*/ 2992 w 10000"/>
                <a:gd name="connsiteY9" fmla="*/ 710 h 10126"/>
                <a:gd name="connsiteX10" fmla="*/ 3043 w 10000"/>
                <a:gd name="connsiteY10" fmla="*/ 734 h 10126"/>
                <a:gd name="connsiteX11" fmla="*/ 3087 w 10000"/>
                <a:gd name="connsiteY11" fmla="*/ 776 h 10126"/>
                <a:gd name="connsiteX12" fmla="*/ 3130 w 10000"/>
                <a:gd name="connsiteY12" fmla="*/ 823 h 10126"/>
                <a:gd name="connsiteX13" fmla="*/ 3174 w 10000"/>
                <a:gd name="connsiteY13" fmla="*/ 872 h 10126"/>
                <a:gd name="connsiteX14" fmla="*/ 3212 w 10000"/>
                <a:gd name="connsiteY14" fmla="*/ 932 h 10126"/>
                <a:gd name="connsiteX15" fmla="*/ 3256 w 10000"/>
                <a:gd name="connsiteY15" fmla="*/ 986 h 10126"/>
                <a:gd name="connsiteX16" fmla="*/ 3281 w 10000"/>
                <a:gd name="connsiteY16" fmla="*/ 1046 h 10126"/>
                <a:gd name="connsiteX17" fmla="*/ 3312 w 10000"/>
                <a:gd name="connsiteY17" fmla="*/ 1113 h 10126"/>
                <a:gd name="connsiteX18" fmla="*/ 3331 w 10000"/>
                <a:gd name="connsiteY18" fmla="*/ 1180 h 10126"/>
                <a:gd name="connsiteX19" fmla="*/ 3043 w 10000"/>
                <a:gd name="connsiteY19" fmla="*/ 1180 h 10126"/>
                <a:gd name="connsiteX20" fmla="*/ 3043 w 10000"/>
                <a:gd name="connsiteY20" fmla="*/ 1366 h 10126"/>
                <a:gd name="connsiteX21" fmla="*/ 3074 w 10000"/>
                <a:gd name="connsiteY21" fmla="*/ 1444 h 10126"/>
                <a:gd name="connsiteX22" fmla="*/ 3118 w 10000"/>
                <a:gd name="connsiteY22" fmla="*/ 1511 h 10126"/>
                <a:gd name="connsiteX23" fmla="*/ 3168 w 10000"/>
                <a:gd name="connsiteY23" fmla="*/ 1571 h 10126"/>
                <a:gd name="connsiteX24" fmla="*/ 3225 w 10000"/>
                <a:gd name="connsiteY24" fmla="*/ 1613 h 10126"/>
                <a:gd name="connsiteX25" fmla="*/ 3281 w 10000"/>
                <a:gd name="connsiteY25" fmla="*/ 1655 h 10126"/>
                <a:gd name="connsiteX26" fmla="*/ 3350 w 10000"/>
                <a:gd name="connsiteY26" fmla="*/ 1685 h 10126"/>
                <a:gd name="connsiteX27" fmla="*/ 3413 w 10000"/>
                <a:gd name="connsiteY27" fmla="*/ 1715 h 10126"/>
                <a:gd name="connsiteX28" fmla="*/ 3488 w 10000"/>
                <a:gd name="connsiteY28" fmla="*/ 1740 h 10126"/>
                <a:gd name="connsiteX29" fmla="*/ 3626 w 10000"/>
                <a:gd name="connsiteY29" fmla="*/ 1794 h 10126"/>
                <a:gd name="connsiteX30" fmla="*/ 3764 w 10000"/>
                <a:gd name="connsiteY30" fmla="*/ 1847 h 10126"/>
                <a:gd name="connsiteX31" fmla="*/ 3827 w 10000"/>
                <a:gd name="connsiteY31" fmla="*/ 1884 h 10126"/>
                <a:gd name="connsiteX32" fmla="*/ 3890 w 10000"/>
                <a:gd name="connsiteY32" fmla="*/ 1932 h 10126"/>
                <a:gd name="connsiteX33" fmla="*/ 3946 w 10000"/>
                <a:gd name="connsiteY33" fmla="*/ 1981 h 10126"/>
                <a:gd name="connsiteX34" fmla="*/ 4003 w 10000"/>
                <a:gd name="connsiteY34" fmla="*/ 2035 h 10126"/>
                <a:gd name="connsiteX35" fmla="*/ 3959 w 10000"/>
                <a:gd name="connsiteY35" fmla="*/ 2596 h 10126"/>
                <a:gd name="connsiteX36" fmla="*/ 4034 w 10000"/>
                <a:gd name="connsiteY36" fmla="*/ 2650 h 10126"/>
                <a:gd name="connsiteX37" fmla="*/ 4141 w 10000"/>
                <a:gd name="connsiteY37" fmla="*/ 2716 h 10126"/>
                <a:gd name="connsiteX38" fmla="*/ 4260 w 10000"/>
                <a:gd name="connsiteY38" fmla="*/ 2776 h 10126"/>
                <a:gd name="connsiteX39" fmla="*/ 4398 w 10000"/>
                <a:gd name="connsiteY39" fmla="*/ 2831 h 10126"/>
                <a:gd name="connsiteX40" fmla="*/ 4536 w 10000"/>
                <a:gd name="connsiteY40" fmla="*/ 2884 h 10126"/>
                <a:gd name="connsiteX41" fmla="*/ 4668 w 10000"/>
                <a:gd name="connsiteY41" fmla="*/ 2926 h 10126"/>
                <a:gd name="connsiteX42" fmla="*/ 4724 w 10000"/>
                <a:gd name="connsiteY42" fmla="*/ 2944 h 10126"/>
                <a:gd name="connsiteX43" fmla="*/ 4780 w 10000"/>
                <a:gd name="connsiteY43" fmla="*/ 2956 h 10126"/>
                <a:gd name="connsiteX44" fmla="*/ 4831 w 10000"/>
                <a:gd name="connsiteY44" fmla="*/ 2962 h 10126"/>
                <a:gd name="connsiteX45" fmla="*/ 4875 w 10000"/>
                <a:gd name="connsiteY45" fmla="*/ 2962 h 10126"/>
                <a:gd name="connsiteX46" fmla="*/ 4887 w 10000"/>
                <a:gd name="connsiteY46" fmla="*/ 3005 h 10126"/>
                <a:gd name="connsiteX47" fmla="*/ 4918 w 10000"/>
                <a:gd name="connsiteY47" fmla="*/ 3041 h 10126"/>
                <a:gd name="connsiteX48" fmla="*/ 4950 w 10000"/>
                <a:gd name="connsiteY48" fmla="*/ 3059 h 10126"/>
                <a:gd name="connsiteX49" fmla="*/ 4987 w 10000"/>
                <a:gd name="connsiteY49" fmla="*/ 3071 h 10126"/>
                <a:gd name="connsiteX50" fmla="*/ 5019 w 10000"/>
                <a:gd name="connsiteY50" fmla="*/ 3083 h 10126"/>
                <a:gd name="connsiteX51" fmla="*/ 5063 w 10000"/>
                <a:gd name="connsiteY51" fmla="*/ 3083 h 10126"/>
                <a:gd name="connsiteX52" fmla="*/ 5107 w 10000"/>
                <a:gd name="connsiteY52" fmla="*/ 3077 h 10126"/>
                <a:gd name="connsiteX53" fmla="*/ 5157 w 10000"/>
                <a:gd name="connsiteY53" fmla="*/ 3071 h 10126"/>
                <a:gd name="connsiteX54" fmla="*/ 5245 w 10000"/>
                <a:gd name="connsiteY54" fmla="*/ 3053 h 10126"/>
                <a:gd name="connsiteX55" fmla="*/ 5345 w 10000"/>
                <a:gd name="connsiteY55" fmla="*/ 3029 h 10126"/>
                <a:gd name="connsiteX56" fmla="*/ 5383 w 10000"/>
                <a:gd name="connsiteY56" fmla="*/ 3029 h 10126"/>
                <a:gd name="connsiteX57" fmla="*/ 5427 w 10000"/>
                <a:gd name="connsiteY57" fmla="*/ 3023 h 10126"/>
                <a:gd name="connsiteX58" fmla="*/ 5464 w 10000"/>
                <a:gd name="connsiteY58" fmla="*/ 3029 h 10126"/>
                <a:gd name="connsiteX59" fmla="*/ 5502 w 10000"/>
                <a:gd name="connsiteY59" fmla="*/ 3035 h 10126"/>
                <a:gd name="connsiteX60" fmla="*/ 5558 w 10000"/>
                <a:gd name="connsiteY60" fmla="*/ 3071 h 10126"/>
                <a:gd name="connsiteX61" fmla="*/ 5596 w 10000"/>
                <a:gd name="connsiteY61" fmla="*/ 3101 h 10126"/>
                <a:gd name="connsiteX62" fmla="*/ 5634 w 10000"/>
                <a:gd name="connsiteY62" fmla="*/ 3143 h 10126"/>
                <a:gd name="connsiteX63" fmla="*/ 5665 w 10000"/>
                <a:gd name="connsiteY63" fmla="*/ 3179 h 10126"/>
                <a:gd name="connsiteX64" fmla="*/ 5696 w 10000"/>
                <a:gd name="connsiteY64" fmla="*/ 3216 h 10126"/>
                <a:gd name="connsiteX65" fmla="*/ 5734 w 10000"/>
                <a:gd name="connsiteY65" fmla="*/ 3252 h 10126"/>
                <a:gd name="connsiteX66" fmla="*/ 5759 w 10000"/>
                <a:gd name="connsiteY66" fmla="*/ 3270 h 10126"/>
                <a:gd name="connsiteX67" fmla="*/ 5778 w 10000"/>
                <a:gd name="connsiteY67" fmla="*/ 3282 h 10126"/>
                <a:gd name="connsiteX68" fmla="*/ 5803 w 10000"/>
                <a:gd name="connsiteY68" fmla="*/ 3294 h 10126"/>
                <a:gd name="connsiteX69" fmla="*/ 5834 w 10000"/>
                <a:gd name="connsiteY69" fmla="*/ 3300 h 10126"/>
                <a:gd name="connsiteX70" fmla="*/ 5935 w 10000"/>
                <a:gd name="connsiteY70" fmla="*/ 3319 h 10126"/>
                <a:gd name="connsiteX71" fmla="*/ 6073 w 10000"/>
                <a:gd name="connsiteY71" fmla="*/ 3354 h 10126"/>
                <a:gd name="connsiteX72" fmla="*/ 6230 w 10000"/>
                <a:gd name="connsiteY72" fmla="*/ 3390 h 10126"/>
                <a:gd name="connsiteX73" fmla="*/ 6405 w 10000"/>
                <a:gd name="connsiteY73" fmla="*/ 3433 h 10126"/>
                <a:gd name="connsiteX74" fmla="*/ 6568 w 10000"/>
                <a:gd name="connsiteY74" fmla="*/ 3463 h 10126"/>
                <a:gd name="connsiteX75" fmla="*/ 6719 w 10000"/>
                <a:gd name="connsiteY75" fmla="*/ 3487 h 10126"/>
                <a:gd name="connsiteX76" fmla="*/ 6788 w 10000"/>
                <a:gd name="connsiteY76" fmla="*/ 3493 h 10126"/>
                <a:gd name="connsiteX77" fmla="*/ 6838 w 10000"/>
                <a:gd name="connsiteY77" fmla="*/ 3499 h 10126"/>
                <a:gd name="connsiteX78" fmla="*/ 6888 w 10000"/>
                <a:gd name="connsiteY78" fmla="*/ 3493 h 10126"/>
                <a:gd name="connsiteX79" fmla="*/ 6913 w 10000"/>
                <a:gd name="connsiteY79" fmla="*/ 3481 h 10126"/>
                <a:gd name="connsiteX80" fmla="*/ 6888 w 10000"/>
                <a:gd name="connsiteY80" fmla="*/ 3439 h 10126"/>
                <a:gd name="connsiteX81" fmla="*/ 6857 w 10000"/>
                <a:gd name="connsiteY81" fmla="*/ 3390 h 10126"/>
                <a:gd name="connsiteX82" fmla="*/ 6838 w 10000"/>
                <a:gd name="connsiteY82" fmla="*/ 3342 h 10126"/>
                <a:gd name="connsiteX83" fmla="*/ 6826 w 10000"/>
                <a:gd name="connsiteY83" fmla="*/ 3288 h 10126"/>
                <a:gd name="connsiteX84" fmla="*/ 6794 w 10000"/>
                <a:gd name="connsiteY84" fmla="*/ 3197 h 10126"/>
                <a:gd name="connsiteX85" fmla="*/ 6788 w 10000"/>
                <a:gd name="connsiteY85" fmla="*/ 3149 h 10126"/>
                <a:gd name="connsiteX86" fmla="*/ 6788 w 10000"/>
                <a:gd name="connsiteY86" fmla="*/ 2962 h 10126"/>
                <a:gd name="connsiteX87" fmla="*/ 6788 w 10000"/>
                <a:gd name="connsiteY87" fmla="*/ 2776 h 10126"/>
                <a:gd name="connsiteX88" fmla="*/ 6995 w 10000"/>
                <a:gd name="connsiteY88" fmla="*/ 2776 h 10126"/>
                <a:gd name="connsiteX89" fmla="*/ 7033 w 10000"/>
                <a:gd name="connsiteY89" fmla="*/ 2842 h 10126"/>
                <a:gd name="connsiteX90" fmla="*/ 7058 w 10000"/>
                <a:gd name="connsiteY90" fmla="*/ 2884 h 10126"/>
                <a:gd name="connsiteX91" fmla="*/ 7095 w 10000"/>
                <a:gd name="connsiteY91" fmla="*/ 2920 h 10126"/>
                <a:gd name="connsiteX92" fmla="*/ 7127 w 10000"/>
                <a:gd name="connsiteY92" fmla="*/ 2962 h 10126"/>
                <a:gd name="connsiteX93" fmla="*/ 7120 w 10000"/>
                <a:gd name="connsiteY93" fmla="*/ 3059 h 10126"/>
                <a:gd name="connsiteX94" fmla="*/ 7102 w 10000"/>
                <a:gd name="connsiteY94" fmla="*/ 3119 h 10126"/>
                <a:gd name="connsiteX95" fmla="*/ 7089 w 10000"/>
                <a:gd name="connsiteY95" fmla="*/ 3167 h 10126"/>
                <a:gd name="connsiteX96" fmla="*/ 7077 w 10000"/>
                <a:gd name="connsiteY96" fmla="*/ 3222 h 10126"/>
                <a:gd name="connsiteX97" fmla="*/ 7208 w 10000"/>
                <a:gd name="connsiteY97" fmla="*/ 3258 h 10126"/>
                <a:gd name="connsiteX98" fmla="*/ 7334 w 10000"/>
                <a:gd name="connsiteY98" fmla="*/ 3294 h 10126"/>
                <a:gd name="connsiteX99" fmla="*/ 7396 w 10000"/>
                <a:gd name="connsiteY99" fmla="*/ 3313 h 10126"/>
                <a:gd name="connsiteX100" fmla="*/ 7459 w 10000"/>
                <a:gd name="connsiteY100" fmla="*/ 3325 h 10126"/>
                <a:gd name="connsiteX101" fmla="*/ 7522 w 10000"/>
                <a:gd name="connsiteY101" fmla="*/ 3331 h 10126"/>
                <a:gd name="connsiteX102" fmla="*/ 7585 w 10000"/>
                <a:gd name="connsiteY102" fmla="*/ 3336 h 10126"/>
                <a:gd name="connsiteX103" fmla="*/ 7591 w 10000"/>
                <a:gd name="connsiteY103" fmla="*/ 3360 h 10126"/>
                <a:gd name="connsiteX104" fmla="*/ 7604 w 10000"/>
                <a:gd name="connsiteY104" fmla="*/ 3384 h 10126"/>
                <a:gd name="connsiteX105" fmla="*/ 7622 w 10000"/>
                <a:gd name="connsiteY105" fmla="*/ 3402 h 10126"/>
                <a:gd name="connsiteX106" fmla="*/ 7654 w 10000"/>
                <a:gd name="connsiteY106" fmla="*/ 3420 h 10126"/>
                <a:gd name="connsiteX107" fmla="*/ 7704 w 10000"/>
                <a:gd name="connsiteY107" fmla="*/ 3439 h 10126"/>
                <a:gd name="connsiteX108" fmla="*/ 7748 w 10000"/>
                <a:gd name="connsiteY108" fmla="*/ 3445 h 10126"/>
                <a:gd name="connsiteX109" fmla="*/ 7798 w 10000"/>
                <a:gd name="connsiteY109" fmla="*/ 3445 h 10126"/>
                <a:gd name="connsiteX110" fmla="*/ 7836 w 10000"/>
                <a:gd name="connsiteY110" fmla="*/ 3433 h 10126"/>
                <a:gd name="connsiteX111" fmla="*/ 7880 w 10000"/>
                <a:gd name="connsiteY111" fmla="*/ 3414 h 10126"/>
                <a:gd name="connsiteX112" fmla="*/ 7911 w 10000"/>
                <a:gd name="connsiteY112" fmla="*/ 3396 h 10126"/>
                <a:gd name="connsiteX113" fmla="*/ 7949 w 10000"/>
                <a:gd name="connsiteY113" fmla="*/ 3372 h 10126"/>
                <a:gd name="connsiteX114" fmla="*/ 7980 w 10000"/>
                <a:gd name="connsiteY114" fmla="*/ 3342 h 10126"/>
                <a:gd name="connsiteX115" fmla="*/ 8011 w 10000"/>
                <a:gd name="connsiteY115" fmla="*/ 3313 h 10126"/>
                <a:gd name="connsiteX116" fmla="*/ 8036 w 10000"/>
                <a:gd name="connsiteY116" fmla="*/ 3282 h 10126"/>
                <a:gd name="connsiteX117" fmla="*/ 8087 w 10000"/>
                <a:gd name="connsiteY117" fmla="*/ 3203 h 10126"/>
                <a:gd name="connsiteX118" fmla="*/ 8118 w 10000"/>
                <a:gd name="connsiteY118" fmla="*/ 3131 h 10126"/>
                <a:gd name="connsiteX119" fmla="*/ 8149 w 10000"/>
                <a:gd name="connsiteY119" fmla="*/ 3065 h 10126"/>
                <a:gd name="connsiteX120" fmla="*/ 8168 w 10000"/>
                <a:gd name="connsiteY120" fmla="*/ 2999 h 10126"/>
                <a:gd name="connsiteX121" fmla="*/ 8231 w 10000"/>
                <a:gd name="connsiteY121" fmla="*/ 2932 h 10126"/>
                <a:gd name="connsiteX122" fmla="*/ 8294 w 10000"/>
                <a:gd name="connsiteY122" fmla="*/ 2866 h 10126"/>
                <a:gd name="connsiteX123" fmla="*/ 8363 w 10000"/>
                <a:gd name="connsiteY123" fmla="*/ 2813 h 10126"/>
                <a:gd name="connsiteX124" fmla="*/ 8432 w 10000"/>
                <a:gd name="connsiteY124" fmla="*/ 2752 h 10126"/>
                <a:gd name="connsiteX125" fmla="*/ 8507 w 10000"/>
                <a:gd name="connsiteY125" fmla="*/ 2704 h 10126"/>
                <a:gd name="connsiteX126" fmla="*/ 8576 w 10000"/>
                <a:gd name="connsiteY126" fmla="*/ 2656 h 10126"/>
                <a:gd name="connsiteX127" fmla="*/ 8651 w 10000"/>
                <a:gd name="connsiteY127" fmla="*/ 2614 h 10126"/>
                <a:gd name="connsiteX128" fmla="*/ 8726 w 10000"/>
                <a:gd name="connsiteY128" fmla="*/ 2570 h 10126"/>
                <a:gd name="connsiteX129" fmla="*/ 8808 w 10000"/>
                <a:gd name="connsiteY129" fmla="*/ 2528 h 10126"/>
                <a:gd name="connsiteX130" fmla="*/ 8890 w 10000"/>
                <a:gd name="connsiteY130" fmla="*/ 2492 h 10126"/>
                <a:gd name="connsiteX131" fmla="*/ 8971 w 10000"/>
                <a:gd name="connsiteY131" fmla="*/ 2462 h 10126"/>
                <a:gd name="connsiteX132" fmla="*/ 9059 w 10000"/>
                <a:gd name="connsiteY132" fmla="*/ 2432 h 10126"/>
                <a:gd name="connsiteX133" fmla="*/ 9235 w 10000"/>
                <a:gd name="connsiteY133" fmla="*/ 2378 h 10126"/>
                <a:gd name="connsiteX134" fmla="*/ 9417 w 10000"/>
                <a:gd name="connsiteY134" fmla="*/ 2335 h 10126"/>
                <a:gd name="connsiteX135" fmla="*/ 9454 w 10000"/>
                <a:gd name="connsiteY135" fmla="*/ 2384 h 10126"/>
                <a:gd name="connsiteX136" fmla="*/ 9504 w 10000"/>
                <a:gd name="connsiteY136" fmla="*/ 2444 h 10126"/>
                <a:gd name="connsiteX137" fmla="*/ 9573 w 10000"/>
                <a:gd name="connsiteY137" fmla="*/ 2510 h 10126"/>
                <a:gd name="connsiteX138" fmla="*/ 9642 w 10000"/>
                <a:gd name="connsiteY138" fmla="*/ 2583 h 10126"/>
                <a:gd name="connsiteX139" fmla="*/ 9718 w 10000"/>
                <a:gd name="connsiteY139" fmla="*/ 2644 h 10126"/>
                <a:gd name="connsiteX140" fmla="*/ 9799 w 10000"/>
                <a:gd name="connsiteY140" fmla="*/ 2692 h 10126"/>
                <a:gd name="connsiteX141" fmla="*/ 9837 w 10000"/>
                <a:gd name="connsiteY141" fmla="*/ 2716 h 10126"/>
                <a:gd name="connsiteX142" fmla="*/ 9875 w 10000"/>
                <a:gd name="connsiteY142" fmla="*/ 2728 h 10126"/>
                <a:gd name="connsiteX143" fmla="*/ 9918 w 10000"/>
                <a:gd name="connsiteY143" fmla="*/ 2740 h 10126"/>
                <a:gd name="connsiteX144" fmla="*/ 9956 w 10000"/>
                <a:gd name="connsiteY144" fmla="*/ 2740 h 10126"/>
                <a:gd name="connsiteX145" fmla="*/ 10000 w 10000"/>
                <a:gd name="connsiteY145" fmla="*/ 2668 h 10126"/>
                <a:gd name="connsiteX146" fmla="*/ 9975 w 10000"/>
                <a:gd name="connsiteY146" fmla="*/ 2795 h 10126"/>
                <a:gd name="connsiteX147" fmla="*/ 9944 w 10000"/>
                <a:gd name="connsiteY147" fmla="*/ 2938 h 10126"/>
                <a:gd name="connsiteX148" fmla="*/ 9931 w 10000"/>
                <a:gd name="connsiteY148" fmla="*/ 3005 h 10126"/>
                <a:gd name="connsiteX149" fmla="*/ 9906 w 10000"/>
                <a:gd name="connsiteY149" fmla="*/ 3065 h 10126"/>
                <a:gd name="connsiteX150" fmla="*/ 9887 w 10000"/>
                <a:gd name="connsiteY150" fmla="*/ 3089 h 10126"/>
                <a:gd name="connsiteX151" fmla="*/ 9875 w 10000"/>
                <a:gd name="connsiteY151" fmla="*/ 3113 h 10126"/>
                <a:gd name="connsiteX152" fmla="*/ 9856 w 10000"/>
                <a:gd name="connsiteY152" fmla="*/ 3131 h 10126"/>
                <a:gd name="connsiteX153" fmla="*/ 9837 w 10000"/>
                <a:gd name="connsiteY153" fmla="*/ 3149 h 10126"/>
                <a:gd name="connsiteX154" fmla="*/ 9749 w 10000"/>
                <a:gd name="connsiteY154" fmla="*/ 3167 h 10126"/>
                <a:gd name="connsiteX155" fmla="*/ 9605 w 10000"/>
                <a:gd name="connsiteY155" fmla="*/ 3216 h 10126"/>
                <a:gd name="connsiteX156" fmla="*/ 9536 w 10000"/>
                <a:gd name="connsiteY156" fmla="*/ 3258 h 10126"/>
                <a:gd name="connsiteX157" fmla="*/ 9479 w 10000"/>
                <a:gd name="connsiteY157" fmla="*/ 3294 h 10126"/>
                <a:gd name="connsiteX158" fmla="*/ 9448 w 10000"/>
                <a:gd name="connsiteY158" fmla="*/ 3313 h 10126"/>
                <a:gd name="connsiteX159" fmla="*/ 9435 w 10000"/>
                <a:gd name="connsiteY159" fmla="*/ 3331 h 10126"/>
                <a:gd name="connsiteX160" fmla="*/ 9423 w 10000"/>
                <a:gd name="connsiteY160" fmla="*/ 3354 h 10126"/>
                <a:gd name="connsiteX161" fmla="*/ 9417 w 10000"/>
                <a:gd name="connsiteY161" fmla="*/ 3372 h 10126"/>
                <a:gd name="connsiteX162" fmla="*/ 9423 w 10000"/>
                <a:gd name="connsiteY162" fmla="*/ 3583 h 10126"/>
                <a:gd name="connsiteX163" fmla="*/ 9417 w 10000"/>
                <a:gd name="connsiteY163" fmla="*/ 3824 h 10126"/>
                <a:gd name="connsiteX164" fmla="*/ 9398 w 10000"/>
                <a:gd name="connsiteY164" fmla="*/ 3884 h 10126"/>
                <a:gd name="connsiteX165" fmla="*/ 9391 w 10000"/>
                <a:gd name="connsiteY165" fmla="*/ 3950 h 10126"/>
                <a:gd name="connsiteX166" fmla="*/ 9379 w 10000"/>
                <a:gd name="connsiteY166" fmla="*/ 4004 h 10126"/>
                <a:gd name="connsiteX167" fmla="*/ 9366 w 10000"/>
                <a:gd name="connsiteY167" fmla="*/ 4059 h 10126"/>
                <a:gd name="connsiteX168" fmla="*/ 9348 w 10000"/>
                <a:gd name="connsiteY168" fmla="*/ 4108 h 10126"/>
                <a:gd name="connsiteX169" fmla="*/ 9316 w 10000"/>
                <a:gd name="connsiteY169" fmla="*/ 4156 h 10126"/>
                <a:gd name="connsiteX170" fmla="*/ 9285 w 10000"/>
                <a:gd name="connsiteY170" fmla="*/ 4192 h 10126"/>
                <a:gd name="connsiteX171" fmla="*/ 9247 w 10000"/>
                <a:gd name="connsiteY171" fmla="*/ 4222 h 10126"/>
                <a:gd name="connsiteX172" fmla="*/ 9228 w 10000"/>
                <a:gd name="connsiteY172" fmla="*/ 4240 h 10126"/>
                <a:gd name="connsiteX173" fmla="*/ 9184 w 10000"/>
                <a:gd name="connsiteY173" fmla="*/ 4246 h 10126"/>
                <a:gd name="connsiteX174" fmla="*/ 9141 w 10000"/>
                <a:gd name="connsiteY174" fmla="*/ 4252 h 10126"/>
                <a:gd name="connsiteX175" fmla="*/ 9090 w 10000"/>
                <a:gd name="connsiteY175" fmla="*/ 4258 h 10126"/>
                <a:gd name="connsiteX176" fmla="*/ 9040 w 10000"/>
                <a:gd name="connsiteY176" fmla="*/ 4264 h 10126"/>
                <a:gd name="connsiteX177" fmla="*/ 8996 w 10000"/>
                <a:gd name="connsiteY177" fmla="*/ 4283 h 10126"/>
                <a:gd name="connsiteX178" fmla="*/ 8977 w 10000"/>
                <a:gd name="connsiteY178" fmla="*/ 4289 h 10126"/>
                <a:gd name="connsiteX179" fmla="*/ 8965 w 10000"/>
                <a:gd name="connsiteY179" fmla="*/ 4307 h 10126"/>
                <a:gd name="connsiteX180" fmla="*/ 8959 w 10000"/>
                <a:gd name="connsiteY180" fmla="*/ 4319 h 10126"/>
                <a:gd name="connsiteX181" fmla="*/ 8959 w 10000"/>
                <a:gd name="connsiteY181" fmla="*/ 4337 h 10126"/>
                <a:gd name="connsiteX182" fmla="*/ 8952 w 10000"/>
                <a:gd name="connsiteY182" fmla="*/ 4408 h 10126"/>
                <a:gd name="connsiteX183" fmla="*/ 8952 w 10000"/>
                <a:gd name="connsiteY183" fmla="*/ 4493 h 10126"/>
                <a:gd name="connsiteX184" fmla="*/ 8940 w 10000"/>
                <a:gd name="connsiteY184" fmla="*/ 4583 h 10126"/>
                <a:gd name="connsiteX185" fmla="*/ 8927 w 10000"/>
                <a:gd name="connsiteY185" fmla="*/ 4667 h 10126"/>
                <a:gd name="connsiteX186" fmla="*/ 8908 w 10000"/>
                <a:gd name="connsiteY186" fmla="*/ 4753 h 10126"/>
                <a:gd name="connsiteX187" fmla="*/ 8890 w 10000"/>
                <a:gd name="connsiteY187" fmla="*/ 4831 h 10126"/>
                <a:gd name="connsiteX188" fmla="*/ 8864 w 10000"/>
                <a:gd name="connsiteY188" fmla="*/ 4902 h 10126"/>
                <a:gd name="connsiteX189" fmla="*/ 8833 w 10000"/>
                <a:gd name="connsiteY189" fmla="*/ 4969 h 10126"/>
                <a:gd name="connsiteX190" fmla="*/ 8538 w 10000"/>
                <a:gd name="connsiteY190" fmla="*/ 4480 h 10126"/>
                <a:gd name="connsiteX191" fmla="*/ 8526 w 10000"/>
                <a:gd name="connsiteY191" fmla="*/ 4505 h 10126"/>
                <a:gd name="connsiteX192" fmla="*/ 8494 w 10000"/>
                <a:gd name="connsiteY192" fmla="*/ 4559 h 10126"/>
                <a:gd name="connsiteX193" fmla="*/ 8463 w 10000"/>
                <a:gd name="connsiteY193" fmla="*/ 4589 h 10126"/>
                <a:gd name="connsiteX194" fmla="*/ 8438 w 10000"/>
                <a:gd name="connsiteY194" fmla="*/ 4613 h 10126"/>
                <a:gd name="connsiteX195" fmla="*/ 8407 w 10000"/>
                <a:gd name="connsiteY195" fmla="*/ 4631 h 10126"/>
                <a:gd name="connsiteX196" fmla="*/ 8375 w 10000"/>
                <a:gd name="connsiteY196" fmla="*/ 4637 h 10126"/>
                <a:gd name="connsiteX197" fmla="*/ 8338 w 10000"/>
                <a:gd name="connsiteY197" fmla="*/ 4631 h 10126"/>
                <a:gd name="connsiteX198" fmla="*/ 8312 w 10000"/>
                <a:gd name="connsiteY198" fmla="*/ 4625 h 10126"/>
                <a:gd name="connsiteX199" fmla="*/ 8287 w 10000"/>
                <a:gd name="connsiteY199" fmla="*/ 4607 h 10126"/>
                <a:gd name="connsiteX200" fmla="*/ 8256 w 10000"/>
                <a:gd name="connsiteY200" fmla="*/ 4589 h 10126"/>
                <a:gd name="connsiteX201" fmla="*/ 8237 w 10000"/>
                <a:gd name="connsiteY201" fmla="*/ 4559 h 10126"/>
                <a:gd name="connsiteX202" fmla="*/ 8225 w 10000"/>
                <a:gd name="connsiteY202" fmla="*/ 4535 h 10126"/>
                <a:gd name="connsiteX203" fmla="*/ 8206 w 10000"/>
                <a:gd name="connsiteY203" fmla="*/ 4511 h 10126"/>
                <a:gd name="connsiteX204" fmla="*/ 8206 w 10000"/>
                <a:gd name="connsiteY204" fmla="*/ 4480 h 10126"/>
                <a:gd name="connsiteX205" fmla="*/ 8206 w 10000"/>
                <a:gd name="connsiteY205" fmla="*/ 4444 h 10126"/>
                <a:gd name="connsiteX206" fmla="*/ 8225 w 10000"/>
                <a:gd name="connsiteY206" fmla="*/ 4408 h 10126"/>
                <a:gd name="connsiteX207" fmla="*/ 8237 w 10000"/>
                <a:gd name="connsiteY207" fmla="*/ 4372 h 10126"/>
                <a:gd name="connsiteX208" fmla="*/ 8250 w 10000"/>
                <a:gd name="connsiteY208" fmla="*/ 4337 h 10126"/>
                <a:gd name="connsiteX209" fmla="*/ 8300 w 10000"/>
                <a:gd name="connsiteY209" fmla="*/ 4270 h 10126"/>
                <a:gd name="connsiteX210" fmla="*/ 8356 w 10000"/>
                <a:gd name="connsiteY210" fmla="*/ 4204 h 10126"/>
                <a:gd name="connsiteX211" fmla="*/ 8407 w 10000"/>
                <a:gd name="connsiteY211" fmla="*/ 4144 h 10126"/>
                <a:gd name="connsiteX212" fmla="*/ 8457 w 10000"/>
                <a:gd name="connsiteY212" fmla="*/ 4078 h 10126"/>
                <a:gd name="connsiteX213" fmla="*/ 8469 w 10000"/>
                <a:gd name="connsiteY213" fmla="*/ 4041 h 10126"/>
                <a:gd name="connsiteX214" fmla="*/ 8482 w 10000"/>
                <a:gd name="connsiteY214" fmla="*/ 4010 h 10126"/>
                <a:gd name="connsiteX215" fmla="*/ 8501 w 10000"/>
                <a:gd name="connsiteY215" fmla="*/ 3968 h 10126"/>
                <a:gd name="connsiteX216" fmla="*/ 8501 w 10000"/>
                <a:gd name="connsiteY216" fmla="*/ 3932 h 10126"/>
                <a:gd name="connsiteX217" fmla="*/ 7748 w 10000"/>
                <a:gd name="connsiteY217" fmla="*/ 3932 h 10126"/>
                <a:gd name="connsiteX218" fmla="*/ 7723 w 10000"/>
                <a:gd name="connsiteY218" fmla="*/ 3926 h 10126"/>
                <a:gd name="connsiteX219" fmla="*/ 7685 w 10000"/>
                <a:gd name="connsiteY219" fmla="*/ 3908 h 10126"/>
                <a:gd name="connsiteX220" fmla="*/ 7660 w 10000"/>
                <a:gd name="connsiteY220" fmla="*/ 3872 h 10126"/>
                <a:gd name="connsiteX221" fmla="*/ 7635 w 10000"/>
                <a:gd name="connsiteY221" fmla="*/ 3836 h 10126"/>
                <a:gd name="connsiteX222" fmla="*/ 7616 w 10000"/>
                <a:gd name="connsiteY222" fmla="*/ 3788 h 10126"/>
                <a:gd name="connsiteX223" fmla="*/ 7597 w 10000"/>
                <a:gd name="connsiteY223" fmla="*/ 3740 h 10126"/>
                <a:gd name="connsiteX224" fmla="*/ 7591 w 10000"/>
                <a:gd name="connsiteY224" fmla="*/ 3686 h 10126"/>
                <a:gd name="connsiteX225" fmla="*/ 7585 w 10000"/>
                <a:gd name="connsiteY225" fmla="*/ 3631 h 10126"/>
                <a:gd name="connsiteX226" fmla="*/ 7547 w 10000"/>
                <a:gd name="connsiteY226" fmla="*/ 3631 h 10126"/>
                <a:gd name="connsiteX227" fmla="*/ 7516 w 10000"/>
                <a:gd name="connsiteY227" fmla="*/ 3625 h 10126"/>
                <a:gd name="connsiteX228" fmla="*/ 7478 w 10000"/>
                <a:gd name="connsiteY228" fmla="*/ 3619 h 10126"/>
                <a:gd name="connsiteX229" fmla="*/ 7447 w 10000"/>
                <a:gd name="connsiteY229" fmla="*/ 3607 h 10126"/>
                <a:gd name="connsiteX230" fmla="*/ 7415 w 10000"/>
                <a:gd name="connsiteY230" fmla="*/ 3589 h 10126"/>
                <a:gd name="connsiteX231" fmla="*/ 7396 w 10000"/>
                <a:gd name="connsiteY231" fmla="*/ 3571 h 10126"/>
                <a:gd name="connsiteX232" fmla="*/ 7384 w 10000"/>
                <a:gd name="connsiteY232" fmla="*/ 3541 h 10126"/>
                <a:gd name="connsiteX233" fmla="*/ 7378 w 10000"/>
                <a:gd name="connsiteY233" fmla="*/ 3517 h 10126"/>
                <a:gd name="connsiteX234" fmla="*/ 7321 w 10000"/>
                <a:gd name="connsiteY234" fmla="*/ 3517 h 10126"/>
                <a:gd name="connsiteX235" fmla="*/ 7271 w 10000"/>
                <a:gd name="connsiteY235" fmla="*/ 3517 h 10126"/>
                <a:gd name="connsiteX236" fmla="*/ 7221 w 10000"/>
                <a:gd name="connsiteY236" fmla="*/ 3517 h 10126"/>
                <a:gd name="connsiteX237" fmla="*/ 7171 w 10000"/>
                <a:gd name="connsiteY237" fmla="*/ 3517 h 10126"/>
                <a:gd name="connsiteX238" fmla="*/ 7127 w 10000"/>
                <a:gd name="connsiteY238" fmla="*/ 3523 h 10126"/>
                <a:gd name="connsiteX239" fmla="*/ 7095 w 10000"/>
                <a:gd name="connsiteY239" fmla="*/ 3529 h 10126"/>
                <a:gd name="connsiteX240" fmla="*/ 7051 w 10000"/>
                <a:gd name="connsiteY240" fmla="*/ 3547 h 10126"/>
                <a:gd name="connsiteX241" fmla="*/ 7008 w 10000"/>
                <a:gd name="connsiteY241" fmla="*/ 3571 h 10126"/>
                <a:gd name="connsiteX242" fmla="*/ 6976 w 10000"/>
                <a:gd name="connsiteY242" fmla="*/ 3601 h 10126"/>
                <a:gd name="connsiteX243" fmla="*/ 6939 w 10000"/>
                <a:gd name="connsiteY243" fmla="*/ 3631 h 10126"/>
                <a:gd name="connsiteX244" fmla="*/ 6920 w 10000"/>
                <a:gd name="connsiteY244" fmla="*/ 3668 h 10126"/>
                <a:gd name="connsiteX245" fmla="*/ 6913 w 10000"/>
                <a:gd name="connsiteY245" fmla="*/ 3704 h 10126"/>
                <a:gd name="connsiteX246" fmla="*/ 6926 w 10000"/>
                <a:gd name="connsiteY246" fmla="*/ 3728 h 10126"/>
                <a:gd name="connsiteX247" fmla="*/ 6964 w 10000"/>
                <a:gd name="connsiteY247" fmla="*/ 3758 h 10126"/>
                <a:gd name="connsiteX248" fmla="*/ 7008 w 10000"/>
                <a:gd name="connsiteY248" fmla="*/ 3794 h 10126"/>
                <a:gd name="connsiteX249" fmla="*/ 7070 w 10000"/>
                <a:gd name="connsiteY249" fmla="*/ 3830 h 10126"/>
                <a:gd name="connsiteX250" fmla="*/ 7133 w 10000"/>
                <a:gd name="connsiteY250" fmla="*/ 3866 h 10126"/>
                <a:gd name="connsiteX251" fmla="*/ 7196 w 10000"/>
                <a:gd name="connsiteY251" fmla="*/ 3896 h 10126"/>
                <a:gd name="connsiteX252" fmla="*/ 7252 w 10000"/>
                <a:gd name="connsiteY252" fmla="*/ 3920 h 10126"/>
                <a:gd name="connsiteX253" fmla="*/ 7290 w 10000"/>
                <a:gd name="connsiteY253" fmla="*/ 3932 h 10126"/>
                <a:gd name="connsiteX254" fmla="*/ 7208 w 10000"/>
                <a:gd name="connsiteY254" fmla="*/ 3992 h 10126"/>
                <a:gd name="connsiteX255" fmla="*/ 7114 w 10000"/>
                <a:gd name="connsiteY255" fmla="*/ 4066 h 10126"/>
                <a:gd name="connsiteX256" fmla="*/ 7070 w 10000"/>
                <a:gd name="connsiteY256" fmla="*/ 4102 h 10126"/>
                <a:gd name="connsiteX257" fmla="*/ 7033 w 10000"/>
                <a:gd name="connsiteY257" fmla="*/ 4144 h 10126"/>
                <a:gd name="connsiteX258" fmla="*/ 7020 w 10000"/>
                <a:gd name="connsiteY258" fmla="*/ 4162 h 10126"/>
                <a:gd name="connsiteX259" fmla="*/ 7008 w 10000"/>
                <a:gd name="connsiteY259" fmla="*/ 4180 h 10126"/>
                <a:gd name="connsiteX260" fmla="*/ 7001 w 10000"/>
                <a:gd name="connsiteY260" fmla="*/ 4204 h 10126"/>
                <a:gd name="connsiteX261" fmla="*/ 6995 w 10000"/>
                <a:gd name="connsiteY261" fmla="*/ 4222 h 10126"/>
                <a:gd name="connsiteX262" fmla="*/ 7001 w 10000"/>
                <a:gd name="connsiteY262" fmla="*/ 4252 h 10126"/>
                <a:gd name="connsiteX263" fmla="*/ 7008 w 10000"/>
                <a:gd name="connsiteY263" fmla="*/ 4270 h 10126"/>
                <a:gd name="connsiteX264" fmla="*/ 7026 w 10000"/>
                <a:gd name="connsiteY264" fmla="*/ 4295 h 10126"/>
                <a:gd name="connsiteX265" fmla="*/ 7039 w 10000"/>
                <a:gd name="connsiteY265" fmla="*/ 4319 h 10126"/>
                <a:gd name="connsiteX266" fmla="*/ 7089 w 10000"/>
                <a:gd name="connsiteY266" fmla="*/ 4366 h 10126"/>
                <a:gd name="connsiteX267" fmla="*/ 7146 w 10000"/>
                <a:gd name="connsiteY267" fmla="*/ 4414 h 10126"/>
                <a:gd name="connsiteX268" fmla="*/ 7208 w 10000"/>
                <a:gd name="connsiteY268" fmla="*/ 4456 h 10126"/>
                <a:gd name="connsiteX269" fmla="*/ 7277 w 10000"/>
                <a:gd name="connsiteY269" fmla="*/ 4493 h 10126"/>
                <a:gd name="connsiteX270" fmla="*/ 7315 w 10000"/>
                <a:gd name="connsiteY270" fmla="*/ 4505 h 10126"/>
                <a:gd name="connsiteX271" fmla="*/ 7346 w 10000"/>
                <a:gd name="connsiteY271" fmla="*/ 4511 h 10126"/>
                <a:gd name="connsiteX272" fmla="*/ 7384 w 10000"/>
                <a:gd name="connsiteY272" fmla="*/ 4517 h 10126"/>
                <a:gd name="connsiteX273" fmla="*/ 7415 w 10000"/>
                <a:gd name="connsiteY273" fmla="*/ 4523 h 10126"/>
                <a:gd name="connsiteX274" fmla="*/ 7585 w 10000"/>
                <a:gd name="connsiteY274" fmla="*/ 5150 h 10126"/>
                <a:gd name="connsiteX275" fmla="*/ 7491 w 10000"/>
                <a:gd name="connsiteY275" fmla="*/ 5150 h 10126"/>
                <a:gd name="connsiteX276" fmla="*/ 7403 w 10000"/>
                <a:gd name="connsiteY276" fmla="*/ 5150 h 10126"/>
                <a:gd name="connsiteX277" fmla="*/ 7321 w 10000"/>
                <a:gd name="connsiteY277" fmla="*/ 5150 h 10126"/>
                <a:gd name="connsiteX278" fmla="*/ 7252 w 10000"/>
                <a:gd name="connsiteY278" fmla="*/ 5150 h 10126"/>
                <a:gd name="connsiteX279" fmla="*/ 7208 w 10000"/>
                <a:gd name="connsiteY279" fmla="*/ 5144 h 10126"/>
                <a:gd name="connsiteX280" fmla="*/ 7164 w 10000"/>
                <a:gd name="connsiteY280" fmla="*/ 5113 h 10126"/>
                <a:gd name="connsiteX281" fmla="*/ 7133 w 10000"/>
                <a:gd name="connsiteY281" fmla="*/ 5101 h 10126"/>
                <a:gd name="connsiteX282" fmla="*/ 7102 w 10000"/>
                <a:gd name="connsiteY282" fmla="*/ 5089 h 10126"/>
                <a:gd name="connsiteX283" fmla="*/ 7070 w 10000"/>
                <a:gd name="connsiteY283" fmla="*/ 5083 h 10126"/>
                <a:gd name="connsiteX284" fmla="*/ 7039 w 10000"/>
                <a:gd name="connsiteY284" fmla="*/ 5077 h 10126"/>
                <a:gd name="connsiteX285" fmla="*/ 7008 w 10000"/>
                <a:gd name="connsiteY285" fmla="*/ 5089 h 10126"/>
                <a:gd name="connsiteX286" fmla="*/ 6957 w 10000"/>
                <a:gd name="connsiteY286" fmla="*/ 5119 h 10126"/>
                <a:gd name="connsiteX287" fmla="*/ 6895 w 10000"/>
                <a:gd name="connsiteY287" fmla="*/ 5162 h 10126"/>
                <a:gd name="connsiteX288" fmla="*/ 6819 w 10000"/>
                <a:gd name="connsiteY288" fmla="*/ 5210 h 10126"/>
                <a:gd name="connsiteX289" fmla="*/ 6744 w 10000"/>
                <a:gd name="connsiteY289" fmla="*/ 5270 h 10126"/>
                <a:gd name="connsiteX290" fmla="*/ 6681 w 10000"/>
                <a:gd name="connsiteY290" fmla="*/ 5318 h 10126"/>
                <a:gd name="connsiteX291" fmla="*/ 6637 w 10000"/>
                <a:gd name="connsiteY291" fmla="*/ 5354 h 10126"/>
                <a:gd name="connsiteX292" fmla="*/ 6625 w 10000"/>
                <a:gd name="connsiteY292" fmla="*/ 5378 h 10126"/>
                <a:gd name="connsiteX293" fmla="*/ 6750 w 10000"/>
                <a:gd name="connsiteY293" fmla="*/ 5450 h 10126"/>
                <a:gd name="connsiteX294" fmla="*/ 6744 w 10000"/>
                <a:gd name="connsiteY294" fmla="*/ 5487 h 10126"/>
                <a:gd name="connsiteX295" fmla="*/ 6725 w 10000"/>
                <a:gd name="connsiteY295" fmla="*/ 5529 h 10126"/>
                <a:gd name="connsiteX296" fmla="*/ 6706 w 10000"/>
                <a:gd name="connsiteY296" fmla="*/ 5560 h 10126"/>
                <a:gd name="connsiteX297" fmla="*/ 6688 w 10000"/>
                <a:gd name="connsiteY297" fmla="*/ 5602 h 10126"/>
                <a:gd name="connsiteX298" fmla="*/ 6637 w 10000"/>
                <a:gd name="connsiteY298" fmla="*/ 5656 h 10126"/>
                <a:gd name="connsiteX299" fmla="*/ 6581 w 10000"/>
                <a:gd name="connsiteY299" fmla="*/ 5710 h 10126"/>
                <a:gd name="connsiteX300" fmla="*/ 6518 w 10000"/>
                <a:gd name="connsiteY300" fmla="*/ 5758 h 10126"/>
                <a:gd name="connsiteX301" fmla="*/ 6443 w 10000"/>
                <a:gd name="connsiteY301" fmla="*/ 5801 h 10126"/>
                <a:gd name="connsiteX302" fmla="*/ 6374 w 10000"/>
                <a:gd name="connsiteY302" fmla="*/ 5837 h 10126"/>
                <a:gd name="connsiteX303" fmla="*/ 6299 w 10000"/>
                <a:gd name="connsiteY303" fmla="*/ 5872 h 10126"/>
                <a:gd name="connsiteX304" fmla="*/ 6223 w 10000"/>
                <a:gd name="connsiteY304" fmla="*/ 5920 h 10126"/>
                <a:gd name="connsiteX305" fmla="*/ 6154 w 10000"/>
                <a:gd name="connsiteY305" fmla="*/ 5956 h 10126"/>
                <a:gd name="connsiteX306" fmla="*/ 6092 w 10000"/>
                <a:gd name="connsiteY306" fmla="*/ 5999 h 10126"/>
                <a:gd name="connsiteX307" fmla="*/ 6035 w 10000"/>
                <a:gd name="connsiteY307" fmla="*/ 6047 h 10126"/>
                <a:gd name="connsiteX308" fmla="*/ 6004 w 10000"/>
                <a:gd name="connsiteY308" fmla="*/ 6071 h 10126"/>
                <a:gd name="connsiteX309" fmla="*/ 5985 w 10000"/>
                <a:gd name="connsiteY309" fmla="*/ 6095 h 10126"/>
                <a:gd name="connsiteX310" fmla="*/ 5966 w 10000"/>
                <a:gd name="connsiteY310" fmla="*/ 6125 h 10126"/>
                <a:gd name="connsiteX311" fmla="*/ 5947 w 10000"/>
                <a:gd name="connsiteY311" fmla="*/ 6155 h 10126"/>
                <a:gd name="connsiteX312" fmla="*/ 5935 w 10000"/>
                <a:gd name="connsiteY312" fmla="*/ 6193 h 10126"/>
                <a:gd name="connsiteX313" fmla="*/ 5922 w 10000"/>
                <a:gd name="connsiteY313" fmla="*/ 6223 h 10126"/>
                <a:gd name="connsiteX314" fmla="*/ 5916 w 10000"/>
                <a:gd name="connsiteY314" fmla="*/ 6265 h 10126"/>
                <a:gd name="connsiteX315" fmla="*/ 5916 w 10000"/>
                <a:gd name="connsiteY315" fmla="*/ 6307 h 10126"/>
                <a:gd name="connsiteX316" fmla="*/ 5859 w 10000"/>
                <a:gd name="connsiteY316" fmla="*/ 6325 h 10126"/>
                <a:gd name="connsiteX317" fmla="*/ 5809 w 10000"/>
                <a:gd name="connsiteY317" fmla="*/ 6343 h 10126"/>
                <a:gd name="connsiteX318" fmla="*/ 5765 w 10000"/>
                <a:gd name="connsiteY318" fmla="*/ 6366 h 10126"/>
                <a:gd name="connsiteX319" fmla="*/ 5721 w 10000"/>
                <a:gd name="connsiteY319" fmla="*/ 6390 h 10126"/>
                <a:gd name="connsiteX320" fmla="*/ 5634 w 10000"/>
                <a:gd name="connsiteY320" fmla="*/ 6451 h 10126"/>
                <a:gd name="connsiteX321" fmla="*/ 5558 w 10000"/>
                <a:gd name="connsiteY321" fmla="*/ 6523 h 10126"/>
                <a:gd name="connsiteX322" fmla="*/ 5420 w 10000"/>
                <a:gd name="connsiteY322" fmla="*/ 6686 h 10126"/>
                <a:gd name="connsiteX323" fmla="*/ 5289 w 10000"/>
                <a:gd name="connsiteY323" fmla="*/ 6860 h 10126"/>
                <a:gd name="connsiteX324" fmla="*/ 5220 w 10000"/>
                <a:gd name="connsiteY324" fmla="*/ 6951 h 10126"/>
                <a:gd name="connsiteX325" fmla="*/ 5151 w 10000"/>
                <a:gd name="connsiteY325" fmla="*/ 7029 h 10126"/>
                <a:gd name="connsiteX326" fmla="*/ 5075 w 10000"/>
                <a:gd name="connsiteY326" fmla="*/ 7102 h 10126"/>
                <a:gd name="connsiteX327" fmla="*/ 4994 w 10000"/>
                <a:gd name="connsiteY327" fmla="*/ 7168 h 10126"/>
                <a:gd name="connsiteX328" fmla="*/ 4944 w 10000"/>
                <a:gd name="connsiteY328" fmla="*/ 7198 h 10126"/>
                <a:gd name="connsiteX329" fmla="*/ 4893 w 10000"/>
                <a:gd name="connsiteY329" fmla="*/ 7222 h 10126"/>
                <a:gd name="connsiteX330" fmla="*/ 4849 w 10000"/>
                <a:gd name="connsiteY330" fmla="*/ 7246 h 10126"/>
                <a:gd name="connsiteX331" fmla="*/ 4793 w 10000"/>
                <a:gd name="connsiteY331" fmla="*/ 7271 h 10126"/>
                <a:gd name="connsiteX332" fmla="*/ 4730 w 10000"/>
                <a:gd name="connsiteY332" fmla="*/ 7289 h 10126"/>
                <a:gd name="connsiteX333" fmla="*/ 4674 w 10000"/>
                <a:gd name="connsiteY333" fmla="*/ 7301 h 10126"/>
                <a:gd name="connsiteX334" fmla="*/ 4605 w 10000"/>
                <a:gd name="connsiteY334" fmla="*/ 7307 h 10126"/>
                <a:gd name="connsiteX335" fmla="*/ 4536 w 10000"/>
                <a:gd name="connsiteY335" fmla="*/ 7307 h 10126"/>
                <a:gd name="connsiteX336" fmla="*/ 4536 w 10000"/>
                <a:gd name="connsiteY336" fmla="*/ 7360 h 10126"/>
                <a:gd name="connsiteX337" fmla="*/ 4536 w 10000"/>
                <a:gd name="connsiteY337" fmla="*/ 7414 h 10126"/>
                <a:gd name="connsiteX338" fmla="*/ 4536 w 10000"/>
                <a:gd name="connsiteY338" fmla="*/ 7456 h 10126"/>
                <a:gd name="connsiteX339" fmla="*/ 4536 w 10000"/>
                <a:gd name="connsiteY339" fmla="*/ 7493 h 10126"/>
                <a:gd name="connsiteX340" fmla="*/ 4536 w 10000"/>
                <a:gd name="connsiteY340" fmla="*/ 7559 h 10126"/>
                <a:gd name="connsiteX341" fmla="*/ 4536 w 10000"/>
                <a:gd name="connsiteY341" fmla="*/ 7662 h 10126"/>
                <a:gd name="connsiteX342" fmla="*/ 4536 w 10000"/>
                <a:gd name="connsiteY342" fmla="*/ 7771 h 10126"/>
                <a:gd name="connsiteX343" fmla="*/ 4548 w 10000"/>
                <a:gd name="connsiteY343" fmla="*/ 7884 h 10126"/>
                <a:gd name="connsiteX344" fmla="*/ 4561 w 10000"/>
                <a:gd name="connsiteY344" fmla="*/ 7945 h 10126"/>
                <a:gd name="connsiteX345" fmla="*/ 4573 w 10000"/>
                <a:gd name="connsiteY345" fmla="*/ 7999 h 10126"/>
                <a:gd name="connsiteX346" fmla="*/ 4586 w 10000"/>
                <a:gd name="connsiteY346" fmla="*/ 8047 h 10126"/>
                <a:gd name="connsiteX347" fmla="*/ 4611 w 10000"/>
                <a:gd name="connsiteY347" fmla="*/ 8089 h 10126"/>
                <a:gd name="connsiteX348" fmla="*/ 4636 w 10000"/>
                <a:gd name="connsiteY348" fmla="*/ 8132 h 10126"/>
                <a:gd name="connsiteX349" fmla="*/ 4668 w 10000"/>
                <a:gd name="connsiteY349" fmla="*/ 8162 h 10126"/>
                <a:gd name="connsiteX350" fmla="*/ 4705 w 10000"/>
                <a:gd name="connsiteY350" fmla="*/ 8186 h 10126"/>
                <a:gd name="connsiteX351" fmla="*/ 4749 w 10000"/>
                <a:gd name="connsiteY351" fmla="*/ 8198 h 10126"/>
                <a:gd name="connsiteX352" fmla="*/ 4711 w 10000"/>
                <a:gd name="connsiteY352" fmla="*/ 8294 h 10126"/>
                <a:gd name="connsiteX353" fmla="*/ 4668 w 10000"/>
                <a:gd name="connsiteY353" fmla="*/ 8379 h 10126"/>
                <a:gd name="connsiteX354" fmla="*/ 4617 w 10000"/>
                <a:gd name="connsiteY354" fmla="*/ 8457 h 10126"/>
                <a:gd name="connsiteX355" fmla="*/ 4573 w 10000"/>
                <a:gd name="connsiteY355" fmla="*/ 8529 h 10126"/>
                <a:gd name="connsiteX356" fmla="*/ 4523 w 10000"/>
                <a:gd name="connsiteY356" fmla="*/ 8614 h 10126"/>
                <a:gd name="connsiteX357" fmla="*/ 4492 w 10000"/>
                <a:gd name="connsiteY357" fmla="*/ 8692 h 10126"/>
                <a:gd name="connsiteX358" fmla="*/ 4473 w 10000"/>
                <a:gd name="connsiteY358" fmla="*/ 8728 h 10126"/>
                <a:gd name="connsiteX359" fmla="*/ 4467 w 10000"/>
                <a:gd name="connsiteY359" fmla="*/ 8771 h 10126"/>
                <a:gd name="connsiteX360" fmla="*/ 4460 w 10000"/>
                <a:gd name="connsiteY360" fmla="*/ 8819 h 10126"/>
                <a:gd name="connsiteX361" fmla="*/ 4454 w 10000"/>
                <a:gd name="connsiteY361" fmla="*/ 8861 h 10126"/>
                <a:gd name="connsiteX362" fmla="*/ 4460 w 10000"/>
                <a:gd name="connsiteY362" fmla="*/ 8878 h 10126"/>
                <a:gd name="connsiteX363" fmla="*/ 4467 w 10000"/>
                <a:gd name="connsiteY363" fmla="*/ 8890 h 10126"/>
                <a:gd name="connsiteX364" fmla="*/ 4479 w 10000"/>
                <a:gd name="connsiteY364" fmla="*/ 8902 h 10126"/>
                <a:gd name="connsiteX365" fmla="*/ 4504 w 10000"/>
                <a:gd name="connsiteY365" fmla="*/ 8914 h 10126"/>
                <a:gd name="connsiteX366" fmla="*/ 4542 w 10000"/>
                <a:gd name="connsiteY366" fmla="*/ 8938 h 10126"/>
                <a:gd name="connsiteX367" fmla="*/ 4580 w 10000"/>
                <a:gd name="connsiteY367" fmla="*/ 8944 h 10126"/>
                <a:gd name="connsiteX368" fmla="*/ 4580 w 10000"/>
                <a:gd name="connsiteY368" fmla="*/ 9162 h 10126"/>
                <a:gd name="connsiteX369" fmla="*/ 4529 w 10000"/>
                <a:gd name="connsiteY369" fmla="*/ 9247 h 10126"/>
                <a:gd name="connsiteX370" fmla="*/ 4492 w 10000"/>
                <a:gd name="connsiteY370" fmla="*/ 9337 h 10126"/>
                <a:gd name="connsiteX371" fmla="*/ 4460 w 10000"/>
                <a:gd name="connsiteY371" fmla="*/ 9372 h 10126"/>
                <a:gd name="connsiteX372" fmla="*/ 4429 w 10000"/>
                <a:gd name="connsiteY372" fmla="*/ 9397 h 10126"/>
                <a:gd name="connsiteX373" fmla="*/ 4404 w 10000"/>
                <a:gd name="connsiteY373" fmla="*/ 9409 h 10126"/>
                <a:gd name="connsiteX374" fmla="*/ 4385 w 10000"/>
                <a:gd name="connsiteY374" fmla="*/ 9415 h 10126"/>
                <a:gd name="connsiteX375" fmla="*/ 4360 w 10000"/>
                <a:gd name="connsiteY375" fmla="*/ 9421 h 10126"/>
                <a:gd name="connsiteX376" fmla="*/ 4329 w 10000"/>
                <a:gd name="connsiteY376" fmla="*/ 9421 h 10126"/>
                <a:gd name="connsiteX377" fmla="*/ 4329 w 10000"/>
                <a:gd name="connsiteY377" fmla="*/ 9469 h 10126"/>
                <a:gd name="connsiteX378" fmla="*/ 4335 w 10000"/>
                <a:gd name="connsiteY378" fmla="*/ 9529 h 10126"/>
                <a:gd name="connsiteX379" fmla="*/ 4348 w 10000"/>
                <a:gd name="connsiteY379" fmla="*/ 9559 h 10126"/>
                <a:gd name="connsiteX380" fmla="*/ 4354 w 10000"/>
                <a:gd name="connsiteY380" fmla="*/ 9583 h 10126"/>
                <a:gd name="connsiteX381" fmla="*/ 4360 w 10000"/>
                <a:gd name="connsiteY381" fmla="*/ 9602 h 10126"/>
                <a:gd name="connsiteX382" fmla="*/ 4373 w 10000"/>
                <a:gd name="connsiteY382" fmla="*/ 9608 h 10126"/>
                <a:gd name="connsiteX383" fmla="*/ 4210 w 10000"/>
                <a:gd name="connsiteY383" fmla="*/ 9734 h 10126"/>
                <a:gd name="connsiteX384" fmla="*/ 4072 w 10000"/>
                <a:gd name="connsiteY384" fmla="*/ 9838 h 10126"/>
                <a:gd name="connsiteX385" fmla="*/ 4009 w 10000"/>
                <a:gd name="connsiteY385" fmla="*/ 9897 h 10126"/>
                <a:gd name="connsiteX386" fmla="*/ 3952 w 10000"/>
                <a:gd name="connsiteY386" fmla="*/ 9963 h 10126"/>
                <a:gd name="connsiteX387" fmla="*/ 3890 w 10000"/>
                <a:gd name="connsiteY387" fmla="*/ 10042 h 10126"/>
                <a:gd name="connsiteX388" fmla="*/ 3833 w 10000"/>
                <a:gd name="connsiteY388" fmla="*/ 10126 h 10126"/>
                <a:gd name="connsiteX389" fmla="*/ 3733 w 10000"/>
                <a:gd name="connsiteY389" fmla="*/ 10084 h 10126"/>
                <a:gd name="connsiteX390" fmla="*/ 3664 w 10000"/>
                <a:gd name="connsiteY390" fmla="*/ 10042 h 10126"/>
                <a:gd name="connsiteX391" fmla="*/ 3607 w 10000"/>
                <a:gd name="connsiteY391" fmla="*/ 9999 h 10126"/>
                <a:gd name="connsiteX392" fmla="*/ 3563 w 10000"/>
                <a:gd name="connsiteY392" fmla="*/ 9951 h 10126"/>
                <a:gd name="connsiteX393" fmla="*/ 3532 w 10000"/>
                <a:gd name="connsiteY393" fmla="*/ 9891 h 10126"/>
                <a:gd name="connsiteX394" fmla="*/ 3513 w 10000"/>
                <a:gd name="connsiteY394" fmla="*/ 9832 h 10126"/>
                <a:gd name="connsiteX395" fmla="*/ 3482 w 10000"/>
                <a:gd name="connsiteY395" fmla="*/ 9758 h 10126"/>
                <a:gd name="connsiteX396" fmla="*/ 3457 w 10000"/>
                <a:gd name="connsiteY396" fmla="*/ 9686 h 10126"/>
                <a:gd name="connsiteX397" fmla="*/ 3400 w 10000"/>
                <a:gd name="connsiteY397" fmla="*/ 9547 h 10126"/>
                <a:gd name="connsiteX398" fmla="*/ 3325 w 10000"/>
                <a:gd name="connsiteY398" fmla="*/ 9415 h 10126"/>
                <a:gd name="connsiteX399" fmla="*/ 3237 w 10000"/>
                <a:gd name="connsiteY399" fmla="*/ 9277 h 10126"/>
                <a:gd name="connsiteX400" fmla="*/ 3143 w 10000"/>
                <a:gd name="connsiteY400" fmla="*/ 9132 h 10126"/>
                <a:gd name="connsiteX401" fmla="*/ 3049 w 10000"/>
                <a:gd name="connsiteY401" fmla="*/ 8999 h 10126"/>
                <a:gd name="connsiteX402" fmla="*/ 2967 w 10000"/>
                <a:gd name="connsiteY402" fmla="*/ 8867 h 10126"/>
                <a:gd name="connsiteX403" fmla="*/ 2892 w 10000"/>
                <a:gd name="connsiteY403" fmla="*/ 8747 h 10126"/>
                <a:gd name="connsiteX404" fmla="*/ 2829 w 10000"/>
                <a:gd name="connsiteY404" fmla="*/ 8644 h 10126"/>
                <a:gd name="connsiteX405" fmla="*/ 2773 w 10000"/>
                <a:gd name="connsiteY405" fmla="*/ 8529 h 10126"/>
                <a:gd name="connsiteX406" fmla="*/ 2735 w 10000"/>
                <a:gd name="connsiteY406" fmla="*/ 8427 h 10126"/>
                <a:gd name="connsiteX407" fmla="*/ 2698 w 10000"/>
                <a:gd name="connsiteY407" fmla="*/ 8319 h 10126"/>
                <a:gd name="connsiteX408" fmla="*/ 2666 w 10000"/>
                <a:gd name="connsiteY408" fmla="*/ 8210 h 10126"/>
                <a:gd name="connsiteX409" fmla="*/ 2629 w 10000"/>
                <a:gd name="connsiteY409" fmla="*/ 8101 h 10126"/>
                <a:gd name="connsiteX410" fmla="*/ 2597 w 10000"/>
                <a:gd name="connsiteY410" fmla="*/ 7993 h 10126"/>
                <a:gd name="connsiteX411" fmla="*/ 2553 w 10000"/>
                <a:gd name="connsiteY411" fmla="*/ 7872 h 10126"/>
                <a:gd name="connsiteX412" fmla="*/ 2497 w 10000"/>
                <a:gd name="connsiteY412" fmla="*/ 7753 h 10126"/>
                <a:gd name="connsiteX413" fmla="*/ 2359 w 10000"/>
                <a:gd name="connsiteY413" fmla="*/ 7559 h 10126"/>
                <a:gd name="connsiteX414" fmla="*/ 2208 w 10000"/>
                <a:gd name="connsiteY414" fmla="*/ 7378 h 10126"/>
                <a:gd name="connsiteX415" fmla="*/ 2139 w 10000"/>
                <a:gd name="connsiteY415" fmla="*/ 7295 h 10126"/>
                <a:gd name="connsiteX416" fmla="*/ 2070 w 10000"/>
                <a:gd name="connsiteY416" fmla="*/ 7198 h 10126"/>
                <a:gd name="connsiteX417" fmla="*/ 2008 w 10000"/>
                <a:gd name="connsiteY417" fmla="*/ 7108 h 10126"/>
                <a:gd name="connsiteX418" fmla="*/ 1957 w 10000"/>
                <a:gd name="connsiteY418" fmla="*/ 7011 h 10126"/>
                <a:gd name="connsiteX419" fmla="*/ 1888 w 10000"/>
                <a:gd name="connsiteY419" fmla="*/ 6776 h 10126"/>
                <a:gd name="connsiteX420" fmla="*/ 1832 w 10000"/>
                <a:gd name="connsiteY420" fmla="*/ 6559 h 10126"/>
                <a:gd name="connsiteX421" fmla="*/ 1782 w 10000"/>
                <a:gd name="connsiteY421" fmla="*/ 6349 h 10126"/>
                <a:gd name="connsiteX422" fmla="*/ 1757 w 10000"/>
                <a:gd name="connsiteY422" fmla="*/ 6137 h 10126"/>
                <a:gd name="connsiteX423" fmla="*/ 1725 w 10000"/>
                <a:gd name="connsiteY423" fmla="*/ 5932 h 10126"/>
                <a:gd name="connsiteX424" fmla="*/ 1713 w 10000"/>
                <a:gd name="connsiteY424" fmla="*/ 5716 h 10126"/>
                <a:gd name="connsiteX425" fmla="*/ 1706 w 10000"/>
                <a:gd name="connsiteY425" fmla="*/ 5493 h 10126"/>
                <a:gd name="connsiteX426" fmla="*/ 1706 w 10000"/>
                <a:gd name="connsiteY426" fmla="*/ 5270 h 10126"/>
                <a:gd name="connsiteX427" fmla="*/ 1681 w 10000"/>
                <a:gd name="connsiteY427" fmla="*/ 5264 h 10126"/>
                <a:gd name="connsiteX428" fmla="*/ 1650 w 10000"/>
                <a:gd name="connsiteY428" fmla="*/ 5258 h 10126"/>
                <a:gd name="connsiteX429" fmla="*/ 1625 w 10000"/>
                <a:gd name="connsiteY429" fmla="*/ 5252 h 10126"/>
                <a:gd name="connsiteX430" fmla="*/ 1606 w 10000"/>
                <a:gd name="connsiteY430" fmla="*/ 5228 h 10126"/>
                <a:gd name="connsiteX431" fmla="*/ 1581 w 10000"/>
                <a:gd name="connsiteY431" fmla="*/ 5216 h 10126"/>
                <a:gd name="connsiteX432" fmla="*/ 1568 w 10000"/>
                <a:gd name="connsiteY432" fmla="*/ 5198 h 10126"/>
                <a:gd name="connsiteX433" fmla="*/ 1550 w 10000"/>
                <a:gd name="connsiteY433" fmla="*/ 5174 h 10126"/>
                <a:gd name="connsiteX434" fmla="*/ 1543 w 10000"/>
                <a:gd name="connsiteY434" fmla="*/ 5150 h 10126"/>
                <a:gd name="connsiteX435" fmla="*/ 1518 w 10000"/>
                <a:gd name="connsiteY435" fmla="*/ 5101 h 10126"/>
                <a:gd name="connsiteX436" fmla="*/ 1506 w 10000"/>
                <a:gd name="connsiteY436" fmla="*/ 5047 h 10126"/>
                <a:gd name="connsiteX437" fmla="*/ 1499 w 10000"/>
                <a:gd name="connsiteY437" fmla="*/ 4987 h 10126"/>
                <a:gd name="connsiteX438" fmla="*/ 1499 w 10000"/>
                <a:gd name="connsiteY438" fmla="*/ 4933 h 10126"/>
                <a:gd name="connsiteX439" fmla="*/ 1443 w 10000"/>
                <a:gd name="connsiteY439" fmla="*/ 4969 h 10126"/>
                <a:gd name="connsiteX440" fmla="*/ 1405 w 10000"/>
                <a:gd name="connsiteY440" fmla="*/ 5011 h 10126"/>
                <a:gd name="connsiteX441" fmla="*/ 1361 w 10000"/>
                <a:gd name="connsiteY441" fmla="*/ 5053 h 10126"/>
                <a:gd name="connsiteX442" fmla="*/ 1317 w 10000"/>
                <a:gd name="connsiteY442" fmla="*/ 5101 h 10126"/>
                <a:gd name="connsiteX443" fmla="*/ 1261 w 10000"/>
                <a:gd name="connsiteY443" fmla="*/ 5198 h 10126"/>
                <a:gd name="connsiteX444" fmla="*/ 1205 w 10000"/>
                <a:gd name="connsiteY444" fmla="*/ 5300 h 10126"/>
                <a:gd name="connsiteX445" fmla="*/ 1167 w 10000"/>
                <a:gd name="connsiteY445" fmla="*/ 5343 h 10126"/>
                <a:gd name="connsiteX446" fmla="*/ 1142 w 10000"/>
                <a:gd name="connsiteY446" fmla="*/ 5384 h 10126"/>
                <a:gd name="connsiteX447" fmla="*/ 1104 w 10000"/>
                <a:gd name="connsiteY447" fmla="*/ 5426 h 10126"/>
                <a:gd name="connsiteX448" fmla="*/ 1073 w 10000"/>
                <a:gd name="connsiteY448" fmla="*/ 5456 h 10126"/>
                <a:gd name="connsiteX449" fmla="*/ 1029 w 10000"/>
                <a:gd name="connsiteY449" fmla="*/ 5487 h 10126"/>
                <a:gd name="connsiteX450" fmla="*/ 985 w 10000"/>
                <a:gd name="connsiteY450" fmla="*/ 5505 h 10126"/>
                <a:gd name="connsiteX451" fmla="*/ 928 w 10000"/>
                <a:gd name="connsiteY451" fmla="*/ 5517 h 10126"/>
                <a:gd name="connsiteX452" fmla="*/ 872 w 10000"/>
                <a:gd name="connsiteY452" fmla="*/ 5523 h 10126"/>
                <a:gd name="connsiteX453" fmla="*/ 841 w 10000"/>
                <a:gd name="connsiteY453" fmla="*/ 5517 h 10126"/>
                <a:gd name="connsiteX454" fmla="*/ 797 w 10000"/>
                <a:gd name="connsiteY454" fmla="*/ 5505 h 10126"/>
                <a:gd name="connsiteX455" fmla="*/ 753 w 10000"/>
                <a:gd name="connsiteY455" fmla="*/ 5487 h 10126"/>
                <a:gd name="connsiteX456" fmla="*/ 709 w 10000"/>
                <a:gd name="connsiteY456" fmla="*/ 5456 h 10126"/>
                <a:gd name="connsiteX457" fmla="*/ 659 w 10000"/>
                <a:gd name="connsiteY457" fmla="*/ 5420 h 10126"/>
                <a:gd name="connsiteX458" fmla="*/ 609 w 10000"/>
                <a:gd name="connsiteY458" fmla="*/ 5384 h 10126"/>
                <a:gd name="connsiteX459" fmla="*/ 565 w 10000"/>
                <a:gd name="connsiteY459" fmla="*/ 5343 h 10126"/>
                <a:gd name="connsiteX460" fmla="*/ 514 w 10000"/>
                <a:gd name="connsiteY460" fmla="*/ 5294 h 10126"/>
                <a:gd name="connsiteX461" fmla="*/ 471 w 10000"/>
                <a:gd name="connsiteY461" fmla="*/ 5246 h 10126"/>
                <a:gd name="connsiteX462" fmla="*/ 433 w 10000"/>
                <a:gd name="connsiteY462" fmla="*/ 5192 h 10126"/>
                <a:gd name="connsiteX463" fmla="*/ 389 w 10000"/>
                <a:gd name="connsiteY463" fmla="*/ 5138 h 10126"/>
                <a:gd name="connsiteX464" fmla="*/ 358 w 10000"/>
                <a:gd name="connsiteY464" fmla="*/ 5083 h 10126"/>
                <a:gd name="connsiteX465" fmla="*/ 326 w 10000"/>
                <a:gd name="connsiteY465" fmla="*/ 5035 h 10126"/>
                <a:gd name="connsiteX466" fmla="*/ 307 w 10000"/>
                <a:gd name="connsiteY466" fmla="*/ 4987 h 10126"/>
                <a:gd name="connsiteX467" fmla="*/ 295 w 10000"/>
                <a:gd name="connsiteY467" fmla="*/ 4939 h 10126"/>
                <a:gd name="connsiteX468" fmla="*/ 289 w 10000"/>
                <a:gd name="connsiteY468" fmla="*/ 4890 h 10126"/>
                <a:gd name="connsiteX469" fmla="*/ 320 w 10000"/>
                <a:gd name="connsiteY469" fmla="*/ 4872 h 10126"/>
                <a:gd name="connsiteX470" fmla="*/ 395 w 10000"/>
                <a:gd name="connsiteY470" fmla="*/ 4837 h 10126"/>
                <a:gd name="connsiteX471" fmla="*/ 483 w 10000"/>
                <a:gd name="connsiteY471" fmla="*/ 4801 h 10126"/>
                <a:gd name="connsiteX472" fmla="*/ 533 w 10000"/>
                <a:gd name="connsiteY472" fmla="*/ 4783 h 10126"/>
                <a:gd name="connsiteX473" fmla="*/ 483 w 10000"/>
                <a:gd name="connsiteY473" fmla="*/ 4783 h 10126"/>
                <a:gd name="connsiteX474" fmla="*/ 420 w 10000"/>
                <a:gd name="connsiteY474" fmla="*/ 4777 h 10126"/>
                <a:gd name="connsiteX475" fmla="*/ 370 w 10000"/>
                <a:gd name="connsiteY475" fmla="*/ 4765 h 10126"/>
                <a:gd name="connsiteX476" fmla="*/ 320 w 10000"/>
                <a:gd name="connsiteY476" fmla="*/ 4759 h 10126"/>
                <a:gd name="connsiteX477" fmla="*/ 276 w 10000"/>
                <a:gd name="connsiteY477" fmla="*/ 4740 h 10126"/>
                <a:gd name="connsiteX478" fmla="*/ 232 w 10000"/>
                <a:gd name="connsiteY478" fmla="*/ 4728 h 10126"/>
                <a:gd name="connsiteX479" fmla="*/ 188 w 10000"/>
                <a:gd name="connsiteY479" fmla="*/ 4710 h 10126"/>
                <a:gd name="connsiteX480" fmla="*/ 157 w 10000"/>
                <a:gd name="connsiteY480" fmla="*/ 4685 h 10126"/>
                <a:gd name="connsiteX481" fmla="*/ 132 w 10000"/>
                <a:gd name="connsiteY481" fmla="*/ 4661 h 10126"/>
                <a:gd name="connsiteX482" fmla="*/ 100 w 10000"/>
                <a:gd name="connsiteY482" fmla="*/ 4637 h 10126"/>
                <a:gd name="connsiteX483" fmla="*/ 75 w 10000"/>
                <a:gd name="connsiteY483" fmla="*/ 4607 h 10126"/>
                <a:gd name="connsiteX484" fmla="*/ 50 w 10000"/>
                <a:gd name="connsiteY484" fmla="*/ 4583 h 10126"/>
                <a:gd name="connsiteX485" fmla="*/ 19 w 10000"/>
                <a:gd name="connsiteY485" fmla="*/ 4511 h 10126"/>
                <a:gd name="connsiteX486" fmla="*/ 0 w 10000"/>
                <a:gd name="connsiteY486" fmla="*/ 4444 h 10126"/>
                <a:gd name="connsiteX487" fmla="*/ 63 w 10000"/>
                <a:gd name="connsiteY487" fmla="*/ 4396 h 10126"/>
                <a:gd name="connsiteX488" fmla="*/ 132 w 10000"/>
                <a:gd name="connsiteY488" fmla="*/ 4360 h 10126"/>
                <a:gd name="connsiteX489" fmla="*/ 201 w 10000"/>
                <a:gd name="connsiteY489" fmla="*/ 4331 h 10126"/>
                <a:gd name="connsiteX490" fmla="*/ 276 w 10000"/>
                <a:gd name="connsiteY490" fmla="*/ 4307 h 10126"/>
                <a:gd name="connsiteX491" fmla="*/ 420 w 10000"/>
                <a:gd name="connsiteY491" fmla="*/ 4277 h 10126"/>
                <a:gd name="connsiteX492" fmla="*/ 565 w 10000"/>
                <a:gd name="connsiteY492" fmla="*/ 4252 h 10126"/>
                <a:gd name="connsiteX493" fmla="*/ 640 w 10000"/>
                <a:gd name="connsiteY493" fmla="*/ 4240 h 10126"/>
                <a:gd name="connsiteX494" fmla="*/ 709 w 10000"/>
                <a:gd name="connsiteY494" fmla="*/ 4216 h 10126"/>
                <a:gd name="connsiteX495" fmla="*/ 772 w 10000"/>
                <a:gd name="connsiteY495" fmla="*/ 4198 h 10126"/>
                <a:gd name="connsiteX496" fmla="*/ 834 w 10000"/>
                <a:gd name="connsiteY496" fmla="*/ 4168 h 10126"/>
                <a:gd name="connsiteX497" fmla="*/ 891 w 10000"/>
                <a:gd name="connsiteY497" fmla="*/ 4138 h 10126"/>
                <a:gd name="connsiteX498" fmla="*/ 947 w 10000"/>
                <a:gd name="connsiteY498" fmla="*/ 4090 h 10126"/>
                <a:gd name="connsiteX499" fmla="*/ 997 w 10000"/>
                <a:gd name="connsiteY499" fmla="*/ 4035 h 10126"/>
                <a:gd name="connsiteX500" fmla="*/ 1035 w 10000"/>
                <a:gd name="connsiteY500" fmla="*/ 3968 h 10126"/>
                <a:gd name="connsiteX501" fmla="*/ 1010 w 10000"/>
                <a:gd name="connsiteY501" fmla="*/ 3956 h 10126"/>
                <a:gd name="connsiteX502" fmla="*/ 985 w 10000"/>
                <a:gd name="connsiteY502" fmla="*/ 3938 h 10126"/>
                <a:gd name="connsiteX503" fmla="*/ 947 w 10000"/>
                <a:gd name="connsiteY503" fmla="*/ 3914 h 10126"/>
                <a:gd name="connsiteX504" fmla="*/ 910 w 10000"/>
                <a:gd name="connsiteY504" fmla="*/ 3878 h 10126"/>
                <a:gd name="connsiteX505" fmla="*/ 822 w 10000"/>
                <a:gd name="connsiteY505" fmla="*/ 3806 h 10126"/>
                <a:gd name="connsiteX506" fmla="*/ 740 w 10000"/>
                <a:gd name="connsiteY506" fmla="*/ 3722 h 10126"/>
                <a:gd name="connsiteX507" fmla="*/ 665 w 10000"/>
                <a:gd name="connsiteY507" fmla="*/ 3631 h 10126"/>
                <a:gd name="connsiteX508" fmla="*/ 596 w 10000"/>
                <a:gd name="connsiteY508" fmla="*/ 3535 h 10126"/>
                <a:gd name="connsiteX509" fmla="*/ 577 w 10000"/>
                <a:gd name="connsiteY509" fmla="*/ 3493 h 10126"/>
                <a:gd name="connsiteX510" fmla="*/ 558 w 10000"/>
                <a:gd name="connsiteY510" fmla="*/ 3451 h 10126"/>
                <a:gd name="connsiteX511" fmla="*/ 540 w 10000"/>
                <a:gd name="connsiteY511" fmla="*/ 3408 h 10126"/>
                <a:gd name="connsiteX512" fmla="*/ 533 w 10000"/>
                <a:gd name="connsiteY512" fmla="*/ 3372 h 10126"/>
                <a:gd name="connsiteX513" fmla="*/ 508 w 10000"/>
                <a:gd name="connsiteY513" fmla="*/ 3366 h 10126"/>
                <a:gd name="connsiteX514" fmla="*/ 483 w 10000"/>
                <a:gd name="connsiteY514" fmla="*/ 3360 h 10126"/>
                <a:gd name="connsiteX515" fmla="*/ 458 w 10000"/>
                <a:gd name="connsiteY515" fmla="*/ 3348 h 10126"/>
                <a:gd name="connsiteX516" fmla="*/ 439 w 10000"/>
                <a:gd name="connsiteY516" fmla="*/ 3325 h 10126"/>
                <a:gd name="connsiteX517" fmla="*/ 402 w 10000"/>
                <a:gd name="connsiteY517" fmla="*/ 3282 h 10126"/>
                <a:gd name="connsiteX518" fmla="*/ 370 w 10000"/>
                <a:gd name="connsiteY518" fmla="*/ 3222 h 10126"/>
                <a:gd name="connsiteX519" fmla="*/ 370 w 10000"/>
                <a:gd name="connsiteY519" fmla="*/ 3077 h 10126"/>
                <a:gd name="connsiteX520" fmla="*/ 458 w 10000"/>
                <a:gd name="connsiteY520" fmla="*/ 3071 h 10126"/>
                <a:gd name="connsiteX521" fmla="*/ 540 w 10000"/>
                <a:gd name="connsiteY521" fmla="*/ 3065 h 10126"/>
                <a:gd name="connsiteX522" fmla="*/ 615 w 10000"/>
                <a:gd name="connsiteY522" fmla="*/ 3053 h 10126"/>
                <a:gd name="connsiteX523" fmla="*/ 684 w 10000"/>
                <a:gd name="connsiteY523" fmla="*/ 3029 h 10126"/>
                <a:gd name="connsiteX524" fmla="*/ 747 w 10000"/>
                <a:gd name="connsiteY524" fmla="*/ 3011 h 10126"/>
                <a:gd name="connsiteX525" fmla="*/ 809 w 10000"/>
                <a:gd name="connsiteY525" fmla="*/ 2980 h 10126"/>
                <a:gd name="connsiteX526" fmla="*/ 866 w 10000"/>
                <a:gd name="connsiteY526" fmla="*/ 2950 h 10126"/>
                <a:gd name="connsiteX527" fmla="*/ 922 w 10000"/>
                <a:gd name="connsiteY527" fmla="*/ 2914 h 10126"/>
                <a:gd name="connsiteX528" fmla="*/ 966 w 10000"/>
                <a:gd name="connsiteY528" fmla="*/ 2872 h 10126"/>
                <a:gd name="connsiteX529" fmla="*/ 1016 w 10000"/>
                <a:gd name="connsiteY529" fmla="*/ 2831 h 10126"/>
                <a:gd name="connsiteX530" fmla="*/ 1060 w 10000"/>
                <a:gd name="connsiteY530" fmla="*/ 2789 h 10126"/>
                <a:gd name="connsiteX531" fmla="*/ 1098 w 10000"/>
                <a:gd name="connsiteY531" fmla="*/ 2740 h 10126"/>
                <a:gd name="connsiteX532" fmla="*/ 1167 w 10000"/>
                <a:gd name="connsiteY532" fmla="*/ 2644 h 10126"/>
                <a:gd name="connsiteX533" fmla="*/ 1236 w 10000"/>
                <a:gd name="connsiteY533" fmla="*/ 2534 h 10126"/>
                <a:gd name="connsiteX534" fmla="*/ 1355 w 10000"/>
                <a:gd name="connsiteY534" fmla="*/ 2318 h 10126"/>
                <a:gd name="connsiteX535" fmla="*/ 1474 w 10000"/>
                <a:gd name="connsiteY535" fmla="*/ 2101 h 10126"/>
                <a:gd name="connsiteX536" fmla="*/ 1543 w 10000"/>
                <a:gd name="connsiteY536" fmla="*/ 2005 h 10126"/>
                <a:gd name="connsiteX537" fmla="*/ 1612 w 10000"/>
                <a:gd name="connsiteY537" fmla="*/ 1920 h 10126"/>
                <a:gd name="connsiteX538" fmla="*/ 1650 w 10000"/>
                <a:gd name="connsiteY538" fmla="*/ 1871 h 10126"/>
                <a:gd name="connsiteX539" fmla="*/ 1694 w 10000"/>
                <a:gd name="connsiteY539" fmla="*/ 1835 h 10126"/>
                <a:gd name="connsiteX540" fmla="*/ 1738 w 10000"/>
                <a:gd name="connsiteY540" fmla="*/ 1806 h 10126"/>
                <a:gd name="connsiteX541" fmla="*/ 1788 w 10000"/>
                <a:gd name="connsiteY541" fmla="*/ 1776 h 10126"/>
                <a:gd name="connsiteX542" fmla="*/ 1750 w 10000"/>
                <a:gd name="connsiteY542" fmla="*/ 1703 h 10126"/>
                <a:gd name="connsiteX543" fmla="*/ 1719 w 10000"/>
                <a:gd name="connsiteY543" fmla="*/ 1637 h 10126"/>
                <a:gd name="connsiteX544" fmla="*/ 1713 w 10000"/>
                <a:gd name="connsiteY544" fmla="*/ 1607 h 10126"/>
                <a:gd name="connsiteX545" fmla="*/ 1706 w 10000"/>
                <a:gd name="connsiteY545" fmla="*/ 1577 h 10126"/>
                <a:gd name="connsiteX546" fmla="*/ 1706 w 10000"/>
                <a:gd name="connsiteY546" fmla="*/ 1541 h 10126"/>
                <a:gd name="connsiteX547" fmla="*/ 1706 w 10000"/>
                <a:gd name="connsiteY547" fmla="*/ 1511 h 10126"/>
                <a:gd name="connsiteX548" fmla="*/ 1713 w 10000"/>
                <a:gd name="connsiteY548" fmla="*/ 1480 h 10126"/>
                <a:gd name="connsiteX549" fmla="*/ 1719 w 10000"/>
                <a:gd name="connsiteY549" fmla="*/ 1450 h 10126"/>
                <a:gd name="connsiteX550" fmla="*/ 1731 w 10000"/>
                <a:gd name="connsiteY550" fmla="*/ 1426 h 10126"/>
                <a:gd name="connsiteX551" fmla="*/ 1757 w 10000"/>
                <a:gd name="connsiteY551" fmla="*/ 1402 h 10126"/>
                <a:gd name="connsiteX552" fmla="*/ 1775 w 10000"/>
                <a:gd name="connsiteY552" fmla="*/ 1384 h 10126"/>
                <a:gd name="connsiteX553" fmla="*/ 1801 w 10000"/>
                <a:gd name="connsiteY553" fmla="*/ 1366 h 10126"/>
                <a:gd name="connsiteX554" fmla="*/ 1838 w 10000"/>
                <a:gd name="connsiteY554" fmla="*/ 1348 h 10126"/>
                <a:gd name="connsiteX555" fmla="*/ 1870 w 10000"/>
                <a:gd name="connsiteY555" fmla="*/ 1330 h 10126"/>
                <a:gd name="connsiteX556" fmla="*/ 1788 w 10000"/>
                <a:gd name="connsiteY556" fmla="*/ 1240 h 10126"/>
                <a:gd name="connsiteX557" fmla="*/ 1688 w 10000"/>
                <a:gd name="connsiteY557" fmla="*/ 1168 h 10126"/>
                <a:gd name="connsiteX558" fmla="*/ 1550 w 10000"/>
                <a:gd name="connsiteY558" fmla="*/ 1046 h 10126"/>
                <a:gd name="connsiteX559" fmla="*/ 1487 w 10000"/>
                <a:gd name="connsiteY559" fmla="*/ 986 h 10126"/>
                <a:gd name="connsiteX560" fmla="*/ 1383 w 10000"/>
                <a:gd name="connsiteY560" fmla="*/ 868 h 10126"/>
                <a:gd name="connsiteX561" fmla="*/ 1426 w 10000"/>
                <a:gd name="connsiteY561" fmla="*/ 764 h 10126"/>
                <a:gd name="connsiteX562" fmla="*/ 1603 w 10000"/>
                <a:gd name="connsiteY562" fmla="*/ 650 h 10126"/>
                <a:gd name="connsiteX563" fmla="*/ 1708 w 10000"/>
                <a:gd name="connsiteY563" fmla="*/ 605 h 10126"/>
                <a:gd name="connsiteX564" fmla="*/ 1673 w 10000"/>
                <a:gd name="connsiteY564" fmla="*/ 540 h 10126"/>
                <a:gd name="connsiteX565" fmla="*/ 1606 w 10000"/>
                <a:gd name="connsiteY565" fmla="*/ 463 h 10126"/>
                <a:gd name="connsiteX566" fmla="*/ 1539 w 10000"/>
                <a:gd name="connsiteY566" fmla="*/ 431 h 10126"/>
                <a:gd name="connsiteX567" fmla="*/ 1539 w 10000"/>
                <a:gd name="connsiteY567" fmla="*/ 366 h 10126"/>
                <a:gd name="connsiteX568" fmla="*/ 1424 w 10000"/>
                <a:gd name="connsiteY568" fmla="*/ 270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51 h 10126"/>
                <a:gd name="connsiteX0" fmla="*/ 2468 w 10000"/>
                <a:gd name="connsiteY0" fmla="*/ 219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51 h 10126"/>
                <a:gd name="connsiteX0" fmla="*/ 2444 w 10000"/>
                <a:gd name="connsiteY0" fmla="*/ 180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51 h 10126"/>
                <a:gd name="connsiteX0" fmla="*/ 2444 w 10000"/>
                <a:gd name="connsiteY0" fmla="*/ 180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232 w 10000"/>
                <a:gd name="connsiteY575" fmla="*/ 393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232 w 10000"/>
                <a:gd name="connsiteY575" fmla="*/ 393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12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446 w 10000"/>
                <a:gd name="connsiteY568" fmla="*/ 197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308 w 10000"/>
                <a:gd name="connsiteY568" fmla="*/ 301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24 w 10000"/>
                <a:gd name="connsiteY567" fmla="*/ 270 h 10126"/>
                <a:gd name="connsiteX568" fmla="*/ 1341 w 10000"/>
                <a:gd name="connsiteY568" fmla="*/ 236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62 w 10000"/>
                <a:gd name="connsiteY4" fmla="*/ 346 h 10126"/>
                <a:gd name="connsiteX5" fmla="*/ 3120 w 10000"/>
                <a:gd name="connsiteY5" fmla="*/ 471 h 10126"/>
                <a:gd name="connsiteX6" fmla="*/ 3152 w 10000"/>
                <a:gd name="connsiteY6" fmla="*/ 534 h 10126"/>
                <a:gd name="connsiteX7" fmla="*/ 3093 w 10000"/>
                <a:gd name="connsiteY7" fmla="*/ 619 h 10126"/>
                <a:gd name="connsiteX8" fmla="*/ 2992 w 10000"/>
                <a:gd name="connsiteY8" fmla="*/ 710 h 10126"/>
                <a:gd name="connsiteX9" fmla="*/ 3043 w 10000"/>
                <a:gd name="connsiteY9" fmla="*/ 734 h 10126"/>
                <a:gd name="connsiteX10" fmla="*/ 3087 w 10000"/>
                <a:gd name="connsiteY10" fmla="*/ 776 h 10126"/>
                <a:gd name="connsiteX11" fmla="*/ 3130 w 10000"/>
                <a:gd name="connsiteY11" fmla="*/ 823 h 10126"/>
                <a:gd name="connsiteX12" fmla="*/ 3174 w 10000"/>
                <a:gd name="connsiteY12" fmla="*/ 872 h 10126"/>
                <a:gd name="connsiteX13" fmla="*/ 3212 w 10000"/>
                <a:gd name="connsiteY13" fmla="*/ 932 h 10126"/>
                <a:gd name="connsiteX14" fmla="*/ 3256 w 10000"/>
                <a:gd name="connsiteY14" fmla="*/ 986 h 10126"/>
                <a:gd name="connsiteX15" fmla="*/ 3281 w 10000"/>
                <a:gd name="connsiteY15" fmla="*/ 1046 h 10126"/>
                <a:gd name="connsiteX16" fmla="*/ 3312 w 10000"/>
                <a:gd name="connsiteY16" fmla="*/ 1113 h 10126"/>
                <a:gd name="connsiteX17" fmla="*/ 3331 w 10000"/>
                <a:gd name="connsiteY17" fmla="*/ 1180 h 10126"/>
                <a:gd name="connsiteX18" fmla="*/ 3043 w 10000"/>
                <a:gd name="connsiteY18" fmla="*/ 1180 h 10126"/>
                <a:gd name="connsiteX19" fmla="*/ 3043 w 10000"/>
                <a:gd name="connsiteY19" fmla="*/ 1366 h 10126"/>
                <a:gd name="connsiteX20" fmla="*/ 3074 w 10000"/>
                <a:gd name="connsiteY20" fmla="*/ 1444 h 10126"/>
                <a:gd name="connsiteX21" fmla="*/ 3118 w 10000"/>
                <a:gd name="connsiteY21" fmla="*/ 1511 h 10126"/>
                <a:gd name="connsiteX22" fmla="*/ 3168 w 10000"/>
                <a:gd name="connsiteY22" fmla="*/ 1571 h 10126"/>
                <a:gd name="connsiteX23" fmla="*/ 3225 w 10000"/>
                <a:gd name="connsiteY23" fmla="*/ 1613 h 10126"/>
                <a:gd name="connsiteX24" fmla="*/ 3281 w 10000"/>
                <a:gd name="connsiteY24" fmla="*/ 1655 h 10126"/>
                <a:gd name="connsiteX25" fmla="*/ 3350 w 10000"/>
                <a:gd name="connsiteY25" fmla="*/ 1685 h 10126"/>
                <a:gd name="connsiteX26" fmla="*/ 3413 w 10000"/>
                <a:gd name="connsiteY26" fmla="*/ 1715 h 10126"/>
                <a:gd name="connsiteX27" fmla="*/ 3488 w 10000"/>
                <a:gd name="connsiteY27" fmla="*/ 1740 h 10126"/>
                <a:gd name="connsiteX28" fmla="*/ 3626 w 10000"/>
                <a:gd name="connsiteY28" fmla="*/ 1794 h 10126"/>
                <a:gd name="connsiteX29" fmla="*/ 3764 w 10000"/>
                <a:gd name="connsiteY29" fmla="*/ 1847 h 10126"/>
                <a:gd name="connsiteX30" fmla="*/ 3827 w 10000"/>
                <a:gd name="connsiteY30" fmla="*/ 1884 h 10126"/>
                <a:gd name="connsiteX31" fmla="*/ 3890 w 10000"/>
                <a:gd name="connsiteY31" fmla="*/ 1932 h 10126"/>
                <a:gd name="connsiteX32" fmla="*/ 3946 w 10000"/>
                <a:gd name="connsiteY32" fmla="*/ 1981 h 10126"/>
                <a:gd name="connsiteX33" fmla="*/ 4003 w 10000"/>
                <a:gd name="connsiteY33" fmla="*/ 2035 h 10126"/>
                <a:gd name="connsiteX34" fmla="*/ 3959 w 10000"/>
                <a:gd name="connsiteY34" fmla="*/ 2596 h 10126"/>
                <a:gd name="connsiteX35" fmla="*/ 4034 w 10000"/>
                <a:gd name="connsiteY35" fmla="*/ 2650 h 10126"/>
                <a:gd name="connsiteX36" fmla="*/ 4141 w 10000"/>
                <a:gd name="connsiteY36" fmla="*/ 2716 h 10126"/>
                <a:gd name="connsiteX37" fmla="*/ 4260 w 10000"/>
                <a:gd name="connsiteY37" fmla="*/ 2776 h 10126"/>
                <a:gd name="connsiteX38" fmla="*/ 4398 w 10000"/>
                <a:gd name="connsiteY38" fmla="*/ 2831 h 10126"/>
                <a:gd name="connsiteX39" fmla="*/ 4536 w 10000"/>
                <a:gd name="connsiteY39" fmla="*/ 2884 h 10126"/>
                <a:gd name="connsiteX40" fmla="*/ 4668 w 10000"/>
                <a:gd name="connsiteY40" fmla="*/ 2926 h 10126"/>
                <a:gd name="connsiteX41" fmla="*/ 4724 w 10000"/>
                <a:gd name="connsiteY41" fmla="*/ 2944 h 10126"/>
                <a:gd name="connsiteX42" fmla="*/ 4780 w 10000"/>
                <a:gd name="connsiteY42" fmla="*/ 2956 h 10126"/>
                <a:gd name="connsiteX43" fmla="*/ 4831 w 10000"/>
                <a:gd name="connsiteY43" fmla="*/ 2962 h 10126"/>
                <a:gd name="connsiteX44" fmla="*/ 4875 w 10000"/>
                <a:gd name="connsiteY44" fmla="*/ 2962 h 10126"/>
                <a:gd name="connsiteX45" fmla="*/ 4887 w 10000"/>
                <a:gd name="connsiteY45" fmla="*/ 3005 h 10126"/>
                <a:gd name="connsiteX46" fmla="*/ 4918 w 10000"/>
                <a:gd name="connsiteY46" fmla="*/ 3041 h 10126"/>
                <a:gd name="connsiteX47" fmla="*/ 4950 w 10000"/>
                <a:gd name="connsiteY47" fmla="*/ 3059 h 10126"/>
                <a:gd name="connsiteX48" fmla="*/ 4987 w 10000"/>
                <a:gd name="connsiteY48" fmla="*/ 3071 h 10126"/>
                <a:gd name="connsiteX49" fmla="*/ 5019 w 10000"/>
                <a:gd name="connsiteY49" fmla="*/ 3083 h 10126"/>
                <a:gd name="connsiteX50" fmla="*/ 5063 w 10000"/>
                <a:gd name="connsiteY50" fmla="*/ 3083 h 10126"/>
                <a:gd name="connsiteX51" fmla="*/ 5107 w 10000"/>
                <a:gd name="connsiteY51" fmla="*/ 3077 h 10126"/>
                <a:gd name="connsiteX52" fmla="*/ 5157 w 10000"/>
                <a:gd name="connsiteY52" fmla="*/ 3071 h 10126"/>
                <a:gd name="connsiteX53" fmla="*/ 5245 w 10000"/>
                <a:gd name="connsiteY53" fmla="*/ 3053 h 10126"/>
                <a:gd name="connsiteX54" fmla="*/ 5345 w 10000"/>
                <a:gd name="connsiteY54" fmla="*/ 3029 h 10126"/>
                <a:gd name="connsiteX55" fmla="*/ 5383 w 10000"/>
                <a:gd name="connsiteY55" fmla="*/ 3029 h 10126"/>
                <a:gd name="connsiteX56" fmla="*/ 5427 w 10000"/>
                <a:gd name="connsiteY56" fmla="*/ 3023 h 10126"/>
                <a:gd name="connsiteX57" fmla="*/ 5464 w 10000"/>
                <a:gd name="connsiteY57" fmla="*/ 3029 h 10126"/>
                <a:gd name="connsiteX58" fmla="*/ 5502 w 10000"/>
                <a:gd name="connsiteY58" fmla="*/ 3035 h 10126"/>
                <a:gd name="connsiteX59" fmla="*/ 5558 w 10000"/>
                <a:gd name="connsiteY59" fmla="*/ 3071 h 10126"/>
                <a:gd name="connsiteX60" fmla="*/ 5596 w 10000"/>
                <a:gd name="connsiteY60" fmla="*/ 3101 h 10126"/>
                <a:gd name="connsiteX61" fmla="*/ 5634 w 10000"/>
                <a:gd name="connsiteY61" fmla="*/ 3143 h 10126"/>
                <a:gd name="connsiteX62" fmla="*/ 5665 w 10000"/>
                <a:gd name="connsiteY62" fmla="*/ 3179 h 10126"/>
                <a:gd name="connsiteX63" fmla="*/ 5696 w 10000"/>
                <a:gd name="connsiteY63" fmla="*/ 3216 h 10126"/>
                <a:gd name="connsiteX64" fmla="*/ 5734 w 10000"/>
                <a:gd name="connsiteY64" fmla="*/ 3252 h 10126"/>
                <a:gd name="connsiteX65" fmla="*/ 5759 w 10000"/>
                <a:gd name="connsiteY65" fmla="*/ 3270 h 10126"/>
                <a:gd name="connsiteX66" fmla="*/ 5778 w 10000"/>
                <a:gd name="connsiteY66" fmla="*/ 3282 h 10126"/>
                <a:gd name="connsiteX67" fmla="*/ 5803 w 10000"/>
                <a:gd name="connsiteY67" fmla="*/ 3294 h 10126"/>
                <a:gd name="connsiteX68" fmla="*/ 5834 w 10000"/>
                <a:gd name="connsiteY68" fmla="*/ 3300 h 10126"/>
                <a:gd name="connsiteX69" fmla="*/ 5935 w 10000"/>
                <a:gd name="connsiteY69" fmla="*/ 3319 h 10126"/>
                <a:gd name="connsiteX70" fmla="*/ 6073 w 10000"/>
                <a:gd name="connsiteY70" fmla="*/ 3354 h 10126"/>
                <a:gd name="connsiteX71" fmla="*/ 6230 w 10000"/>
                <a:gd name="connsiteY71" fmla="*/ 3390 h 10126"/>
                <a:gd name="connsiteX72" fmla="*/ 6405 w 10000"/>
                <a:gd name="connsiteY72" fmla="*/ 3433 h 10126"/>
                <a:gd name="connsiteX73" fmla="*/ 6568 w 10000"/>
                <a:gd name="connsiteY73" fmla="*/ 3463 h 10126"/>
                <a:gd name="connsiteX74" fmla="*/ 6719 w 10000"/>
                <a:gd name="connsiteY74" fmla="*/ 3487 h 10126"/>
                <a:gd name="connsiteX75" fmla="*/ 6788 w 10000"/>
                <a:gd name="connsiteY75" fmla="*/ 3493 h 10126"/>
                <a:gd name="connsiteX76" fmla="*/ 6838 w 10000"/>
                <a:gd name="connsiteY76" fmla="*/ 3499 h 10126"/>
                <a:gd name="connsiteX77" fmla="*/ 6888 w 10000"/>
                <a:gd name="connsiteY77" fmla="*/ 3493 h 10126"/>
                <a:gd name="connsiteX78" fmla="*/ 6913 w 10000"/>
                <a:gd name="connsiteY78" fmla="*/ 3481 h 10126"/>
                <a:gd name="connsiteX79" fmla="*/ 6888 w 10000"/>
                <a:gd name="connsiteY79" fmla="*/ 3439 h 10126"/>
                <a:gd name="connsiteX80" fmla="*/ 6857 w 10000"/>
                <a:gd name="connsiteY80" fmla="*/ 3390 h 10126"/>
                <a:gd name="connsiteX81" fmla="*/ 6838 w 10000"/>
                <a:gd name="connsiteY81" fmla="*/ 3342 h 10126"/>
                <a:gd name="connsiteX82" fmla="*/ 6826 w 10000"/>
                <a:gd name="connsiteY82" fmla="*/ 3288 h 10126"/>
                <a:gd name="connsiteX83" fmla="*/ 6794 w 10000"/>
                <a:gd name="connsiteY83" fmla="*/ 3197 h 10126"/>
                <a:gd name="connsiteX84" fmla="*/ 6788 w 10000"/>
                <a:gd name="connsiteY84" fmla="*/ 3149 h 10126"/>
                <a:gd name="connsiteX85" fmla="*/ 6788 w 10000"/>
                <a:gd name="connsiteY85" fmla="*/ 2962 h 10126"/>
                <a:gd name="connsiteX86" fmla="*/ 6788 w 10000"/>
                <a:gd name="connsiteY86" fmla="*/ 2776 h 10126"/>
                <a:gd name="connsiteX87" fmla="*/ 6995 w 10000"/>
                <a:gd name="connsiteY87" fmla="*/ 2776 h 10126"/>
                <a:gd name="connsiteX88" fmla="*/ 7033 w 10000"/>
                <a:gd name="connsiteY88" fmla="*/ 2842 h 10126"/>
                <a:gd name="connsiteX89" fmla="*/ 7058 w 10000"/>
                <a:gd name="connsiteY89" fmla="*/ 2884 h 10126"/>
                <a:gd name="connsiteX90" fmla="*/ 7095 w 10000"/>
                <a:gd name="connsiteY90" fmla="*/ 2920 h 10126"/>
                <a:gd name="connsiteX91" fmla="*/ 7127 w 10000"/>
                <a:gd name="connsiteY91" fmla="*/ 2962 h 10126"/>
                <a:gd name="connsiteX92" fmla="*/ 7120 w 10000"/>
                <a:gd name="connsiteY92" fmla="*/ 3059 h 10126"/>
                <a:gd name="connsiteX93" fmla="*/ 7102 w 10000"/>
                <a:gd name="connsiteY93" fmla="*/ 3119 h 10126"/>
                <a:gd name="connsiteX94" fmla="*/ 7089 w 10000"/>
                <a:gd name="connsiteY94" fmla="*/ 3167 h 10126"/>
                <a:gd name="connsiteX95" fmla="*/ 7077 w 10000"/>
                <a:gd name="connsiteY95" fmla="*/ 3222 h 10126"/>
                <a:gd name="connsiteX96" fmla="*/ 7208 w 10000"/>
                <a:gd name="connsiteY96" fmla="*/ 3258 h 10126"/>
                <a:gd name="connsiteX97" fmla="*/ 7334 w 10000"/>
                <a:gd name="connsiteY97" fmla="*/ 3294 h 10126"/>
                <a:gd name="connsiteX98" fmla="*/ 7396 w 10000"/>
                <a:gd name="connsiteY98" fmla="*/ 3313 h 10126"/>
                <a:gd name="connsiteX99" fmla="*/ 7459 w 10000"/>
                <a:gd name="connsiteY99" fmla="*/ 3325 h 10126"/>
                <a:gd name="connsiteX100" fmla="*/ 7522 w 10000"/>
                <a:gd name="connsiteY100" fmla="*/ 3331 h 10126"/>
                <a:gd name="connsiteX101" fmla="*/ 7585 w 10000"/>
                <a:gd name="connsiteY101" fmla="*/ 3336 h 10126"/>
                <a:gd name="connsiteX102" fmla="*/ 7591 w 10000"/>
                <a:gd name="connsiteY102" fmla="*/ 3360 h 10126"/>
                <a:gd name="connsiteX103" fmla="*/ 7604 w 10000"/>
                <a:gd name="connsiteY103" fmla="*/ 3384 h 10126"/>
                <a:gd name="connsiteX104" fmla="*/ 7622 w 10000"/>
                <a:gd name="connsiteY104" fmla="*/ 3402 h 10126"/>
                <a:gd name="connsiteX105" fmla="*/ 7654 w 10000"/>
                <a:gd name="connsiteY105" fmla="*/ 3420 h 10126"/>
                <a:gd name="connsiteX106" fmla="*/ 7704 w 10000"/>
                <a:gd name="connsiteY106" fmla="*/ 3439 h 10126"/>
                <a:gd name="connsiteX107" fmla="*/ 7748 w 10000"/>
                <a:gd name="connsiteY107" fmla="*/ 3445 h 10126"/>
                <a:gd name="connsiteX108" fmla="*/ 7798 w 10000"/>
                <a:gd name="connsiteY108" fmla="*/ 3445 h 10126"/>
                <a:gd name="connsiteX109" fmla="*/ 7836 w 10000"/>
                <a:gd name="connsiteY109" fmla="*/ 3433 h 10126"/>
                <a:gd name="connsiteX110" fmla="*/ 7880 w 10000"/>
                <a:gd name="connsiteY110" fmla="*/ 3414 h 10126"/>
                <a:gd name="connsiteX111" fmla="*/ 7911 w 10000"/>
                <a:gd name="connsiteY111" fmla="*/ 3396 h 10126"/>
                <a:gd name="connsiteX112" fmla="*/ 7949 w 10000"/>
                <a:gd name="connsiteY112" fmla="*/ 3372 h 10126"/>
                <a:gd name="connsiteX113" fmla="*/ 7980 w 10000"/>
                <a:gd name="connsiteY113" fmla="*/ 3342 h 10126"/>
                <a:gd name="connsiteX114" fmla="*/ 8011 w 10000"/>
                <a:gd name="connsiteY114" fmla="*/ 3313 h 10126"/>
                <a:gd name="connsiteX115" fmla="*/ 8036 w 10000"/>
                <a:gd name="connsiteY115" fmla="*/ 3282 h 10126"/>
                <a:gd name="connsiteX116" fmla="*/ 8087 w 10000"/>
                <a:gd name="connsiteY116" fmla="*/ 3203 h 10126"/>
                <a:gd name="connsiteX117" fmla="*/ 8118 w 10000"/>
                <a:gd name="connsiteY117" fmla="*/ 3131 h 10126"/>
                <a:gd name="connsiteX118" fmla="*/ 8149 w 10000"/>
                <a:gd name="connsiteY118" fmla="*/ 3065 h 10126"/>
                <a:gd name="connsiteX119" fmla="*/ 8168 w 10000"/>
                <a:gd name="connsiteY119" fmla="*/ 2999 h 10126"/>
                <a:gd name="connsiteX120" fmla="*/ 8231 w 10000"/>
                <a:gd name="connsiteY120" fmla="*/ 2932 h 10126"/>
                <a:gd name="connsiteX121" fmla="*/ 8294 w 10000"/>
                <a:gd name="connsiteY121" fmla="*/ 2866 h 10126"/>
                <a:gd name="connsiteX122" fmla="*/ 8363 w 10000"/>
                <a:gd name="connsiteY122" fmla="*/ 2813 h 10126"/>
                <a:gd name="connsiteX123" fmla="*/ 8432 w 10000"/>
                <a:gd name="connsiteY123" fmla="*/ 2752 h 10126"/>
                <a:gd name="connsiteX124" fmla="*/ 8507 w 10000"/>
                <a:gd name="connsiteY124" fmla="*/ 2704 h 10126"/>
                <a:gd name="connsiteX125" fmla="*/ 8576 w 10000"/>
                <a:gd name="connsiteY125" fmla="*/ 2656 h 10126"/>
                <a:gd name="connsiteX126" fmla="*/ 8651 w 10000"/>
                <a:gd name="connsiteY126" fmla="*/ 2614 h 10126"/>
                <a:gd name="connsiteX127" fmla="*/ 8726 w 10000"/>
                <a:gd name="connsiteY127" fmla="*/ 2570 h 10126"/>
                <a:gd name="connsiteX128" fmla="*/ 8808 w 10000"/>
                <a:gd name="connsiteY128" fmla="*/ 2528 h 10126"/>
                <a:gd name="connsiteX129" fmla="*/ 8890 w 10000"/>
                <a:gd name="connsiteY129" fmla="*/ 2492 h 10126"/>
                <a:gd name="connsiteX130" fmla="*/ 8971 w 10000"/>
                <a:gd name="connsiteY130" fmla="*/ 2462 h 10126"/>
                <a:gd name="connsiteX131" fmla="*/ 9059 w 10000"/>
                <a:gd name="connsiteY131" fmla="*/ 2432 h 10126"/>
                <a:gd name="connsiteX132" fmla="*/ 9235 w 10000"/>
                <a:gd name="connsiteY132" fmla="*/ 2378 h 10126"/>
                <a:gd name="connsiteX133" fmla="*/ 9417 w 10000"/>
                <a:gd name="connsiteY133" fmla="*/ 2335 h 10126"/>
                <a:gd name="connsiteX134" fmla="*/ 9454 w 10000"/>
                <a:gd name="connsiteY134" fmla="*/ 2384 h 10126"/>
                <a:gd name="connsiteX135" fmla="*/ 9504 w 10000"/>
                <a:gd name="connsiteY135" fmla="*/ 2444 h 10126"/>
                <a:gd name="connsiteX136" fmla="*/ 9573 w 10000"/>
                <a:gd name="connsiteY136" fmla="*/ 2510 h 10126"/>
                <a:gd name="connsiteX137" fmla="*/ 9642 w 10000"/>
                <a:gd name="connsiteY137" fmla="*/ 2583 h 10126"/>
                <a:gd name="connsiteX138" fmla="*/ 9718 w 10000"/>
                <a:gd name="connsiteY138" fmla="*/ 2644 h 10126"/>
                <a:gd name="connsiteX139" fmla="*/ 9799 w 10000"/>
                <a:gd name="connsiteY139" fmla="*/ 2692 h 10126"/>
                <a:gd name="connsiteX140" fmla="*/ 9837 w 10000"/>
                <a:gd name="connsiteY140" fmla="*/ 2716 h 10126"/>
                <a:gd name="connsiteX141" fmla="*/ 9875 w 10000"/>
                <a:gd name="connsiteY141" fmla="*/ 2728 h 10126"/>
                <a:gd name="connsiteX142" fmla="*/ 9918 w 10000"/>
                <a:gd name="connsiteY142" fmla="*/ 2740 h 10126"/>
                <a:gd name="connsiteX143" fmla="*/ 9956 w 10000"/>
                <a:gd name="connsiteY143" fmla="*/ 2740 h 10126"/>
                <a:gd name="connsiteX144" fmla="*/ 10000 w 10000"/>
                <a:gd name="connsiteY144" fmla="*/ 2668 h 10126"/>
                <a:gd name="connsiteX145" fmla="*/ 9975 w 10000"/>
                <a:gd name="connsiteY145" fmla="*/ 2795 h 10126"/>
                <a:gd name="connsiteX146" fmla="*/ 9944 w 10000"/>
                <a:gd name="connsiteY146" fmla="*/ 2938 h 10126"/>
                <a:gd name="connsiteX147" fmla="*/ 9931 w 10000"/>
                <a:gd name="connsiteY147" fmla="*/ 3005 h 10126"/>
                <a:gd name="connsiteX148" fmla="*/ 9906 w 10000"/>
                <a:gd name="connsiteY148" fmla="*/ 3065 h 10126"/>
                <a:gd name="connsiteX149" fmla="*/ 9887 w 10000"/>
                <a:gd name="connsiteY149" fmla="*/ 3089 h 10126"/>
                <a:gd name="connsiteX150" fmla="*/ 9875 w 10000"/>
                <a:gd name="connsiteY150" fmla="*/ 3113 h 10126"/>
                <a:gd name="connsiteX151" fmla="*/ 9856 w 10000"/>
                <a:gd name="connsiteY151" fmla="*/ 3131 h 10126"/>
                <a:gd name="connsiteX152" fmla="*/ 9837 w 10000"/>
                <a:gd name="connsiteY152" fmla="*/ 3149 h 10126"/>
                <a:gd name="connsiteX153" fmla="*/ 9749 w 10000"/>
                <a:gd name="connsiteY153" fmla="*/ 3167 h 10126"/>
                <a:gd name="connsiteX154" fmla="*/ 9605 w 10000"/>
                <a:gd name="connsiteY154" fmla="*/ 3216 h 10126"/>
                <a:gd name="connsiteX155" fmla="*/ 9536 w 10000"/>
                <a:gd name="connsiteY155" fmla="*/ 3258 h 10126"/>
                <a:gd name="connsiteX156" fmla="*/ 9479 w 10000"/>
                <a:gd name="connsiteY156" fmla="*/ 3294 h 10126"/>
                <a:gd name="connsiteX157" fmla="*/ 9448 w 10000"/>
                <a:gd name="connsiteY157" fmla="*/ 3313 h 10126"/>
                <a:gd name="connsiteX158" fmla="*/ 9435 w 10000"/>
                <a:gd name="connsiteY158" fmla="*/ 3331 h 10126"/>
                <a:gd name="connsiteX159" fmla="*/ 9423 w 10000"/>
                <a:gd name="connsiteY159" fmla="*/ 3354 h 10126"/>
                <a:gd name="connsiteX160" fmla="*/ 9417 w 10000"/>
                <a:gd name="connsiteY160" fmla="*/ 3372 h 10126"/>
                <a:gd name="connsiteX161" fmla="*/ 9423 w 10000"/>
                <a:gd name="connsiteY161" fmla="*/ 3583 h 10126"/>
                <a:gd name="connsiteX162" fmla="*/ 9417 w 10000"/>
                <a:gd name="connsiteY162" fmla="*/ 3824 h 10126"/>
                <a:gd name="connsiteX163" fmla="*/ 9398 w 10000"/>
                <a:gd name="connsiteY163" fmla="*/ 3884 h 10126"/>
                <a:gd name="connsiteX164" fmla="*/ 9391 w 10000"/>
                <a:gd name="connsiteY164" fmla="*/ 3950 h 10126"/>
                <a:gd name="connsiteX165" fmla="*/ 9379 w 10000"/>
                <a:gd name="connsiteY165" fmla="*/ 4004 h 10126"/>
                <a:gd name="connsiteX166" fmla="*/ 9366 w 10000"/>
                <a:gd name="connsiteY166" fmla="*/ 4059 h 10126"/>
                <a:gd name="connsiteX167" fmla="*/ 9348 w 10000"/>
                <a:gd name="connsiteY167" fmla="*/ 4108 h 10126"/>
                <a:gd name="connsiteX168" fmla="*/ 9316 w 10000"/>
                <a:gd name="connsiteY168" fmla="*/ 4156 h 10126"/>
                <a:gd name="connsiteX169" fmla="*/ 9285 w 10000"/>
                <a:gd name="connsiteY169" fmla="*/ 4192 h 10126"/>
                <a:gd name="connsiteX170" fmla="*/ 9247 w 10000"/>
                <a:gd name="connsiteY170" fmla="*/ 4222 h 10126"/>
                <a:gd name="connsiteX171" fmla="*/ 9228 w 10000"/>
                <a:gd name="connsiteY171" fmla="*/ 4240 h 10126"/>
                <a:gd name="connsiteX172" fmla="*/ 9184 w 10000"/>
                <a:gd name="connsiteY172" fmla="*/ 4246 h 10126"/>
                <a:gd name="connsiteX173" fmla="*/ 9141 w 10000"/>
                <a:gd name="connsiteY173" fmla="*/ 4252 h 10126"/>
                <a:gd name="connsiteX174" fmla="*/ 9090 w 10000"/>
                <a:gd name="connsiteY174" fmla="*/ 4258 h 10126"/>
                <a:gd name="connsiteX175" fmla="*/ 9040 w 10000"/>
                <a:gd name="connsiteY175" fmla="*/ 4264 h 10126"/>
                <a:gd name="connsiteX176" fmla="*/ 8996 w 10000"/>
                <a:gd name="connsiteY176" fmla="*/ 4283 h 10126"/>
                <a:gd name="connsiteX177" fmla="*/ 8977 w 10000"/>
                <a:gd name="connsiteY177" fmla="*/ 4289 h 10126"/>
                <a:gd name="connsiteX178" fmla="*/ 8965 w 10000"/>
                <a:gd name="connsiteY178" fmla="*/ 4307 h 10126"/>
                <a:gd name="connsiteX179" fmla="*/ 8959 w 10000"/>
                <a:gd name="connsiteY179" fmla="*/ 4319 h 10126"/>
                <a:gd name="connsiteX180" fmla="*/ 8959 w 10000"/>
                <a:gd name="connsiteY180" fmla="*/ 4337 h 10126"/>
                <a:gd name="connsiteX181" fmla="*/ 8952 w 10000"/>
                <a:gd name="connsiteY181" fmla="*/ 4408 h 10126"/>
                <a:gd name="connsiteX182" fmla="*/ 8952 w 10000"/>
                <a:gd name="connsiteY182" fmla="*/ 4493 h 10126"/>
                <a:gd name="connsiteX183" fmla="*/ 8940 w 10000"/>
                <a:gd name="connsiteY183" fmla="*/ 4583 h 10126"/>
                <a:gd name="connsiteX184" fmla="*/ 8927 w 10000"/>
                <a:gd name="connsiteY184" fmla="*/ 4667 h 10126"/>
                <a:gd name="connsiteX185" fmla="*/ 8908 w 10000"/>
                <a:gd name="connsiteY185" fmla="*/ 4753 h 10126"/>
                <a:gd name="connsiteX186" fmla="*/ 8890 w 10000"/>
                <a:gd name="connsiteY186" fmla="*/ 4831 h 10126"/>
                <a:gd name="connsiteX187" fmla="*/ 8864 w 10000"/>
                <a:gd name="connsiteY187" fmla="*/ 4902 h 10126"/>
                <a:gd name="connsiteX188" fmla="*/ 8833 w 10000"/>
                <a:gd name="connsiteY188" fmla="*/ 4969 h 10126"/>
                <a:gd name="connsiteX189" fmla="*/ 8538 w 10000"/>
                <a:gd name="connsiteY189" fmla="*/ 4480 h 10126"/>
                <a:gd name="connsiteX190" fmla="*/ 8526 w 10000"/>
                <a:gd name="connsiteY190" fmla="*/ 4505 h 10126"/>
                <a:gd name="connsiteX191" fmla="*/ 8494 w 10000"/>
                <a:gd name="connsiteY191" fmla="*/ 4559 h 10126"/>
                <a:gd name="connsiteX192" fmla="*/ 8463 w 10000"/>
                <a:gd name="connsiteY192" fmla="*/ 4589 h 10126"/>
                <a:gd name="connsiteX193" fmla="*/ 8438 w 10000"/>
                <a:gd name="connsiteY193" fmla="*/ 4613 h 10126"/>
                <a:gd name="connsiteX194" fmla="*/ 8407 w 10000"/>
                <a:gd name="connsiteY194" fmla="*/ 4631 h 10126"/>
                <a:gd name="connsiteX195" fmla="*/ 8375 w 10000"/>
                <a:gd name="connsiteY195" fmla="*/ 4637 h 10126"/>
                <a:gd name="connsiteX196" fmla="*/ 8338 w 10000"/>
                <a:gd name="connsiteY196" fmla="*/ 4631 h 10126"/>
                <a:gd name="connsiteX197" fmla="*/ 8312 w 10000"/>
                <a:gd name="connsiteY197" fmla="*/ 4625 h 10126"/>
                <a:gd name="connsiteX198" fmla="*/ 8287 w 10000"/>
                <a:gd name="connsiteY198" fmla="*/ 4607 h 10126"/>
                <a:gd name="connsiteX199" fmla="*/ 8256 w 10000"/>
                <a:gd name="connsiteY199" fmla="*/ 4589 h 10126"/>
                <a:gd name="connsiteX200" fmla="*/ 8237 w 10000"/>
                <a:gd name="connsiteY200" fmla="*/ 4559 h 10126"/>
                <a:gd name="connsiteX201" fmla="*/ 8225 w 10000"/>
                <a:gd name="connsiteY201" fmla="*/ 4535 h 10126"/>
                <a:gd name="connsiteX202" fmla="*/ 8206 w 10000"/>
                <a:gd name="connsiteY202" fmla="*/ 4511 h 10126"/>
                <a:gd name="connsiteX203" fmla="*/ 8206 w 10000"/>
                <a:gd name="connsiteY203" fmla="*/ 4480 h 10126"/>
                <a:gd name="connsiteX204" fmla="*/ 8206 w 10000"/>
                <a:gd name="connsiteY204" fmla="*/ 4444 h 10126"/>
                <a:gd name="connsiteX205" fmla="*/ 8225 w 10000"/>
                <a:gd name="connsiteY205" fmla="*/ 4408 h 10126"/>
                <a:gd name="connsiteX206" fmla="*/ 8237 w 10000"/>
                <a:gd name="connsiteY206" fmla="*/ 4372 h 10126"/>
                <a:gd name="connsiteX207" fmla="*/ 8250 w 10000"/>
                <a:gd name="connsiteY207" fmla="*/ 4337 h 10126"/>
                <a:gd name="connsiteX208" fmla="*/ 8300 w 10000"/>
                <a:gd name="connsiteY208" fmla="*/ 4270 h 10126"/>
                <a:gd name="connsiteX209" fmla="*/ 8356 w 10000"/>
                <a:gd name="connsiteY209" fmla="*/ 4204 h 10126"/>
                <a:gd name="connsiteX210" fmla="*/ 8407 w 10000"/>
                <a:gd name="connsiteY210" fmla="*/ 4144 h 10126"/>
                <a:gd name="connsiteX211" fmla="*/ 8457 w 10000"/>
                <a:gd name="connsiteY211" fmla="*/ 4078 h 10126"/>
                <a:gd name="connsiteX212" fmla="*/ 8469 w 10000"/>
                <a:gd name="connsiteY212" fmla="*/ 4041 h 10126"/>
                <a:gd name="connsiteX213" fmla="*/ 8482 w 10000"/>
                <a:gd name="connsiteY213" fmla="*/ 4010 h 10126"/>
                <a:gd name="connsiteX214" fmla="*/ 8501 w 10000"/>
                <a:gd name="connsiteY214" fmla="*/ 3968 h 10126"/>
                <a:gd name="connsiteX215" fmla="*/ 8501 w 10000"/>
                <a:gd name="connsiteY215" fmla="*/ 3932 h 10126"/>
                <a:gd name="connsiteX216" fmla="*/ 7748 w 10000"/>
                <a:gd name="connsiteY216" fmla="*/ 3932 h 10126"/>
                <a:gd name="connsiteX217" fmla="*/ 7723 w 10000"/>
                <a:gd name="connsiteY217" fmla="*/ 3926 h 10126"/>
                <a:gd name="connsiteX218" fmla="*/ 7685 w 10000"/>
                <a:gd name="connsiteY218" fmla="*/ 3908 h 10126"/>
                <a:gd name="connsiteX219" fmla="*/ 7660 w 10000"/>
                <a:gd name="connsiteY219" fmla="*/ 3872 h 10126"/>
                <a:gd name="connsiteX220" fmla="*/ 7635 w 10000"/>
                <a:gd name="connsiteY220" fmla="*/ 3836 h 10126"/>
                <a:gd name="connsiteX221" fmla="*/ 7616 w 10000"/>
                <a:gd name="connsiteY221" fmla="*/ 3788 h 10126"/>
                <a:gd name="connsiteX222" fmla="*/ 7597 w 10000"/>
                <a:gd name="connsiteY222" fmla="*/ 3740 h 10126"/>
                <a:gd name="connsiteX223" fmla="*/ 7591 w 10000"/>
                <a:gd name="connsiteY223" fmla="*/ 3686 h 10126"/>
                <a:gd name="connsiteX224" fmla="*/ 7585 w 10000"/>
                <a:gd name="connsiteY224" fmla="*/ 3631 h 10126"/>
                <a:gd name="connsiteX225" fmla="*/ 7547 w 10000"/>
                <a:gd name="connsiteY225" fmla="*/ 3631 h 10126"/>
                <a:gd name="connsiteX226" fmla="*/ 7516 w 10000"/>
                <a:gd name="connsiteY226" fmla="*/ 3625 h 10126"/>
                <a:gd name="connsiteX227" fmla="*/ 7478 w 10000"/>
                <a:gd name="connsiteY227" fmla="*/ 3619 h 10126"/>
                <a:gd name="connsiteX228" fmla="*/ 7447 w 10000"/>
                <a:gd name="connsiteY228" fmla="*/ 3607 h 10126"/>
                <a:gd name="connsiteX229" fmla="*/ 7415 w 10000"/>
                <a:gd name="connsiteY229" fmla="*/ 3589 h 10126"/>
                <a:gd name="connsiteX230" fmla="*/ 7396 w 10000"/>
                <a:gd name="connsiteY230" fmla="*/ 3571 h 10126"/>
                <a:gd name="connsiteX231" fmla="*/ 7384 w 10000"/>
                <a:gd name="connsiteY231" fmla="*/ 3541 h 10126"/>
                <a:gd name="connsiteX232" fmla="*/ 7378 w 10000"/>
                <a:gd name="connsiteY232" fmla="*/ 3517 h 10126"/>
                <a:gd name="connsiteX233" fmla="*/ 7321 w 10000"/>
                <a:gd name="connsiteY233" fmla="*/ 3517 h 10126"/>
                <a:gd name="connsiteX234" fmla="*/ 7271 w 10000"/>
                <a:gd name="connsiteY234" fmla="*/ 3517 h 10126"/>
                <a:gd name="connsiteX235" fmla="*/ 7221 w 10000"/>
                <a:gd name="connsiteY235" fmla="*/ 3517 h 10126"/>
                <a:gd name="connsiteX236" fmla="*/ 7171 w 10000"/>
                <a:gd name="connsiteY236" fmla="*/ 3517 h 10126"/>
                <a:gd name="connsiteX237" fmla="*/ 7127 w 10000"/>
                <a:gd name="connsiteY237" fmla="*/ 3523 h 10126"/>
                <a:gd name="connsiteX238" fmla="*/ 7095 w 10000"/>
                <a:gd name="connsiteY238" fmla="*/ 3529 h 10126"/>
                <a:gd name="connsiteX239" fmla="*/ 7051 w 10000"/>
                <a:gd name="connsiteY239" fmla="*/ 3547 h 10126"/>
                <a:gd name="connsiteX240" fmla="*/ 7008 w 10000"/>
                <a:gd name="connsiteY240" fmla="*/ 3571 h 10126"/>
                <a:gd name="connsiteX241" fmla="*/ 6976 w 10000"/>
                <a:gd name="connsiteY241" fmla="*/ 3601 h 10126"/>
                <a:gd name="connsiteX242" fmla="*/ 6939 w 10000"/>
                <a:gd name="connsiteY242" fmla="*/ 3631 h 10126"/>
                <a:gd name="connsiteX243" fmla="*/ 6920 w 10000"/>
                <a:gd name="connsiteY243" fmla="*/ 3668 h 10126"/>
                <a:gd name="connsiteX244" fmla="*/ 6913 w 10000"/>
                <a:gd name="connsiteY244" fmla="*/ 3704 h 10126"/>
                <a:gd name="connsiteX245" fmla="*/ 6926 w 10000"/>
                <a:gd name="connsiteY245" fmla="*/ 3728 h 10126"/>
                <a:gd name="connsiteX246" fmla="*/ 6964 w 10000"/>
                <a:gd name="connsiteY246" fmla="*/ 3758 h 10126"/>
                <a:gd name="connsiteX247" fmla="*/ 7008 w 10000"/>
                <a:gd name="connsiteY247" fmla="*/ 3794 h 10126"/>
                <a:gd name="connsiteX248" fmla="*/ 7070 w 10000"/>
                <a:gd name="connsiteY248" fmla="*/ 3830 h 10126"/>
                <a:gd name="connsiteX249" fmla="*/ 7133 w 10000"/>
                <a:gd name="connsiteY249" fmla="*/ 3866 h 10126"/>
                <a:gd name="connsiteX250" fmla="*/ 7196 w 10000"/>
                <a:gd name="connsiteY250" fmla="*/ 3896 h 10126"/>
                <a:gd name="connsiteX251" fmla="*/ 7252 w 10000"/>
                <a:gd name="connsiteY251" fmla="*/ 3920 h 10126"/>
                <a:gd name="connsiteX252" fmla="*/ 7290 w 10000"/>
                <a:gd name="connsiteY252" fmla="*/ 3932 h 10126"/>
                <a:gd name="connsiteX253" fmla="*/ 7208 w 10000"/>
                <a:gd name="connsiteY253" fmla="*/ 3992 h 10126"/>
                <a:gd name="connsiteX254" fmla="*/ 7114 w 10000"/>
                <a:gd name="connsiteY254" fmla="*/ 4066 h 10126"/>
                <a:gd name="connsiteX255" fmla="*/ 7070 w 10000"/>
                <a:gd name="connsiteY255" fmla="*/ 4102 h 10126"/>
                <a:gd name="connsiteX256" fmla="*/ 7033 w 10000"/>
                <a:gd name="connsiteY256" fmla="*/ 4144 h 10126"/>
                <a:gd name="connsiteX257" fmla="*/ 7020 w 10000"/>
                <a:gd name="connsiteY257" fmla="*/ 4162 h 10126"/>
                <a:gd name="connsiteX258" fmla="*/ 7008 w 10000"/>
                <a:gd name="connsiteY258" fmla="*/ 4180 h 10126"/>
                <a:gd name="connsiteX259" fmla="*/ 7001 w 10000"/>
                <a:gd name="connsiteY259" fmla="*/ 4204 h 10126"/>
                <a:gd name="connsiteX260" fmla="*/ 6995 w 10000"/>
                <a:gd name="connsiteY260" fmla="*/ 4222 h 10126"/>
                <a:gd name="connsiteX261" fmla="*/ 7001 w 10000"/>
                <a:gd name="connsiteY261" fmla="*/ 4252 h 10126"/>
                <a:gd name="connsiteX262" fmla="*/ 7008 w 10000"/>
                <a:gd name="connsiteY262" fmla="*/ 4270 h 10126"/>
                <a:gd name="connsiteX263" fmla="*/ 7026 w 10000"/>
                <a:gd name="connsiteY263" fmla="*/ 4295 h 10126"/>
                <a:gd name="connsiteX264" fmla="*/ 7039 w 10000"/>
                <a:gd name="connsiteY264" fmla="*/ 4319 h 10126"/>
                <a:gd name="connsiteX265" fmla="*/ 7089 w 10000"/>
                <a:gd name="connsiteY265" fmla="*/ 4366 h 10126"/>
                <a:gd name="connsiteX266" fmla="*/ 7146 w 10000"/>
                <a:gd name="connsiteY266" fmla="*/ 4414 h 10126"/>
                <a:gd name="connsiteX267" fmla="*/ 7208 w 10000"/>
                <a:gd name="connsiteY267" fmla="*/ 4456 h 10126"/>
                <a:gd name="connsiteX268" fmla="*/ 7277 w 10000"/>
                <a:gd name="connsiteY268" fmla="*/ 4493 h 10126"/>
                <a:gd name="connsiteX269" fmla="*/ 7315 w 10000"/>
                <a:gd name="connsiteY269" fmla="*/ 4505 h 10126"/>
                <a:gd name="connsiteX270" fmla="*/ 7346 w 10000"/>
                <a:gd name="connsiteY270" fmla="*/ 4511 h 10126"/>
                <a:gd name="connsiteX271" fmla="*/ 7384 w 10000"/>
                <a:gd name="connsiteY271" fmla="*/ 4517 h 10126"/>
                <a:gd name="connsiteX272" fmla="*/ 7415 w 10000"/>
                <a:gd name="connsiteY272" fmla="*/ 4523 h 10126"/>
                <a:gd name="connsiteX273" fmla="*/ 7585 w 10000"/>
                <a:gd name="connsiteY273" fmla="*/ 5150 h 10126"/>
                <a:gd name="connsiteX274" fmla="*/ 7491 w 10000"/>
                <a:gd name="connsiteY274" fmla="*/ 5150 h 10126"/>
                <a:gd name="connsiteX275" fmla="*/ 7403 w 10000"/>
                <a:gd name="connsiteY275" fmla="*/ 5150 h 10126"/>
                <a:gd name="connsiteX276" fmla="*/ 7321 w 10000"/>
                <a:gd name="connsiteY276" fmla="*/ 5150 h 10126"/>
                <a:gd name="connsiteX277" fmla="*/ 7252 w 10000"/>
                <a:gd name="connsiteY277" fmla="*/ 5150 h 10126"/>
                <a:gd name="connsiteX278" fmla="*/ 7208 w 10000"/>
                <a:gd name="connsiteY278" fmla="*/ 5144 h 10126"/>
                <a:gd name="connsiteX279" fmla="*/ 7164 w 10000"/>
                <a:gd name="connsiteY279" fmla="*/ 5113 h 10126"/>
                <a:gd name="connsiteX280" fmla="*/ 7133 w 10000"/>
                <a:gd name="connsiteY280" fmla="*/ 5101 h 10126"/>
                <a:gd name="connsiteX281" fmla="*/ 7102 w 10000"/>
                <a:gd name="connsiteY281" fmla="*/ 5089 h 10126"/>
                <a:gd name="connsiteX282" fmla="*/ 7070 w 10000"/>
                <a:gd name="connsiteY282" fmla="*/ 5083 h 10126"/>
                <a:gd name="connsiteX283" fmla="*/ 7039 w 10000"/>
                <a:gd name="connsiteY283" fmla="*/ 5077 h 10126"/>
                <a:gd name="connsiteX284" fmla="*/ 7008 w 10000"/>
                <a:gd name="connsiteY284" fmla="*/ 5089 h 10126"/>
                <a:gd name="connsiteX285" fmla="*/ 6957 w 10000"/>
                <a:gd name="connsiteY285" fmla="*/ 5119 h 10126"/>
                <a:gd name="connsiteX286" fmla="*/ 6895 w 10000"/>
                <a:gd name="connsiteY286" fmla="*/ 5162 h 10126"/>
                <a:gd name="connsiteX287" fmla="*/ 6819 w 10000"/>
                <a:gd name="connsiteY287" fmla="*/ 5210 h 10126"/>
                <a:gd name="connsiteX288" fmla="*/ 6744 w 10000"/>
                <a:gd name="connsiteY288" fmla="*/ 5270 h 10126"/>
                <a:gd name="connsiteX289" fmla="*/ 6681 w 10000"/>
                <a:gd name="connsiteY289" fmla="*/ 5318 h 10126"/>
                <a:gd name="connsiteX290" fmla="*/ 6637 w 10000"/>
                <a:gd name="connsiteY290" fmla="*/ 5354 h 10126"/>
                <a:gd name="connsiteX291" fmla="*/ 6625 w 10000"/>
                <a:gd name="connsiteY291" fmla="*/ 5378 h 10126"/>
                <a:gd name="connsiteX292" fmla="*/ 6750 w 10000"/>
                <a:gd name="connsiteY292" fmla="*/ 5450 h 10126"/>
                <a:gd name="connsiteX293" fmla="*/ 6744 w 10000"/>
                <a:gd name="connsiteY293" fmla="*/ 5487 h 10126"/>
                <a:gd name="connsiteX294" fmla="*/ 6725 w 10000"/>
                <a:gd name="connsiteY294" fmla="*/ 5529 h 10126"/>
                <a:gd name="connsiteX295" fmla="*/ 6706 w 10000"/>
                <a:gd name="connsiteY295" fmla="*/ 5560 h 10126"/>
                <a:gd name="connsiteX296" fmla="*/ 6688 w 10000"/>
                <a:gd name="connsiteY296" fmla="*/ 5602 h 10126"/>
                <a:gd name="connsiteX297" fmla="*/ 6637 w 10000"/>
                <a:gd name="connsiteY297" fmla="*/ 5656 h 10126"/>
                <a:gd name="connsiteX298" fmla="*/ 6581 w 10000"/>
                <a:gd name="connsiteY298" fmla="*/ 5710 h 10126"/>
                <a:gd name="connsiteX299" fmla="*/ 6518 w 10000"/>
                <a:gd name="connsiteY299" fmla="*/ 5758 h 10126"/>
                <a:gd name="connsiteX300" fmla="*/ 6443 w 10000"/>
                <a:gd name="connsiteY300" fmla="*/ 5801 h 10126"/>
                <a:gd name="connsiteX301" fmla="*/ 6374 w 10000"/>
                <a:gd name="connsiteY301" fmla="*/ 5837 h 10126"/>
                <a:gd name="connsiteX302" fmla="*/ 6299 w 10000"/>
                <a:gd name="connsiteY302" fmla="*/ 5872 h 10126"/>
                <a:gd name="connsiteX303" fmla="*/ 6223 w 10000"/>
                <a:gd name="connsiteY303" fmla="*/ 5920 h 10126"/>
                <a:gd name="connsiteX304" fmla="*/ 6154 w 10000"/>
                <a:gd name="connsiteY304" fmla="*/ 5956 h 10126"/>
                <a:gd name="connsiteX305" fmla="*/ 6092 w 10000"/>
                <a:gd name="connsiteY305" fmla="*/ 5999 h 10126"/>
                <a:gd name="connsiteX306" fmla="*/ 6035 w 10000"/>
                <a:gd name="connsiteY306" fmla="*/ 6047 h 10126"/>
                <a:gd name="connsiteX307" fmla="*/ 6004 w 10000"/>
                <a:gd name="connsiteY307" fmla="*/ 6071 h 10126"/>
                <a:gd name="connsiteX308" fmla="*/ 5985 w 10000"/>
                <a:gd name="connsiteY308" fmla="*/ 6095 h 10126"/>
                <a:gd name="connsiteX309" fmla="*/ 5966 w 10000"/>
                <a:gd name="connsiteY309" fmla="*/ 6125 h 10126"/>
                <a:gd name="connsiteX310" fmla="*/ 5947 w 10000"/>
                <a:gd name="connsiteY310" fmla="*/ 6155 h 10126"/>
                <a:gd name="connsiteX311" fmla="*/ 5935 w 10000"/>
                <a:gd name="connsiteY311" fmla="*/ 6193 h 10126"/>
                <a:gd name="connsiteX312" fmla="*/ 5922 w 10000"/>
                <a:gd name="connsiteY312" fmla="*/ 6223 h 10126"/>
                <a:gd name="connsiteX313" fmla="*/ 5916 w 10000"/>
                <a:gd name="connsiteY313" fmla="*/ 6265 h 10126"/>
                <a:gd name="connsiteX314" fmla="*/ 5916 w 10000"/>
                <a:gd name="connsiteY314" fmla="*/ 6307 h 10126"/>
                <a:gd name="connsiteX315" fmla="*/ 5859 w 10000"/>
                <a:gd name="connsiteY315" fmla="*/ 6325 h 10126"/>
                <a:gd name="connsiteX316" fmla="*/ 5809 w 10000"/>
                <a:gd name="connsiteY316" fmla="*/ 6343 h 10126"/>
                <a:gd name="connsiteX317" fmla="*/ 5765 w 10000"/>
                <a:gd name="connsiteY317" fmla="*/ 6366 h 10126"/>
                <a:gd name="connsiteX318" fmla="*/ 5721 w 10000"/>
                <a:gd name="connsiteY318" fmla="*/ 6390 h 10126"/>
                <a:gd name="connsiteX319" fmla="*/ 5634 w 10000"/>
                <a:gd name="connsiteY319" fmla="*/ 6451 h 10126"/>
                <a:gd name="connsiteX320" fmla="*/ 5558 w 10000"/>
                <a:gd name="connsiteY320" fmla="*/ 6523 h 10126"/>
                <a:gd name="connsiteX321" fmla="*/ 5420 w 10000"/>
                <a:gd name="connsiteY321" fmla="*/ 6686 h 10126"/>
                <a:gd name="connsiteX322" fmla="*/ 5289 w 10000"/>
                <a:gd name="connsiteY322" fmla="*/ 6860 h 10126"/>
                <a:gd name="connsiteX323" fmla="*/ 5220 w 10000"/>
                <a:gd name="connsiteY323" fmla="*/ 6951 h 10126"/>
                <a:gd name="connsiteX324" fmla="*/ 5151 w 10000"/>
                <a:gd name="connsiteY324" fmla="*/ 7029 h 10126"/>
                <a:gd name="connsiteX325" fmla="*/ 5075 w 10000"/>
                <a:gd name="connsiteY325" fmla="*/ 7102 h 10126"/>
                <a:gd name="connsiteX326" fmla="*/ 4994 w 10000"/>
                <a:gd name="connsiteY326" fmla="*/ 7168 h 10126"/>
                <a:gd name="connsiteX327" fmla="*/ 4944 w 10000"/>
                <a:gd name="connsiteY327" fmla="*/ 7198 h 10126"/>
                <a:gd name="connsiteX328" fmla="*/ 4893 w 10000"/>
                <a:gd name="connsiteY328" fmla="*/ 7222 h 10126"/>
                <a:gd name="connsiteX329" fmla="*/ 4849 w 10000"/>
                <a:gd name="connsiteY329" fmla="*/ 7246 h 10126"/>
                <a:gd name="connsiteX330" fmla="*/ 4793 w 10000"/>
                <a:gd name="connsiteY330" fmla="*/ 7271 h 10126"/>
                <a:gd name="connsiteX331" fmla="*/ 4730 w 10000"/>
                <a:gd name="connsiteY331" fmla="*/ 7289 h 10126"/>
                <a:gd name="connsiteX332" fmla="*/ 4674 w 10000"/>
                <a:gd name="connsiteY332" fmla="*/ 7301 h 10126"/>
                <a:gd name="connsiteX333" fmla="*/ 4605 w 10000"/>
                <a:gd name="connsiteY333" fmla="*/ 7307 h 10126"/>
                <a:gd name="connsiteX334" fmla="*/ 4536 w 10000"/>
                <a:gd name="connsiteY334" fmla="*/ 7307 h 10126"/>
                <a:gd name="connsiteX335" fmla="*/ 4536 w 10000"/>
                <a:gd name="connsiteY335" fmla="*/ 7360 h 10126"/>
                <a:gd name="connsiteX336" fmla="*/ 4536 w 10000"/>
                <a:gd name="connsiteY336" fmla="*/ 7414 h 10126"/>
                <a:gd name="connsiteX337" fmla="*/ 4536 w 10000"/>
                <a:gd name="connsiteY337" fmla="*/ 7456 h 10126"/>
                <a:gd name="connsiteX338" fmla="*/ 4536 w 10000"/>
                <a:gd name="connsiteY338" fmla="*/ 7493 h 10126"/>
                <a:gd name="connsiteX339" fmla="*/ 4536 w 10000"/>
                <a:gd name="connsiteY339" fmla="*/ 7559 h 10126"/>
                <a:gd name="connsiteX340" fmla="*/ 4536 w 10000"/>
                <a:gd name="connsiteY340" fmla="*/ 7662 h 10126"/>
                <a:gd name="connsiteX341" fmla="*/ 4536 w 10000"/>
                <a:gd name="connsiteY341" fmla="*/ 7771 h 10126"/>
                <a:gd name="connsiteX342" fmla="*/ 4548 w 10000"/>
                <a:gd name="connsiteY342" fmla="*/ 7884 h 10126"/>
                <a:gd name="connsiteX343" fmla="*/ 4561 w 10000"/>
                <a:gd name="connsiteY343" fmla="*/ 7945 h 10126"/>
                <a:gd name="connsiteX344" fmla="*/ 4573 w 10000"/>
                <a:gd name="connsiteY344" fmla="*/ 7999 h 10126"/>
                <a:gd name="connsiteX345" fmla="*/ 4586 w 10000"/>
                <a:gd name="connsiteY345" fmla="*/ 8047 h 10126"/>
                <a:gd name="connsiteX346" fmla="*/ 4611 w 10000"/>
                <a:gd name="connsiteY346" fmla="*/ 8089 h 10126"/>
                <a:gd name="connsiteX347" fmla="*/ 4636 w 10000"/>
                <a:gd name="connsiteY347" fmla="*/ 8132 h 10126"/>
                <a:gd name="connsiteX348" fmla="*/ 4668 w 10000"/>
                <a:gd name="connsiteY348" fmla="*/ 8162 h 10126"/>
                <a:gd name="connsiteX349" fmla="*/ 4705 w 10000"/>
                <a:gd name="connsiteY349" fmla="*/ 8186 h 10126"/>
                <a:gd name="connsiteX350" fmla="*/ 4749 w 10000"/>
                <a:gd name="connsiteY350" fmla="*/ 8198 h 10126"/>
                <a:gd name="connsiteX351" fmla="*/ 4711 w 10000"/>
                <a:gd name="connsiteY351" fmla="*/ 8294 h 10126"/>
                <a:gd name="connsiteX352" fmla="*/ 4668 w 10000"/>
                <a:gd name="connsiteY352" fmla="*/ 8379 h 10126"/>
                <a:gd name="connsiteX353" fmla="*/ 4617 w 10000"/>
                <a:gd name="connsiteY353" fmla="*/ 8457 h 10126"/>
                <a:gd name="connsiteX354" fmla="*/ 4573 w 10000"/>
                <a:gd name="connsiteY354" fmla="*/ 8529 h 10126"/>
                <a:gd name="connsiteX355" fmla="*/ 4523 w 10000"/>
                <a:gd name="connsiteY355" fmla="*/ 8614 h 10126"/>
                <a:gd name="connsiteX356" fmla="*/ 4492 w 10000"/>
                <a:gd name="connsiteY356" fmla="*/ 8692 h 10126"/>
                <a:gd name="connsiteX357" fmla="*/ 4473 w 10000"/>
                <a:gd name="connsiteY357" fmla="*/ 8728 h 10126"/>
                <a:gd name="connsiteX358" fmla="*/ 4467 w 10000"/>
                <a:gd name="connsiteY358" fmla="*/ 8771 h 10126"/>
                <a:gd name="connsiteX359" fmla="*/ 4460 w 10000"/>
                <a:gd name="connsiteY359" fmla="*/ 8819 h 10126"/>
                <a:gd name="connsiteX360" fmla="*/ 4454 w 10000"/>
                <a:gd name="connsiteY360" fmla="*/ 8861 h 10126"/>
                <a:gd name="connsiteX361" fmla="*/ 4460 w 10000"/>
                <a:gd name="connsiteY361" fmla="*/ 8878 h 10126"/>
                <a:gd name="connsiteX362" fmla="*/ 4467 w 10000"/>
                <a:gd name="connsiteY362" fmla="*/ 8890 h 10126"/>
                <a:gd name="connsiteX363" fmla="*/ 4479 w 10000"/>
                <a:gd name="connsiteY363" fmla="*/ 8902 h 10126"/>
                <a:gd name="connsiteX364" fmla="*/ 4504 w 10000"/>
                <a:gd name="connsiteY364" fmla="*/ 8914 h 10126"/>
                <a:gd name="connsiteX365" fmla="*/ 4542 w 10000"/>
                <a:gd name="connsiteY365" fmla="*/ 8938 h 10126"/>
                <a:gd name="connsiteX366" fmla="*/ 4580 w 10000"/>
                <a:gd name="connsiteY366" fmla="*/ 8944 h 10126"/>
                <a:gd name="connsiteX367" fmla="*/ 4580 w 10000"/>
                <a:gd name="connsiteY367" fmla="*/ 9162 h 10126"/>
                <a:gd name="connsiteX368" fmla="*/ 4529 w 10000"/>
                <a:gd name="connsiteY368" fmla="*/ 9247 h 10126"/>
                <a:gd name="connsiteX369" fmla="*/ 4492 w 10000"/>
                <a:gd name="connsiteY369" fmla="*/ 9337 h 10126"/>
                <a:gd name="connsiteX370" fmla="*/ 4460 w 10000"/>
                <a:gd name="connsiteY370" fmla="*/ 9372 h 10126"/>
                <a:gd name="connsiteX371" fmla="*/ 4429 w 10000"/>
                <a:gd name="connsiteY371" fmla="*/ 9397 h 10126"/>
                <a:gd name="connsiteX372" fmla="*/ 4404 w 10000"/>
                <a:gd name="connsiteY372" fmla="*/ 9409 h 10126"/>
                <a:gd name="connsiteX373" fmla="*/ 4385 w 10000"/>
                <a:gd name="connsiteY373" fmla="*/ 9415 h 10126"/>
                <a:gd name="connsiteX374" fmla="*/ 4360 w 10000"/>
                <a:gd name="connsiteY374" fmla="*/ 9421 h 10126"/>
                <a:gd name="connsiteX375" fmla="*/ 4329 w 10000"/>
                <a:gd name="connsiteY375" fmla="*/ 9421 h 10126"/>
                <a:gd name="connsiteX376" fmla="*/ 4329 w 10000"/>
                <a:gd name="connsiteY376" fmla="*/ 9469 h 10126"/>
                <a:gd name="connsiteX377" fmla="*/ 4335 w 10000"/>
                <a:gd name="connsiteY377" fmla="*/ 9529 h 10126"/>
                <a:gd name="connsiteX378" fmla="*/ 4348 w 10000"/>
                <a:gd name="connsiteY378" fmla="*/ 9559 h 10126"/>
                <a:gd name="connsiteX379" fmla="*/ 4354 w 10000"/>
                <a:gd name="connsiteY379" fmla="*/ 9583 h 10126"/>
                <a:gd name="connsiteX380" fmla="*/ 4360 w 10000"/>
                <a:gd name="connsiteY380" fmla="*/ 9602 h 10126"/>
                <a:gd name="connsiteX381" fmla="*/ 4373 w 10000"/>
                <a:gd name="connsiteY381" fmla="*/ 9608 h 10126"/>
                <a:gd name="connsiteX382" fmla="*/ 4210 w 10000"/>
                <a:gd name="connsiteY382" fmla="*/ 9734 h 10126"/>
                <a:gd name="connsiteX383" fmla="*/ 4072 w 10000"/>
                <a:gd name="connsiteY383" fmla="*/ 9838 h 10126"/>
                <a:gd name="connsiteX384" fmla="*/ 4009 w 10000"/>
                <a:gd name="connsiteY384" fmla="*/ 9897 h 10126"/>
                <a:gd name="connsiteX385" fmla="*/ 3952 w 10000"/>
                <a:gd name="connsiteY385" fmla="*/ 9963 h 10126"/>
                <a:gd name="connsiteX386" fmla="*/ 3890 w 10000"/>
                <a:gd name="connsiteY386" fmla="*/ 10042 h 10126"/>
                <a:gd name="connsiteX387" fmla="*/ 3833 w 10000"/>
                <a:gd name="connsiteY387" fmla="*/ 10126 h 10126"/>
                <a:gd name="connsiteX388" fmla="*/ 3733 w 10000"/>
                <a:gd name="connsiteY388" fmla="*/ 10084 h 10126"/>
                <a:gd name="connsiteX389" fmla="*/ 3664 w 10000"/>
                <a:gd name="connsiteY389" fmla="*/ 10042 h 10126"/>
                <a:gd name="connsiteX390" fmla="*/ 3607 w 10000"/>
                <a:gd name="connsiteY390" fmla="*/ 9999 h 10126"/>
                <a:gd name="connsiteX391" fmla="*/ 3563 w 10000"/>
                <a:gd name="connsiteY391" fmla="*/ 9951 h 10126"/>
                <a:gd name="connsiteX392" fmla="*/ 3532 w 10000"/>
                <a:gd name="connsiteY392" fmla="*/ 9891 h 10126"/>
                <a:gd name="connsiteX393" fmla="*/ 3513 w 10000"/>
                <a:gd name="connsiteY393" fmla="*/ 9832 h 10126"/>
                <a:gd name="connsiteX394" fmla="*/ 3482 w 10000"/>
                <a:gd name="connsiteY394" fmla="*/ 9758 h 10126"/>
                <a:gd name="connsiteX395" fmla="*/ 3457 w 10000"/>
                <a:gd name="connsiteY395" fmla="*/ 9686 h 10126"/>
                <a:gd name="connsiteX396" fmla="*/ 3400 w 10000"/>
                <a:gd name="connsiteY396" fmla="*/ 9547 h 10126"/>
                <a:gd name="connsiteX397" fmla="*/ 3325 w 10000"/>
                <a:gd name="connsiteY397" fmla="*/ 9415 h 10126"/>
                <a:gd name="connsiteX398" fmla="*/ 3237 w 10000"/>
                <a:gd name="connsiteY398" fmla="*/ 9277 h 10126"/>
                <a:gd name="connsiteX399" fmla="*/ 3143 w 10000"/>
                <a:gd name="connsiteY399" fmla="*/ 9132 h 10126"/>
                <a:gd name="connsiteX400" fmla="*/ 3049 w 10000"/>
                <a:gd name="connsiteY400" fmla="*/ 8999 h 10126"/>
                <a:gd name="connsiteX401" fmla="*/ 2967 w 10000"/>
                <a:gd name="connsiteY401" fmla="*/ 8867 h 10126"/>
                <a:gd name="connsiteX402" fmla="*/ 2892 w 10000"/>
                <a:gd name="connsiteY402" fmla="*/ 8747 h 10126"/>
                <a:gd name="connsiteX403" fmla="*/ 2829 w 10000"/>
                <a:gd name="connsiteY403" fmla="*/ 8644 h 10126"/>
                <a:gd name="connsiteX404" fmla="*/ 2773 w 10000"/>
                <a:gd name="connsiteY404" fmla="*/ 8529 h 10126"/>
                <a:gd name="connsiteX405" fmla="*/ 2735 w 10000"/>
                <a:gd name="connsiteY405" fmla="*/ 8427 h 10126"/>
                <a:gd name="connsiteX406" fmla="*/ 2698 w 10000"/>
                <a:gd name="connsiteY406" fmla="*/ 8319 h 10126"/>
                <a:gd name="connsiteX407" fmla="*/ 2666 w 10000"/>
                <a:gd name="connsiteY407" fmla="*/ 8210 h 10126"/>
                <a:gd name="connsiteX408" fmla="*/ 2629 w 10000"/>
                <a:gd name="connsiteY408" fmla="*/ 8101 h 10126"/>
                <a:gd name="connsiteX409" fmla="*/ 2597 w 10000"/>
                <a:gd name="connsiteY409" fmla="*/ 7993 h 10126"/>
                <a:gd name="connsiteX410" fmla="*/ 2553 w 10000"/>
                <a:gd name="connsiteY410" fmla="*/ 7872 h 10126"/>
                <a:gd name="connsiteX411" fmla="*/ 2497 w 10000"/>
                <a:gd name="connsiteY411" fmla="*/ 7753 h 10126"/>
                <a:gd name="connsiteX412" fmla="*/ 2359 w 10000"/>
                <a:gd name="connsiteY412" fmla="*/ 7559 h 10126"/>
                <a:gd name="connsiteX413" fmla="*/ 2208 w 10000"/>
                <a:gd name="connsiteY413" fmla="*/ 7378 h 10126"/>
                <a:gd name="connsiteX414" fmla="*/ 2139 w 10000"/>
                <a:gd name="connsiteY414" fmla="*/ 7295 h 10126"/>
                <a:gd name="connsiteX415" fmla="*/ 2070 w 10000"/>
                <a:gd name="connsiteY415" fmla="*/ 7198 h 10126"/>
                <a:gd name="connsiteX416" fmla="*/ 2008 w 10000"/>
                <a:gd name="connsiteY416" fmla="*/ 7108 h 10126"/>
                <a:gd name="connsiteX417" fmla="*/ 1957 w 10000"/>
                <a:gd name="connsiteY417" fmla="*/ 7011 h 10126"/>
                <a:gd name="connsiteX418" fmla="*/ 1888 w 10000"/>
                <a:gd name="connsiteY418" fmla="*/ 6776 h 10126"/>
                <a:gd name="connsiteX419" fmla="*/ 1832 w 10000"/>
                <a:gd name="connsiteY419" fmla="*/ 6559 h 10126"/>
                <a:gd name="connsiteX420" fmla="*/ 1782 w 10000"/>
                <a:gd name="connsiteY420" fmla="*/ 6349 h 10126"/>
                <a:gd name="connsiteX421" fmla="*/ 1757 w 10000"/>
                <a:gd name="connsiteY421" fmla="*/ 6137 h 10126"/>
                <a:gd name="connsiteX422" fmla="*/ 1725 w 10000"/>
                <a:gd name="connsiteY422" fmla="*/ 5932 h 10126"/>
                <a:gd name="connsiteX423" fmla="*/ 1713 w 10000"/>
                <a:gd name="connsiteY423" fmla="*/ 5716 h 10126"/>
                <a:gd name="connsiteX424" fmla="*/ 1706 w 10000"/>
                <a:gd name="connsiteY424" fmla="*/ 5493 h 10126"/>
                <a:gd name="connsiteX425" fmla="*/ 1706 w 10000"/>
                <a:gd name="connsiteY425" fmla="*/ 5270 h 10126"/>
                <a:gd name="connsiteX426" fmla="*/ 1681 w 10000"/>
                <a:gd name="connsiteY426" fmla="*/ 5264 h 10126"/>
                <a:gd name="connsiteX427" fmla="*/ 1650 w 10000"/>
                <a:gd name="connsiteY427" fmla="*/ 5258 h 10126"/>
                <a:gd name="connsiteX428" fmla="*/ 1625 w 10000"/>
                <a:gd name="connsiteY428" fmla="*/ 5252 h 10126"/>
                <a:gd name="connsiteX429" fmla="*/ 1606 w 10000"/>
                <a:gd name="connsiteY429" fmla="*/ 5228 h 10126"/>
                <a:gd name="connsiteX430" fmla="*/ 1581 w 10000"/>
                <a:gd name="connsiteY430" fmla="*/ 5216 h 10126"/>
                <a:gd name="connsiteX431" fmla="*/ 1568 w 10000"/>
                <a:gd name="connsiteY431" fmla="*/ 5198 h 10126"/>
                <a:gd name="connsiteX432" fmla="*/ 1550 w 10000"/>
                <a:gd name="connsiteY432" fmla="*/ 5174 h 10126"/>
                <a:gd name="connsiteX433" fmla="*/ 1543 w 10000"/>
                <a:gd name="connsiteY433" fmla="*/ 5150 h 10126"/>
                <a:gd name="connsiteX434" fmla="*/ 1518 w 10000"/>
                <a:gd name="connsiteY434" fmla="*/ 5101 h 10126"/>
                <a:gd name="connsiteX435" fmla="*/ 1506 w 10000"/>
                <a:gd name="connsiteY435" fmla="*/ 5047 h 10126"/>
                <a:gd name="connsiteX436" fmla="*/ 1499 w 10000"/>
                <a:gd name="connsiteY436" fmla="*/ 4987 h 10126"/>
                <a:gd name="connsiteX437" fmla="*/ 1499 w 10000"/>
                <a:gd name="connsiteY437" fmla="*/ 4933 h 10126"/>
                <a:gd name="connsiteX438" fmla="*/ 1443 w 10000"/>
                <a:gd name="connsiteY438" fmla="*/ 4969 h 10126"/>
                <a:gd name="connsiteX439" fmla="*/ 1405 w 10000"/>
                <a:gd name="connsiteY439" fmla="*/ 5011 h 10126"/>
                <a:gd name="connsiteX440" fmla="*/ 1361 w 10000"/>
                <a:gd name="connsiteY440" fmla="*/ 5053 h 10126"/>
                <a:gd name="connsiteX441" fmla="*/ 1317 w 10000"/>
                <a:gd name="connsiteY441" fmla="*/ 5101 h 10126"/>
                <a:gd name="connsiteX442" fmla="*/ 1261 w 10000"/>
                <a:gd name="connsiteY442" fmla="*/ 5198 h 10126"/>
                <a:gd name="connsiteX443" fmla="*/ 1205 w 10000"/>
                <a:gd name="connsiteY443" fmla="*/ 5300 h 10126"/>
                <a:gd name="connsiteX444" fmla="*/ 1167 w 10000"/>
                <a:gd name="connsiteY444" fmla="*/ 5343 h 10126"/>
                <a:gd name="connsiteX445" fmla="*/ 1142 w 10000"/>
                <a:gd name="connsiteY445" fmla="*/ 5384 h 10126"/>
                <a:gd name="connsiteX446" fmla="*/ 1104 w 10000"/>
                <a:gd name="connsiteY446" fmla="*/ 5426 h 10126"/>
                <a:gd name="connsiteX447" fmla="*/ 1073 w 10000"/>
                <a:gd name="connsiteY447" fmla="*/ 5456 h 10126"/>
                <a:gd name="connsiteX448" fmla="*/ 1029 w 10000"/>
                <a:gd name="connsiteY448" fmla="*/ 5487 h 10126"/>
                <a:gd name="connsiteX449" fmla="*/ 985 w 10000"/>
                <a:gd name="connsiteY449" fmla="*/ 5505 h 10126"/>
                <a:gd name="connsiteX450" fmla="*/ 928 w 10000"/>
                <a:gd name="connsiteY450" fmla="*/ 5517 h 10126"/>
                <a:gd name="connsiteX451" fmla="*/ 872 w 10000"/>
                <a:gd name="connsiteY451" fmla="*/ 5523 h 10126"/>
                <a:gd name="connsiteX452" fmla="*/ 841 w 10000"/>
                <a:gd name="connsiteY452" fmla="*/ 5517 h 10126"/>
                <a:gd name="connsiteX453" fmla="*/ 797 w 10000"/>
                <a:gd name="connsiteY453" fmla="*/ 5505 h 10126"/>
                <a:gd name="connsiteX454" fmla="*/ 753 w 10000"/>
                <a:gd name="connsiteY454" fmla="*/ 5487 h 10126"/>
                <a:gd name="connsiteX455" fmla="*/ 709 w 10000"/>
                <a:gd name="connsiteY455" fmla="*/ 5456 h 10126"/>
                <a:gd name="connsiteX456" fmla="*/ 659 w 10000"/>
                <a:gd name="connsiteY456" fmla="*/ 5420 h 10126"/>
                <a:gd name="connsiteX457" fmla="*/ 609 w 10000"/>
                <a:gd name="connsiteY457" fmla="*/ 5384 h 10126"/>
                <a:gd name="connsiteX458" fmla="*/ 565 w 10000"/>
                <a:gd name="connsiteY458" fmla="*/ 5343 h 10126"/>
                <a:gd name="connsiteX459" fmla="*/ 514 w 10000"/>
                <a:gd name="connsiteY459" fmla="*/ 5294 h 10126"/>
                <a:gd name="connsiteX460" fmla="*/ 471 w 10000"/>
                <a:gd name="connsiteY460" fmla="*/ 5246 h 10126"/>
                <a:gd name="connsiteX461" fmla="*/ 433 w 10000"/>
                <a:gd name="connsiteY461" fmla="*/ 5192 h 10126"/>
                <a:gd name="connsiteX462" fmla="*/ 389 w 10000"/>
                <a:gd name="connsiteY462" fmla="*/ 5138 h 10126"/>
                <a:gd name="connsiteX463" fmla="*/ 358 w 10000"/>
                <a:gd name="connsiteY463" fmla="*/ 5083 h 10126"/>
                <a:gd name="connsiteX464" fmla="*/ 326 w 10000"/>
                <a:gd name="connsiteY464" fmla="*/ 5035 h 10126"/>
                <a:gd name="connsiteX465" fmla="*/ 307 w 10000"/>
                <a:gd name="connsiteY465" fmla="*/ 4987 h 10126"/>
                <a:gd name="connsiteX466" fmla="*/ 295 w 10000"/>
                <a:gd name="connsiteY466" fmla="*/ 4939 h 10126"/>
                <a:gd name="connsiteX467" fmla="*/ 289 w 10000"/>
                <a:gd name="connsiteY467" fmla="*/ 4890 h 10126"/>
                <a:gd name="connsiteX468" fmla="*/ 320 w 10000"/>
                <a:gd name="connsiteY468" fmla="*/ 4872 h 10126"/>
                <a:gd name="connsiteX469" fmla="*/ 395 w 10000"/>
                <a:gd name="connsiteY469" fmla="*/ 4837 h 10126"/>
                <a:gd name="connsiteX470" fmla="*/ 483 w 10000"/>
                <a:gd name="connsiteY470" fmla="*/ 4801 h 10126"/>
                <a:gd name="connsiteX471" fmla="*/ 533 w 10000"/>
                <a:gd name="connsiteY471" fmla="*/ 4783 h 10126"/>
                <a:gd name="connsiteX472" fmla="*/ 483 w 10000"/>
                <a:gd name="connsiteY472" fmla="*/ 4783 h 10126"/>
                <a:gd name="connsiteX473" fmla="*/ 420 w 10000"/>
                <a:gd name="connsiteY473" fmla="*/ 4777 h 10126"/>
                <a:gd name="connsiteX474" fmla="*/ 370 w 10000"/>
                <a:gd name="connsiteY474" fmla="*/ 4765 h 10126"/>
                <a:gd name="connsiteX475" fmla="*/ 320 w 10000"/>
                <a:gd name="connsiteY475" fmla="*/ 4759 h 10126"/>
                <a:gd name="connsiteX476" fmla="*/ 276 w 10000"/>
                <a:gd name="connsiteY476" fmla="*/ 4740 h 10126"/>
                <a:gd name="connsiteX477" fmla="*/ 232 w 10000"/>
                <a:gd name="connsiteY477" fmla="*/ 4728 h 10126"/>
                <a:gd name="connsiteX478" fmla="*/ 188 w 10000"/>
                <a:gd name="connsiteY478" fmla="*/ 4710 h 10126"/>
                <a:gd name="connsiteX479" fmla="*/ 157 w 10000"/>
                <a:gd name="connsiteY479" fmla="*/ 4685 h 10126"/>
                <a:gd name="connsiteX480" fmla="*/ 132 w 10000"/>
                <a:gd name="connsiteY480" fmla="*/ 4661 h 10126"/>
                <a:gd name="connsiteX481" fmla="*/ 100 w 10000"/>
                <a:gd name="connsiteY481" fmla="*/ 4637 h 10126"/>
                <a:gd name="connsiteX482" fmla="*/ 75 w 10000"/>
                <a:gd name="connsiteY482" fmla="*/ 4607 h 10126"/>
                <a:gd name="connsiteX483" fmla="*/ 50 w 10000"/>
                <a:gd name="connsiteY483" fmla="*/ 4583 h 10126"/>
                <a:gd name="connsiteX484" fmla="*/ 19 w 10000"/>
                <a:gd name="connsiteY484" fmla="*/ 4511 h 10126"/>
                <a:gd name="connsiteX485" fmla="*/ 0 w 10000"/>
                <a:gd name="connsiteY485" fmla="*/ 4444 h 10126"/>
                <a:gd name="connsiteX486" fmla="*/ 63 w 10000"/>
                <a:gd name="connsiteY486" fmla="*/ 4396 h 10126"/>
                <a:gd name="connsiteX487" fmla="*/ 132 w 10000"/>
                <a:gd name="connsiteY487" fmla="*/ 4360 h 10126"/>
                <a:gd name="connsiteX488" fmla="*/ 201 w 10000"/>
                <a:gd name="connsiteY488" fmla="*/ 4331 h 10126"/>
                <a:gd name="connsiteX489" fmla="*/ 276 w 10000"/>
                <a:gd name="connsiteY489" fmla="*/ 4307 h 10126"/>
                <a:gd name="connsiteX490" fmla="*/ 420 w 10000"/>
                <a:gd name="connsiteY490" fmla="*/ 4277 h 10126"/>
                <a:gd name="connsiteX491" fmla="*/ 565 w 10000"/>
                <a:gd name="connsiteY491" fmla="*/ 4252 h 10126"/>
                <a:gd name="connsiteX492" fmla="*/ 640 w 10000"/>
                <a:gd name="connsiteY492" fmla="*/ 4240 h 10126"/>
                <a:gd name="connsiteX493" fmla="*/ 709 w 10000"/>
                <a:gd name="connsiteY493" fmla="*/ 4216 h 10126"/>
                <a:gd name="connsiteX494" fmla="*/ 772 w 10000"/>
                <a:gd name="connsiteY494" fmla="*/ 4198 h 10126"/>
                <a:gd name="connsiteX495" fmla="*/ 834 w 10000"/>
                <a:gd name="connsiteY495" fmla="*/ 4168 h 10126"/>
                <a:gd name="connsiteX496" fmla="*/ 891 w 10000"/>
                <a:gd name="connsiteY496" fmla="*/ 4138 h 10126"/>
                <a:gd name="connsiteX497" fmla="*/ 947 w 10000"/>
                <a:gd name="connsiteY497" fmla="*/ 4090 h 10126"/>
                <a:gd name="connsiteX498" fmla="*/ 997 w 10000"/>
                <a:gd name="connsiteY498" fmla="*/ 4035 h 10126"/>
                <a:gd name="connsiteX499" fmla="*/ 1035 w 10000"/>
                <a:gd name="connsiteY499" fmla="*/ 3968 h 10126"/>
                <a:gd name="connsiteX500" fmla="*/ 1010 w 10000"/>
                <a:gd name="connsiteY500" fmla="*/ 3956 h 10126"/>
                <a:gd name="connsiteX501" fmla="*/ 985 w 10000"/>
                <a:gd name="connsiteY501" fmla="*/ 3938 h 10126"/>
                <a:gd name="connsiteX502" fmla="*/ 947 w 10000"/>
                <a:gd name="connsiteY502" fmla="*/ 3914 h 10126"/>
                <a:gd name="connsiteX503" fmla="*/ 910 w 10000"/>
                <a:gd name="connsiteY503" fmla="*/ 3878 h 10126"/>
                <a:gd name="connsiteX504" fmla="*/ 822 w 10000"/>
                <a:gd name="connsiteY504" fmla="*/ 3806 h 10126"/>
                <a:gd name="connsiteX505" fmla="*/ 740 w 10000"/>
                <a:gd name="connsiteY505" fmla="*/ 3722 h 10126"/>
                <a:gd name="connsiteX506" fmla="*/ 665 w 10000"/>
                <a:gd name="connsiteY506" fmla="*/ 3631 h 10126"/>
                <a:gd name="connsiteX507" fmla="*/ 596 w 10000"/>
                <a:gd name="connsiteY507" fmla="*/ 3535 h 10126"/>
                <a:gd name="connsiteX508" fmla="*/ 577 w 10000"/>
                <a:gd name="connsiteY508" fmla="*/ 3493 h 10126"/>
                <a:gd name="connsiteX509" fmla="*/ 558 w 10000"/>
                <a:gd name="connsiteY509" fmla="*/ 3451 h 10126"/>
                <a:gd name="connsiteX510" fmla="*/ 540 w 10000"/>
                <a:gd name="connsiteY510" fmla="*/ 3408 h 10126"/>
                <a:gd name="connsiteX511" fmla="*/ 533 w 10000"/>
                <a:gd name="connsiteY511" fmla="*/ 3372 h 10126"/>
                <a:gd name="connsiteX512" fmla="*/ 508 w 10000"/>
                <a:gd name="connsiteY512" fmla="*/ 3366 h 10126"/>
                <a:gd name="connsiteX513" fmla="*/ 483 w 10000"/>
                <a:gd name="connsiteY513" fmla="*/ 3360 h 10126"/>
                <a:gd name="connsiteX514" fmla="*/ 458 w 10000"/>
                <a:gd name="connsiteY514" fmla="*/ 3348 h 10126"/>
                <a:gd name="connsiteX515" fmla="*/ 439 w 10000"/>
                <a:gd name="connsiteY515" fmla="*/ 3325 h 10126"/>
                <a:gd name="connsiteX516" fmla="*/ 402 w 10000"/>
                <a:gd name="connsiteY516" fmla="*/ 3282 h 10126"/>
                <a:gd name="connsiteX517" fmla="*/ 370 w 10000"/>
                <a:gd name="connsiteY517" fmla="*/ 3222 h 10126"/>
                <a:gd name="connsiteX518" fmla="*/ 370 w 10000"/>
                <a:gd name="connsiteY518" fmla="*/ 3077 h 10126"/>
                <a:gd name="connsiteX519" fmla="*/ 458 w 10000"/>
                <a:gd name="connsiteY519" fmla="*/ 3071 h 10126"/>
                <a:gd name="connsiteX520" fmla="*/ 540 w 10000"/>
                <a:gd name="connsiteY520" fmla="*/ 3065 h 10126"/>
                <a:gd name="connsiteX521" fmla="*/ 615 w 10000"/>
                <a:gd name="connsiteY521" fmla="*/ 3053 h 10126"/>
                <a:gd name="connsiteX522" fmla="*/ 684 w 10000"/>
                <a:gd name="connsiteY522" fmla="*/ 3029 h 10126"/>
                <a:gd name="connsiteX523" fmla="*/ 747 w 10000"/>
                <a:gd name="connsiteY523" fmla="*/ 3011 h 10126"/>
                <a:gd name="connsiteX524" fmla="*/ 809 w 10000"/>
                <a:gd name="connsiteY524" fmla="*/ 2980 h 10126"/>
                <a:gd name="connsiteX525" fmla="*/ 866 w 10000"/>
                <a:gd name="connsiteY525" fmla="*/ 2950 h 10126"/>
                <a:gd name="connsiteX526" fmla="*/ 922 w 10000"/>
                <a:gd name="connsiteY526" fmla="*/ 2914 h 10126"/>
                <a:gd name="connsiteX527" fmla="*/ 966 w 10000"/>
                <a:gd name="connsiteY527" fmla="*/ 2872 h 10126"/>
                <a:gd name="connsiteX528" fmla="*/ 1016 w 10000"/>
                <a:gd name="connsiteY528" fmla="*/ 2831 h 10126"/>
                <a:gd name="connsiteX529" fmla="*/ 1060 w 10000"/>
                <a:gd name="connsiteY529" fmla="*/ 2789 h 10126"/>
                <a:gd name="connsiteX530" fmla="*/ 1098 w 10000"/>
                <a:gd name="connsiteY530" fmla="*/ 2740 h 10126"/>
                <a:gd name="connsiteX531" fmla="*/ 1167 w 10000"/>
                <a:gd name="connsiteY531" fmla="*/ 2644 h 10126"/>
                <a:gd name="connsiteX532" fmla="*/ 1236 w 10000"/>
                <a:gd name="connsiteY532" fmla="*/ 2534 h 10126"/>
                <a:gd name="connsiteX533" fmla="*/ 1355 w 10000"/>
                <a:gd name="connsiteY533" fmla="*/ 2318 h 10126"/>
                <a:gd name="connsiteX534" fmla="*/ 1474 w 10000"/>
                <a:gd name="connsiteY534" fmla="*/ 2101 h 10126"/>
                <a:gd name="connsiteX535" fmla="*/ 1543 w 10000"/>
                <a:gd name="connsiteY535" fmla="*/ 2005 h 10126"/>
                <a:gd name="connsiteX536" fmla="*/ 1612 w 10000"/>
                <a:gd name="connsiteY536" fmla="*/ 1920 h 10126"/>
                <a:gd name="connsiteX537" fmla="*/ 1650 w 10000"/>
                <a:gd name="connsiteY537" fmla="*/ 1871 h 10126"/>
                <a:gd name="connsiteX538" fmla="*/ 1694 w 10000"/>
                <a:gd name="connsiteY538" fmla="*/ 1835 h 10126"/>
                <a:gd name="connsiteX539" fmla="*/ 1738 w 10000"/>
                <a:gd name="connsiteY539" fmla="*/ 1806 h 10126"/>
                <a:gd name="connsiteX540" fmla="*/ 1788 w 10000"/>
                <a:gd name="connsiteY540" fmla="*/ 1776 h 10126"/>
                <a:gd name="connsiteX541" fmla="*/ 1750 w 10000"/>
                <a:gd name="connsiteY541" fmla="*/ 1703 h 10126"/>
                <a:gd name="connsiteX542" fmla="*/ 1719 w 10000"/>
                <a:gd name="connsiteY542" fmla="*/ 1637 h 10126"/>
                <a:gd name="connsiteX543" fmla="*/ 1713 w 10000"/>
                <a:gd name="connsiteY543" fmla="*/ 1607 h 10126"/>
                <a:gd name="connsiteX544" fmla="*/ 1706 w 10000"/>
                <a:gd name="connsiteY544" fmla="*/ 1577 h 10126"/>
                <a:gd name="connsiteX545" fmla="*/ 1706 w 10000"/>
                <a:gd name="connsiteY545" fmla="*/ 1541 h 10126"/>
                <a:gd name="connsiteX546" fmla="*/ 1706 w 10000"/>
                <a:gd name="connsiteY546" fmla="*/ 1511 h 10126"/>
                <a:gd name="connsiteX547" fmla="*/ 1713 w 10000"/>
                <a:gd name="connsiteY547" fmla="*/ 1480 h 10126"/>
                <a:gd name="connsiteX548" fmla="*/ 1719 w 10000"/>
                <a:gd name="connsiteY548" fmla="*/ 1450 h 10126"/>
                <a:gd name="connsiteX549" fmla="*/ 1731 w 10000"/>
                <a:gd name="connsiteY549" fmla="*/ 1426 h 10126"/>
                <a:gd name="connsiteX550" fmla="*/ 1757 w 10000"/>
                <a:gd name="connsiteY550" fmla="*/ 1402 h 10126"/>
                <a:gd name="connsiteX551" fmla="*/ 1775 w 10000"/>
                <a:gd name="connsiteY551" fmla="*/ 1384 h 10126"/>
                <a:gd name="connsiteX552" fmla="*/ 1801 w 10000"/>
                <a:gd name="connsiteY552" fmla="*/ 1366 h 10126"/>
                <a:gd name="connsiteX553" fmla="*/ 1838 w 10000"/>
                <a:gd name="connsiteY553" fmla="*/ 1348 h 10126"/>
                <a:gd name="connsiteX554" fmla="*/ 1870 w 10000"/>
                <a:gd name="connsiteY554" fmla="*/ 1330 h 10126"/>
                <a:gd name="connsiteX555" fmla="*/ 1788 w 10000"/>
                <a:gd name="connsiteY555" fmla="*/ 1240 h 10126"/>
                <a:gd name="connsiteX556" fmla="*/ 1688 w 10000"/>
                <a:gd name="connsiteY556" fmla="*/ 1168 h 10126"/>
                <a:gd name="connsiteX557" fmla="*/ 1550 w 10000"/>
                <a:gd name="connsiteY557" fmla="*/ 1046 h 10126"/>
                <a:gd name="connsiteX558" fmla="*/ 1487 w 10000"/>
                <a:gd name="connsiteY558" fmla="*/ 986 h 10126"/>
                <a:gd name="connsiteX559" fmla="*/ 1383 w 10000"/>
                <a:gd name="connsiteY559" fmla="*/ 868 h 10126"/>
                <a:gd name="connsiteX560" fmla="*/ 1426 w 10000"/>
                <a:gd name="connsiteY560" fmla="*/ 764 h 10126"/>
                <a:gd name="connsiteX561" fmla="*/ 1603 w 10000"/>
                <a:gd name="connsiteY561" fmla="*/ 650 h 10126"/>
                <a:gd name="connsiteX562" fmla="*/ 1708 w 10000"/>
                <a:gd name="connsiteY562" fmla="*/ 605 h 10126"/>
                <a:gd name="connsiteX563" fmla="*/ 1673 w 10000"/>
                <a:gd name="connsiteY563" fmla="*/ 540 h 10126"/>
                <a:gd name="connsiteX564" fmla="*/ 1606 w 10000"/>
                <a:gd name="connsiteY564" fmla="*/ 463 h 10126"/>
                <a:gd name="connsiteX565" fmla="*/ 1539 w 10000"/>
                <a:gd name="connsiteY565" fmla="*/ 431 h 10126"/>
                <a:gd name="connsiteX566" fmla="*/ 1539 w 10000"/>
                <a:gd name="connsiteY566" fmla="*/ 366 h 10126"/>
                <a:gd name="connsiteX567" fmla="*/ 1473 w 10000"/>
                <a:gd name="connsiteY567" fmla="*/ 296 h 10126"/>
                <a:gd name="connsiteX568" fmla="*/ 1341 w 10000"/>
                <a:gd name="connsiteY568" fmla="*/ 236 h 10126"/>
                <a:gd name="connsiteX569" fmla="*/ 1490 w 10000"/>
                <a:gd name="connsiteY569" fmla="*/ 123 h 10126"/>
                <a:gd name="connsiteX570" fmla="*/ 1654 w 10000"/>
                <a:gd name="connsiteY570" fmla="*/ 0 h 10126"/>
                <a:gd name="connsiteX571" fmla="*/ 1842 w 10000"/>
                <a:gd name="connsiteY571" fmla="*/ 61 h 10126"/>
                <a:gd name="connsiteX572" fmla="*/ 1925 w 10000"/>
                <a:gd name="connsiteY572" fmla="*/ 57 h 10126"/>
                <a:gd name="connsiteX573" fmla="*/ 2151 w 10000"/>
                <a:gd name="connsiteY573" fmla="*/ 94 h 10126"/>
                <a:gd name="connsiteX574" fmla="*/ 2280 w 10000"/>
                <a:gd name="connsiteY574" fmla="*/ 123 h 10126"/>
                <a:gd name="connsiteX575" fmla="*/ 2385 w 10000"/>
                <a:gd name="connsiteY575" fmla="*/ 131 h 10126"/>
                <a:gd name="connsiteX576" fmla="*/ 2517 w 10000"/>
                <a:gd name="connsiteY576" fmla="*/ 225 h 10126"/>
                <a:gd name="connsiteX0" fmla="*/ 2525 w 10000"/>
                <a:gd name="connsiteY0" fmla="*/ 225 h 10126"/>
                <a:gd name="connsiteX1" fmla="*/ 2761 w 10000"/>
                <a:gd name="connsiteY1" fmla="*/ 198 h 10126"/>
                <a:gd name="connsiteX2" fmla="*/ 2880 w 10000"/>
                <a:gd name="connsiteY2" fmla="*/ 115 h 10126"/>
                <a:gd name="connsiteX3" fmla="*/ 3155 w 10000"/>
                <a:gd name="connsiteY3" fmla="*/ 192 h 10126"/>
                <a:gd name="connsiteX4" fmla="*/ 3120 w 10000"/>
                <a:gd name="connsiteY4" fmla="*/ 471 h 10126"/>
                <a:gd name="connsiteX5" fmla="*/ 3152 w 10000"/>
                <a:gd name="connsiteY5" fmla="*/ 534 h 10126"/>
                <a:gd name="connsiteX6" fmla="*/ 3093 w 10000"/>
                <a:gd name="connsiteY6" fmla="*/ 619 h 10126"/>
                <a:gd name="connsiteX7" fmla="*/ 2992 w 10000"/>
                <a:gd name="connsiteY7" fmla="*/ 710 h 10126"/>
                <a:gd name="connsiteX8" fmla="*/ 3043 w 10000"/>
                <a:gd name="connsiteY8" fmla="*/ 734 h 10126"/>
                <a:gd name="connsiteX9" fmla="*/ 3087 w 10000"/>
                <a:gd name="connsiteY9" fmla="*/ 776 h 10126"/>
                <a:gd name="connsiteX10" fmla="*/ 3130 w 10000"/>
                <a:gd name="connsiteY10" fmla="*/ 823 h 10126"/>
                <a:gd name="connsiteX11" fmla="*/ 3174 w 10000"/>
                <a:gd name="connsiteY11" fmla="*/ 872 h 10126"/>
                <a:gd name="connsiteX12" fmla="*/ 3212 w 10000"/>
                <a:gd name="connsiteY12" fmla="*/ 932 h 10126"/>
                <a:gd name="connsiteX13" fmla="*/ 3256 w 10000"/>
                <a:gd name="connsiteY13" fmla="*/ 986 h 10126"/>
                <a:gd name="connsiteX14" fmla="*/ 3281 w 10000"/>
                <a:gd name="connsiteY14" fmla="*/ 1046 h 10126"/>
                <a:gd name="connsiteX15" fmla="*/ 3312 w 10000"/>
                <a:gd name="connsiteY15" fmla="*/ 1113 h 10126"/>
                <a:gd name="connsiteX16" fmla="*/ 3331 w 10000"/>
                <a:gd name="connsiteY16" fmla="*/ 1180 h 10126"/>
                <a:gd name="connsiteX17" fmla="*/ 3043 w 10000"/>
                <a:gd name="connsiteY17" fmla="*/ 1180 h 10126"/>
                <a:gd name="connsiteX18" fmla="*/ 3043 w 10000"/>
                <a:gd name="connsiteY18" fmla="*/ 1366 h 10126"/>
                <a:gd name="connsiteX19" fmla="*/ 3074 w 10000"/>
                <a:gd name="connsiteY19" fmla="*/ 1444 h 10126"/>
                <a:gd name="connsiteX20" fmla="*/ 3118 w 10000"/>
                <a:gd name="connsiteY20" fmla="*/ 1511 h 10126"/>
                <a:gd name="connsiteX21" fmla="*/ 3168 w 10000"/>
                <a:gd name="connsiteY21" fmla="*/ 1571 h 10126"/>
                <a:gd name="connsiteX22" fmla="*/ 3225 w 10000"/>
                <a:gd name="connsiteY22" fmla="*/ 1613 h 10126"/>
                <a:gd name="connsiteX23" fmla="*/ 3281 w 10000"/>
                <a:gd name="connsiteY23" fmla="*/ 1655 h 10126"/>
                <a:gd name="connsiteX24" fmla="*/ 3350 w 10000"/>
                <a:gd name="connsiteY24" fmla="*/ 1685 h 10126"/>
                <a:gd name="connsiteX25" fmla="*/ 3413 w 10000"/>
                <a:gd name="connsiteY25" fmla="*/ 1715 h 10126"/>
                <a:gd name="connsiteX26" fmla="*/ 3488 w 10000"/>
                <a:gd name="connsiteY26" fmla="*/ 1740 h 10126"/>
                <a:gd name="connsiteX27" fmla="*/ 3626 w 10000"/>
                <a:gd name="connsiteY27" fmla="*/ 1794 h 10126"/>
                <a:gd name="connsiteX28" fmla="*/ 3764 w 10000"/>
                <a:gd name="connsiteY28" fmla="*/ 1847 h 10126"/>
                <a:gd name="connsiteX29" fmla="*/ 3827 w 10000"/>
                <a:gd name="connsiteY29" fmla="*/ 1884 h 10126"/>
                <a:gd name="connsiteX30" fmla="*/ 3890 w 10000"/>
                <a:gd name="connsiteY30" fmla="*/ 1932 h 10126"/>
                <a:gd name="connsiteX31" fmla="*/ 3946 w 10000"/>
                <a:gd name="connsiteY31" fmla="*/ 1981 h 10126"/>
                <a:gd name="connsiteX32" fmla="*/ 4003 w 10000"/>
                <a:gd name="connsiteY32" fmla="*/ 2035 h 10126"/>
                <a:gd name="connsiteX33" fmla="*/ 3959 w 10000"/>
                <a:gd name="connsiteY33" fmla="*/ 2596 h 10126"/>
                <a:gd name="connsiteX34" fmla="*/ 4034 w 10000"/>
                <a:gd name="connsiteY34" fmla="*/ 2650 h 10126"/>
                <a:gd name="connsiteX35" fmla="*/ 4141 w 10000"/>
                <a:gd name="connsiteY35" fmla="*/ 2716 h 10126"/>
                <a:gd name="connsiteX36" fmla="*/ 4260 w 10000"/>
                <a:gd name="connsiteY36" fmla="*/ 2776 h 10126"/>
                <a:gd name="connsiteX37" fmla="*/ 4398 w 10000"/>
                <a:gd name="connsiteY37" fmla="*/ 2831 h 10126"/>
                <a:gd name="connsiteX38" fmla="*/ 4536 w 10000"/>
                <a:gd name="connsiteY38" fmla="*/ 2884 h 10126"/>
                <a:gd name="connsiteX39" fmla="*/ 4668 w 10000"/>
                <a:gd name="connsiteY39" fmla="*/ 2926 h 10126"/>
                <a:gd name="connsiteX40" fmla="*/ 4724 w 10000"/>
                <a:gd name="connsiteY40" fmla="*/ 2944 h 10126"/>
                <a:gd name="connsiteX41" fmla="*/ 4780 w 10000"/>
                <a:gd name="connsiteY41" fmla="*/ 2956 h 10126"/>
                <a:gd name="connsiteX42" fmla="*/ 4831 w 10000"/>
                <a:gd name="connsiteY42" fmla="*/ 2962 h 10126"/>
                <a:gd name="connsiteX43" fmla="*/ 4875 w 10000"/>
                <a:gd name="connsiteY43" fmla="*/ 2962 h 10126"/>
                <a:gd name="connsiteX44" fmla="*/ 4887 w 10000"/>
                <a:gd name="connsiteY44" fmla="*/ 3005 h 10126"/>
                <a:gd name="connsiteX45" fmla="*/ 4918 w 10000"/>
                <a:gd name="connsiteY45" fmla="*/ 3041 h 10126"/>
                <a:gd name="connsiteX46" fmla="*/ 4950 w 10000"/>
                <a:gd name="connsiteY46" fmla="*/ 3059 h 10126"/>
                <a:gd name="connsiteX47" fmla="*/ 4987 w 10000"/>
                <a:gd name="connsiteY47" fmla="*/ 3071 h 10126"/>
                <a:gd name="connsiteX48" fmla="*/ 5019 w 10000"/>
                <a:gd name="connsiteY48" fmla="*/ 3083 h 10126"/>
                <a:gd name="connsiteX49" fmla="*/ 5063 w 10000"/>
                <a:gd name="connsiteY49" fmla="*/ 3083 h 10126"/>
                <a:gd name="connsiteX50" fmla="*/ 5107 w 10000"/>
                <a:gd name="connsiteY50" fmla="*/ 3077 h 10126"/>
                <a:gd name="connsiteX51" fmla="*/ 5157 w 10000"/>
                <a:gd name="connsiteY51" fmla="*/ 3071 h 10126"/>
                <a:gd name="connsiteX52" fmla="*/ 5245 w 10000"/>
                <a:gd name="connsiteY52" fmla="*/ 3053 h 10126"/>
                <a:gd name="connsiteX53" fmla="*/ 5345 w 10000"/>
                <a:gd name="connsiteY53" fmla="*/ 3029 h 10126"/>
                <a:gd name="connsiteX54" fmla="*/ 5383 w 10000"/>
                <a:gd name="connsiteY54" fmla="*/ 3029 h 10126"/>
                <a:gd name="connsiteX55" fmla="*/ 5427 w 10000"/>
                <a:gd name="connsiteY55" fmla="*/ 3023 h 10126"/>
                <a:gd name="connsiteX56" fmla="*/ 5464 w 10000"/>
                <a:gd name="connsiteY56" fmla="*/ 3029 h 10126"/>
                <a:gd name="connsiteX57" fmla="*/ 5502 w 10000"/>
                <a:gd name="connsiteY57" fmla="*/ 3035 h 10126"/>
                <a:gd name="connsiteX58" fmla="*/ 5558 w 10000"/>
                <a:gd name="connsiteY58" fmla="*/ 3071 h 10126"/>
                <a:gd name="connsiteX59" fmla="*/ 5596 w 10000"/>
                <a:gd name="connsiteY59" fmla="*/ 3101 h 10126"/>
                <a:gd name="connsiteX60" fmla="*/ 5634 w 10000"/>
                <a:gd name="connsiteY60" fmla="*/ 3143 h 10126"/>
                <a:gd name="connsiteX61" fmla="*/ 5665 w 10000"/>
                <a:gd name="connsiteY61" fmla="*/ 3179 h 10126"/>
                <a:gd name="connsiteX62" fmla="*/ 5696 w 10000"/>
                <a:gd name="connsiteY62" fmla="*/ 3216 h 10126"/>
                <a:gd name="connsiteX63" fmla="*/ 5734 w 10000"/>
                <a:gd name="connsiteY63" fmla="*/ 3252 h 10126"/>
                <a:gd name="connsiteX64" fmla="*/ 5759 w 10000"/>
                <a:gd name="connsiteY64" fmla="*/ 3270 h 10126"/>
                <a:gd name="connsiteX65" fmla="*/ 5778 w 10000"/>
                <a:gd name="connsiteY65" fmla="*/ 3282 h 10126"/>
                <a:gd name="connsiteX66" fmla="*/ 5803 w 10000"/>
                <a:gd name="connsiteY66" fmla="*/ 3294 h 10126"/>
                <a:gd name="connsiteX67" fmla="*/ 5834 w 10000"/>
                <a:gd name="connsiteY67" fmla="*/ 3300 h 10126"/>
                <a:gd name="connsiteX68" fmla="*/ 5935 w 10000"/>
                <a:gd name="connsiteY68" fmla="*/ 3319 h 10126"/>
                <a:gd name="connsiteX69" fmla="*/ 6073 w 10000"/>
                <a:gd name="connsiteY69" fmla="*/ 3354 h 10126"/>
                <a:gd name="connsiteX70" fmla="*/ 6230 w 10000"/>
                <a:gd name="connsiteY70" fmla="*/ 3390 h 10126"/>
                <a:gd name="connsiteX71" fmla="*/ 6405 w 10000"/>
                <a:gd name="connsiteY71" fmla="*/ 3433 h 10126"/>
                <a:gd name="connsiteX72" fmla="*/ 6568 w 10000"/>
                <a:gd name="connsiteY72" fmla="*/ 3463 h 10126"/>
                <a:gd name="connsiteX73" fmla="*/ 6719 w 10000"/>
                <a:gd name="connsiteY73" fmla="*/ 3487 h 10126"/>
                <a:gd name="connsiteX74" fmla="*/ 6788 w 10000"/>
                <a:gd name="connsiteY74" fmla="*/ 3493 h 10126"/>
                <a:gd name="connsiteX75" fmla="*/ 6838 w 10000"/>
                <a:gd name="connsiteY75" fmla="*/ 3499 h 10126"/>
                <a:gd name="connsiteX76" fmla="*/ 6888 w 10000"/>
                <a:gd name="connsiteY76" fmla="*/ 3493 h 10126"/>
                <a:gd name="connsiteX77" fmla="*/ 6913 w 10000"/>
                <a:gd name="connsiteY77" fmla="*/ 3481 h 10126"/>
                <a:gd name="connsiteX78" fmla="*/ 6888 w 10000"/>
                <a:gd name="connsiteY78" fmla="*/ 3439 h 10126"/>
                <a:gd name="connsiteX79" fmla="*/ 6857 w 10000"/>
                <a:gd name="connsiteY79" fmla="*/ 3390 h 10126"/>
                <a:gd name="connsiteX80" fmla="*/ 6838 w 10000"/>
                <a:gd name="connsiteY80" fmla="*/ 3342 h 10126"/>
                <a:gd name="connsiteX81" fmla="*/ 6826 w 10000"/>
                <a:gd name="connsiteY81" fmla="*/ 3288 h 10126"/>
                <a:gd name="connsiteX82" fmla="*/ 6794 w 10000"/>
                <a:gd name="connsiteY82" fmla="*/ 3197 h 10126"/>
                <a:gd name="connsiteX83" fmla="*/ 6788 w 10000"/>
                <a:gd name="connsiteY83" fmla="*/ 3149 h 10126"/>
                <a:gd name="connsiteX84" fmla="*/ 6788 w 10000"/>
                <a:gd name="connsiteY84" fmla="*/ 2962 h 10126"/>
                <a:gd name="connsiteX85" fmla="*/ 6788 w 10000"/>
                <a:gd name="connsiteY85" fmla="*/ 2776 h 10126"/>
                <a:gd name="connsiteX86" fmla="*/ 6995 w 10000"/>
                <a:gd name="connsiteY86" fmla="*/ 2776 h 10126"/>
                <a:gd name="connsiteX87" fmla="*/ 7033 w 10000"/>
                <a:gd name="connsiteY87" fmla="*/ 2842 h 10126"/>
                <a:gd name="connsiteX88" fmla="*/ 7058 w 10000"/>
                <a:gd name="connsiteY88" fmla="*/ 2884 h 10126"/>
                <a:gd name="connsiteX89" fmla="*/ 7095 w 10000"/>
                <a:gd name="connsiteY89" fmla="*/ 2920 h 10126"/>
                <a:gd name="connsiteX90" fmla="*/ 7127 w 10000"/>
                <a:gd name="connsiteY90" fmla="*/ 2962 h 10126"/>
                <a:gd name="connsiteX91" fmla="*/ 7120 w 10000"/>
                <a:gd name="connsiteY91" fmla="*/ 3059 h 10126"/>
                <a:gd name="connsiteX92" fmla="*/ 7102 w 10000"/>
                <a:gd name="connsiteY92" fmla="*/ 3119 h 10126"/>
                <a:gd name="connsiteX93" fmla="*/ 7089 w 10000"/>
                <a:gd name="connsiteY93" fmla="*/ 3167 h 10126"/>
                <a:gd name="connsiteX94" fmla="*/ 7077 w 10000"/>
                <a:gd name="connsiteY94" fmla="*/ 3222 h 10126"/>
                <a:gd name="connsiteX95" fmla="*/ 7208 w 10000"/>
                <a:gd name="connsiteY95" fmla="*/ 3258 h 10126"/>
                <a:gd name="connsiteX96" fmla="*/ 7334 w 10000"/>
                <a:gd name="connsiteY96" fmla="*/ 3294 h 10126"/>
                <a:gd name="connsiteX97" fmla="*/ 7396 w 10000"/>
                <a:gd name="connsiteY97" fmla="*/ 3313 h 10126"/>
                <a:gd name="connsiteX98" fmla="*/ 7459 w 10000"/>
                <a:gd name="connsiteY98" fmla="*/ 3325 h 10126"/>
                <a:gd name="connsiteX99" fmla="*/ 7522 w 10000"/>
                <a:gd name="connsiteY99" fmla="*/ 3331 h 10126"/>
                <a:gd name="connsiteX100" fmla="*/ 7585 w 10000"/>
                <a:gd name="connsiteY100" fmla="*/ 3336 h 10126"/>
                <a:gd name="connsiteX101" fmla="*/ 7591 w 10000"/>
                <a:gd name="connsiteY101" fmla="*/ 3360 h 10126"/>
                <a:gd name="connsiteX102" fmla="*/ 7604 w 10000"/>
                <a:gd name="connsiteY102" fmla="*/ 3384 h 10126"/>
                <a:gd name="connsiteX103" fmla="*/ 7622 w 10000"/>
                <a:gd name="connsiteY103" fmla="*/ 3402 h 10126"/>
                <a:gd name="connsiteX104" fmla="*/ 7654 w 10000"/>
                <a:gd name="connsiteY104" fmla="*/ 3420 h 10126"/>
                <a:gd name="connsiteX105" fmla="*/ 7704 w 10000"/>
                <a:gd name="connsiteY105" fmla="*/ 3439 h 10126"/>
                <a:gd name="connsiteX106" fmla="*/ 7748 w 10000"/>
                <a:gd name="connsiteY106" fmla="*/ 3445 h 10126"/>
                <a:gd name="connsiteX107" fmla="*/ 7798 w 10000"/>
                <a:gd name="connsiteY107" fmla="*/ 3445 h 10126"/>
                <a:gd name="connsiteX108" fmla="*/ 7836 w 10000"/>
                <a:gd name="connsiteY108" fmla="*/ 3433 h 10126"/>
                <a:gd name="connsiteX109" fmla="*/ 7880 w 10000"/>
                <a:gd name="connsiteY109" fmla="*/ 3414 h 10126"/>
                <a:gd name="connsiteX110" fmla="*/ 7911 w 10000"/>
                <a:gd name="connsiteY110" fmla="*/ 3396 h 10126"/>
                <a:gd name="connsiteX111" fmla="*/ 7949 w 10000"/>
                <a:gd name="connsiteY111" fmla="*/ 3372 h 10126"/>
                <a:gd name="connsiteX112" fmla="*/ 7980 w 10000"/>
                <a:gd name="connsiteY112" fmla="*/ 3342 h 10126"/>
                <a:gd name="connsiteX113" fmla="*/ 8011 w 10000"/>
                <a:gd name="connsiteY113" fmla="*/ 3313 h 10126"/>
                <a:gd name="connsiteX114" fmla="*/ 8036 w 10000"/>
                <a:gd name="connsiteY114" fmla="*/ 3282 h 10126"/>
                <a:gd name="connsiteX115" fmla="*/ 8087 w 10000"/>
                <a:gd name="connsiteY115" fmla="*/ 3203 h 10126"/>
                <a:gd name="connsiteX116" fmla="*/ 8118 w 10000"/>
                <a:gd name="connsiteY116" fmla="*/ 3131 h 10126"/>
                <a:gd name="connsiteX117" fmla="*/ 8149 w 10000"/>
                <a:gd name="connsiteY117" fmla="*/ 3065 h 10126"/>
                <a:gd name="connsiteX118" fmla="*/ 8168 w 10000"/>
                <a:gd name="connsiteY118" fmla="*/ 2999 h 10126"/>
                <a:gd name="connsiteX119" fmla="*/ 8231 w 10000"/>
                <a:gd name="connsiteY119" fmla="*/ 2932 h 10126"/>
                <a:gd name="connsiteX120" fmla="*/ 8294 w 10000"/>
                <a:gd name="connsiteY120" fmla="*/ 2866 h 10126"/>
                <a:gd name="connsiteX121" fmla="*/ 8363 w 10000"/>
                <a:gd name="connsiteY121" fmla="*/ 2813 h 10126"/>
                <a:gd name="connsiteX122" fmla="*/ 8432 w 10000"/>
                <a:gd name="connsiteY122" fmla="*/ 2752 h 10126"/>
                <a:gd name="connsiteX123" fmla="*/ 8507 w 10000"/>
                <a:gd name="connsiteY123" fmla="*/ 2704 h 10126"/>
                <a:gd name="connsiteX124" fmla="*/ 8576 w 10000"/>
                <a:gd name="connsiteY124" fmla="*/ 2656 h 10126"/>
                <a:gd name="connsiteX125" fmla="*/ 8651 w 10000"/>
                <a:gd name="connsiteY125" fmla="*/ 2614 h 10126"/>
                <a:gd name="connsiteX126" fmla="*/ 8726 w 10000"/>
                <a:gd name="connsiteY126" fmla="*/ 2570 h 10126"/>
                <a:gd name="connsiteX127" fmla="*/ 8808 w 10000"/>
                <a:gd name="connsiteY127" fmla="*/ 2528 h 10126"/>
                <a:gd name="connsiteX128" fmla="*/ 8890 w 10000"/>
                <a:gd name="connsiteY128" fmla="*/ 2492 h 10126"/>
                <a:gd name="connsiteX129" fmla="*/ 8971 w 10000"/>
                <a:gd name="connsiteY129" fmla="*/ 2462 h 10126"/>
                <a:gd name="connsiteX130" fmla="*/ 9059 w 10000"/>
                <a:gd name="connsiteY130" fmla="*/ 2432 h 10126"/>
                <a:gd name="connsiteX131" fmla="*/ 9235 w 10000"/>
                <a:gd name="connsiteY131" fmla="*/ 2378 h 10126"/>
                <a:gd name="connsiteX132" fmla="*/ 9417 w 10000"/>
                <a:gd name="connsiteY132" fmla="*/ 2335 h 10126"/>
                <a:gd name="connsiteX133" fmla="*/ 9454 w 10000"/>
                <a:gd name="connsiteY133" fmla="*/ 2384 h 10126"/>
                <a:gd name="connsiteX134" fmla="*/ 9504 w 10000"/>
                <a:gd name="connsiteY134" fmla="*/ 2444 h 10126"/>
                <a:gd name="connsiteX135" fmla="*/ 9573 w 10000"/>
                <a:gd name="connsiteY135" fmla="*/ 2510 h 10126"/>
                <a:gd name="connsiteX136" fmla="*/ 9642 w 10000"/>
                <a:gd name="connsiteY136" fmla="*/ 2583 h 10126"/>
                <a:gd name="connsiteX137" fmla="*/ 9718 w 10000"/>
                <a:gd name="connsiteY137" fmla="*/ 2644 h 10126"/>
                <a:gd name="connsiteX138" fmla="*/ 9799 w 10000"/>
                <a:gd name="connsiteY138" fmla="*/ 2692 h 10126"/>
                <a:gd name="connsiteX139" fmla="*/ 9837 w 10000"/>
                <a:gd name="connsiteY139" fmla="*/ 2716 h 10126"/>
                <a:gd name="connsiteX140" fmla="*/ 9875 w 10000"/>
                <a:gd name="connsiteY140" fmla="*/ 2728 h 10126"/>
                <a:gd name="connsiteX141" fmla="*/ 9918 w 10000"/>
                <a:gd name="connsiteY141" fmla="*/ 2740 h 10126"/>
                <a:gd name="connsiteX142" fmla="*/ 9956 w 10000"/>
                <a:gd name="connsiteY142" fmla="*/ 2740 h 10126"/>
                <a:gd name="connsiteX143" fmla="*/ 10000 w 10000"/>
                <a:gd name="connsiteY143" fmla="*/ 2668 h 10126"/>
                <a:gd name="connsiteX144" fmla="*/ 9975 w 10000"/>
                <a:gd name="connsiteY144" fmla="*/ 2795 h 10126"/>
                <a:gd name="connsiteX145" fmla="*/ 9944 w 10000"/>
                <a:gd name="connsiteY145" fmla="*/ 2938 h 10126"/>
                <a:gd name="connsiteX146" fmla="*/ 9931 w 10000"/>
                <a:gd name="connsiteY146" fmla="*/ 3005 h 10126"/>
                <a:gd name="connsiteX147" fmla="*/ 9906 w 10000"/>
                <a:gd name="connsiteY147" fmla="*/ 3065 h 10126"/>
                <a:gd name="connsiteX148" fmla="*/ 9887 w 10000"/>
                <a:gd name="connsiteY148" fmla="*/ 3089 h 10126"/>
                <a:gd name="connsiteX149" fmla="*/ 9875 w 10000"/>
                <a:gd name="connsiteY149" fmla="*/ 3113 h 10126"/>
                <a:gd name="connsiteX150" fmla="*/ 9856 w 10000"/>
                <a:gd name="connsiteY150" fmla="*/ 3131 h 10126"/>
                <a:gd name="connsiteX151" fmla="*/ 9837 w 10000"/>
                <a:gd name="connsiteY151" fmla="*/ 3149 h 10126"/>
                <a:gd name="connsiteX152" fmla="*/ 9749 w 10000"/>
                <a:gd name="connsiteY152" fmla="*/ 3167 h 10126"/>
                <a:gd name="connsiteX153" fmla="*/ 9605 w 10000"/>
                <a:gd name="connsiteY153" fmla="*/ 3216 h 10126"/>
                <a:gd name="connsiteX154" fmla="*/ 9536 w 10000"/>
                <a:gd name="connsiteY154" fmla="*/ 3258 h 10126"/>
                <a:gd name="connsiteX155" fmla="*/ 9479 w 10000"/>
                <a:gd name="connsiteY155" fmla="*/ 3294 h 10126"/>
                <a:gd name="connsiteX156" fmla="*/ 9448 w 10000"/>
                <a:gd name="connsiteY156" fmla="*/ 3313 h 10126"/>
                <a:gd name="connsiteX157" fmla="*/ 9435 w 10000"/>
                <a:gd name="connsiteY157" fmla="*/ 3331 h 10126"/>
                <a:gd name="connsiteX158" fmla="*/ 9423 w 10000"/>
                <a:gd name="connsiteY158" fmla="*/ 3354 h 10126"/>
                <a:gd name="connsiteX159" fmla="*/ 9417 w 10000"/>
                <a:gd name="connsiteY159" fmla="*/ 3372 h 10126"/>
                <a:gd name="connsiteX160" fmla="*/ 9423 w 10000"/>
                <a:gd name="connsiteY160" fmla="*/ 3583 h 10126"/>
                <a:gd name="connsiteX161" fmla="*/ 9417 w 10000"/>
                <a:gd name="connsiteY161" fmla="*/ 3824 h 10126"/>
                <a:gd name="connsiteX162" fmla="*/ 9398 w 10000"/>
                <a:gd name="connsiteY162" fmla="*/ 3884 h 10126"/>
                <a:gd name="connsiteX163" fmla="*/ 9391 w 10000"/>
                <a:gd name="connsiteY163" fmla="*/ 3950 h 10126"/>
                <a:gd name="connsiteX164" fmla="*/ 9379 w 10000"/>
                <a:gd name="connsiteY164" fmla="*/ 4004 h 10126"/>
                <a:gd name="connsiteX165" fmla="*/ 9366 w 10000"/>
                <a:gd name="connsiteY165" fmla="*/ 4059 h 10126"/>
                <a:gd name="connsiteX166" fmla="*/ 9348 w 10000"/>
                <a:gd name="connsiteY166" fmla="*/ 4108 h 10126"/>
                <a:gd name="connsiteX167" fmla="*/ 9316 w 10000"/>
                <a:gd name="connsiteY167" fmla="*/ 4156 h 10126"/>
                <a:gd name="connsiteX168" fmla="*/ 9285 w 10000"/>
                <a:gd name="connsiteY168" fmla="*/ 4192 h 10126"/>
                <a:gd name="connsiteX169" fmla="*/ 9247 w 10000"/>
                <a:gd name="connsiteY169" fmla="*/ 4222 h 10126"/>
                <a:gd name="connsiteX170" fmla="*/ 9228 w 10000"/>
                <a:gd name="connsiteY170" fmla="*/ 4240 h 10126"/>
                <a:gd name="connsiteX171" fmla="*/ 9184 w 10000"/>
                <a:gd name="connsiteY171" fmla="*/ 4246 h 10126"/>
                <a:gd name="connsiteX172" fmla="*/ 9141 w 10000"/>
                <a:gd name="connsiteY172" fmla="*/ 4252 h 10126"/>
                <a:gd name="connsiteX173" fmla="*/ 9090 w 10000"/>
                <a:gd name="connsiteY173" fmla="*/ 4258 h 10126"/>
                <a:gd name="connsiteX174" fmla="*/ 9040 w 10000"/>
                <a:gd name="connsiteY174" fmla="*/ 4264 h 10126"/>
                <a:gd name="connsiteX175" fmla="*/ 8996 w 10000"/>
                <a:gd name="connsiteY175" fmla="*/ 4283 h 10126"/>
                <a:gd name="connsiteX176" fmla="*/ 8977 w 10000"/>
                <a:gd name="connsiteY176" fmla="*/ 4289 h 10126"/>
                <a:gd name="connsiteX177" fmla="*/ 8965 w 10000"/>
                <a:gd name="connsiteY177" fmla="*/ 4307 h 10126"/>
                <a:gd name="connsiteX178" fmla="*/ 8959 w 10000"/>
                <a:gd name="connsiteY178" fmla="*/ 4319 h 10126"/>
                <a:gd name="connsiteX179" fmla="*/ 8959 w 10000"/>
                <a:gd name="connsiteY179" fmla="*/ 4337 h 10126"/>
                <a:gd name="connsiteX180" fmla="*/ 8952 w 10000"/>
                <a:gd name="connsiteY180" fmla="*/ 4408 h 10126"/>
                <a:gd name="connsiteX181" fmla="*/ 8952 w 10000"/>
                <a:gd name="connsiteY181" fmla="*/ 4493 h 10126"/>
                <a:gd name="connsiteX182" fmla="*/ 8940 w 10000"/>
                <a:gd name="connsiteY182" fmla="*/ 4583 h 10126"/>
                <a:gd name="connsiteX183" fmla="*/ 8927 w 10000"/>
                <a:gd name="connsiteY183" fmla="*/ 4667 h 10126"/>
                <a:gd name="connsiteX184" fmla="*/ 8908 w 10000"/>
                <a:gd name="connsiteY184" fmla="*/ 4753 h 10126"/>
                <a:gd name="connsiteX185" fmla="*/ 8890 w 10000"/>
                <a:gd name="connsiteY185" fmla="*/ 4831 h 10126"/>
                <a:gd name="connsiteX186" fmla="*/ 8864 w 10000"/>
                <a:gd name="connsiteY186" fmla="*/ 4902 h 10126"/>
                <a:gd name="connsiteX187" fmla="*/ 8833 w 10000"/>
                <a:gd name="connsiteY187" fmla="*/ 4969 h 10126"/>
                <a:gd name="connsiteX188" fmla="*/ 8538 w 10000"/>
                <a:gd name="connsiteY188" fmla="*/ 4480 h 10126"/>
                <a:gd name="connsiteX189" fmla="*/ 8526 w 10000"/>
                <a:gd name="connsiteY189" fmla="*/ 4505 h 10126"/>
                <a:gd name="connsiteX190" fmla="*/ 8494 w 10000"/>
                <a:gd name="connsiteY190" fmla="*/ 4559 h 10126"/>
                <a:gd name="connsiteX191" fmla="*/ 8463 w 10000"/>
                <a:gd name="connsiteY191" fmla="*/ 4589 h 10126"/>
                <a:gd name="connsiteX192" fmla="*/ 8438 w 10000"/>
                <a:gd name="connsiteY192" fmla="*/ 4613 h 10126"/>
                <a:gd name="connsiteX193" fmla="*/ 8407 w 10000"/>
                <a:gd name="connsiteY193" fmla="*/ 4631 h 10126"/>
                <a:gd name="connsiteX194" fmla="*/ 8375 w 10000"/>
                <a:gd name="connsiteY194" fmla="*/ 4637 h 10126"/>
                <a:gd name="connsiteX195" fmla="*/ 8338 w 10000"/>
                <a:gd name="connsiteY195" fmla="*/ 4631 h 10126"/>
                <a:gd name="connsiteX196" fmla="*/ 8312 w 10000"/>
                <a:gd name="connsiteY196" fmla="*/ 4625 h 10126"/>
                <a:gd name="connsiteX197" fmla="*/ 8287 w 10000"/>
                <a:gd name="connsiteY197" fmla="*/ 4607 h 10126"/>
                <a:gd name="connsiteX198" fmla="*/ 8256 w 10000"/>
                <a:gd name="connsiteY198" fmla="*/ 4589 h 10126"/>
                <a:gd name="connsiteX199" fmla="*/ 8237 w 10000"/>
                <a:gd name="connsiteY199" fmla="*/ 4559 h 10126"/>
                <a:gd name="connsiteX200" fmla="*/ 8225 w 10000"/>
                <a:gd name="connsiteY200" fmla="*/ 4535 h 10126"/>
                <a:gd name="connsiteX201" fmla="*/ 8206 w 10000"/>
                <a:gd name="connsiteY201" fmla="*/ 4511 h 10126"/>
                <a:gd name="connsiteX202" fmla="*/ 8206 w 10000"/>
                <a:gd name="connsiteY202" fmla="*/ 4480 h 10126"/>
                <a:gd name="connsiteX203" fmla="*/ 8206 w 10000"/>
                <a:gd name="connsiteY203" fmla="*/ 4444 h 10126"/>
                <a:gd name="connsiteX204" fmla="*/ 8225 w 10000"/>
                <a:gd name="connsiteY204" fmla="*/ 4408 h 10126"/>
                <a:gd name="connsiteX205" fmla="*/ 8237 w 10000"/>
                <a:gd name="connsiteY205" fmla="*/ 4372 h 10126"/>
                <a:gd name="connsiteX206" fmla="*/ 8250 w 10000"/>
                <a:gd name="connsiteY206" fmla="*/ 4337 h 10126"/>
                <a:gd name="connsiteX207" fmla="*/ 8300 w 10000"/>
                <a:gd name="connsiteY207" fmla="*/ 4270 h 10126"/>
                <a:gd name="connsiteX208" fmla="*/ 8356 w 10000"/>
                <a:gd name="connsiteY208" fmla="*/ 4204 h 10126"/>
                <a:gd name="connsiteX209" fmla="*/ 8407 w 10000"/>
                <a:gd name="connsiteY209" fmla="*/ 4144 h 10126"/>
                <a:gd name="connsiteX210" fmla="*/ 8457 w 10000"/>
                <a:gd name="connsiteY210" fmla="*/ 4078 h 10126"/>
                <a:gd name="connsiteX211" fmla="*/ 8469 w 10000"/>
                <a:gd name="connsiteY211" fmla="*/ 4041 h 10126"/>
                <a:gd name="connsiteX212" fmla="*/ 8482 w 10000"/>
                <a:gd name="connsiteY212" fmla="*/ 4010 h 10126"/>
                <a:gd name="connsiteX213" fmla="*/ 8501 w 10000"/>
                <a:gd name="connsiteY213" fmla="*/ 3968 h 10126"/>
                <a:gd name="connsiteX214" fmla="*/ 8501 w 10000"/>
                <a:gd name="connsiteY214" fmla="*/ 3932 h 10126"/>
                <a:gd name="connsiteX215" fmla="*/ 7748 w 10000"/>
                <a:gd name="connsiteY215" fmla="*/ 3932 h 10126"/>
                <a:gd name="connsiteX216" fmla="*/ 7723 w 10000"/>
                <a:gd name="connsiteY216" fmla="*/ 3926 h 10126"/>
                <a:gd name="connsiteX217" fmla="*/ 7685 w 10000"/>
                <a:gd name="connsiteY217" fmla="*/ 3908 h 10126"/>
                <a:gd name="connsiteX218" fmla="*/ 7660 w 10000"/>
                <a:gd name="connsiteY218" fmla="*/ 3872 h 10126"/>
                <a:gd name="connsiteX219" fmla="*/ 7635 w 10000"/>
                <a:gd name="connsiteY219" fmla="*/ 3836 h 10126"/>
                <a:gd name="connsiteX220" fmla="*/ 7616 w 10000"/>
                <a:gd name="connsiteY220" fmla="*/ 3788 h 10126"/>
                <a:gd name="connsiteX221" fmla="*/ 7597 w 10000"/>
                <a:gd name="connsiteY221" fmla="*/ 3740 h 10126"/>
                <a:gd name="connsiteX222" fmla="*/ 7591 w 10000"/>
                <a:gd name="connsiteY222" fmla="*/ 3686 h 10126"/>
                <a:gd name="connsiteX223" fmla="*/ 7585 w 10000"/>
                <a:gd name="connsiteY223" fmla="*/ 3631 h 10126"/>
                <a:gd name="connsiteX224" fmla="*/ 7547 w 10000"/>
                <a:gd name="connsiteY224" fmla="*/ 3631 h 10126"/>
                <a:gd name="connsiteX225" fmla="*/ 7516 w 10000"/>
                <a:gd name="connsiteY225" fmla="*/ 3625 h 10126"/>
                <a:gd name="connsiteX226" fmla="*/ 7478 w 10000"/>
                <a:gd name="connsiteY226" fmla="*/ 3619 h 10126"/>
                <a:gd name="connsiteX227" fmla="*/ 7447 w 10000"/>
                <a:gd name="connsiteY227" fmla="*/ 3607 h 10126"/>
                <a:gd name="connsiteX228" fmla="*/ 7415 w 10000"/>
                <a:gd name="connsiteY228" fmla="*/ 3589 h 10126"/>
                <a:gd name="connsiteX229" fmla="*/ 7396 w 10000"/>
                <a:gd name="connsiteY229" fmla="*/ 3571 h 10126"/>
                <a:gd name="connsiteX230" fmla="*/ 7384 w 10000"/>
                <a:gd name="connsiteY230" fmla="*/ 3541 h 10126"/>
                <a:gd name="connsiteX231" fmla="*/ 7378 w 10000"/>
                <a:gd name="connsiteY231" fmla="*/ 3517 h 10126"/>
                <a:gd name="connsiteX232" fmla="*/ 7321 w 10000"/>
                <a:gd name="connsiteY232" fmla="*/ 3517 h 10126"/>
                <a:gd name="connsiteX233" fmla="*/ 7271 w 10000"/>
                <a:gd name="connsiteY233" fmla="*/ 3517 h 10126"/>
                <a:gd name="connsiteX234" fmla="*/ 7221 w 10000"/>
                <a:gd name="connsiteY234" fmla="*/ 3517 h 10126"/>
                <a:gd name="connsiteX235" fmla="*/ 7171 w 10000"/>
                <a:gd name="connsiteY235" fmla="*/ 3517 h 10126"/>
                <a:gd name="connsiteX236" fmla="*/ 7127 w 10000"/>
                <a:gd name="connsiteY236" fmla="*/ 3523 h 10126"/>
                <a:gd name="connsiteX237" fmla="*/ 7095 w 10000"/>
                <a:gd name="connsiteY237" fmla="*/ 3529 h 10126"/>
                <a:gd name="connsiteX238" fmla="*/ 7051 w 10000"/>
                <a:gd name="connsiteY238" fmla="*/ 3547 h 10126"/>
                <a:gd name="connsiteX239" fmla="*/ 7008 w 10000"/>
                <a:gd name="connsiteY239" fmla="*/ 3571 h 10126"/>
                <a:gd name="connsiteX240" fmla="*/ 6976 w 10000"/>
                <a:gd name="connsiteY240" fmla="*/ 3601 h 10126"/>
                <a:gd name="connsiteX241" fmla="*/ 6939 w 10000"/>
                <a:gd name="connsiteY241" fmla="*/ 3631 h 10126"/>
                <a:gd name="connsiteX242" fmla="*/ 6920 w 10000"/>
                <a:gd name="connsiteY242" fmla="*/ 3668 h 10126"/>
                <a:gd name="connsiteX243" fmla="*/ 6913 w 10000"/>
                <a:gd name="connsiteY243" fmla="*/ 3704 h 10126"/>
                <a:gd name="connsiteX244" fmla="*/ 6926 w 10000"/>
                <a:gd name="connsiteY244" fmla="*/ 3728 h 10126"/>
                <a:gd name="connsiteX245" fmla="*/ 6964 w 10000"/>
                <a:gd name="connsiteY245" fmla="*/ 3758 h 10126"/>
                <a:gd name="connsiteX246" fmla="*/ 7008 w 10000"/>
                <a:gd name="connsiteY246" fmla="*/ 3794 h 10126"/>
                <a:gd name="connsiteX247" fmla="*/ 7070 w 10000"/>
                <a:gd name="connsiteY247" fmla="*/ 3830 h 10126"/>
                <a:gd name="connsiteX248" fmla="*/ 7133 w 10000"/>
                <a:gd name="connsiteY248" fmla="*/ 3866 h 10126"/>
                <a:gd name="connsiteX249" fmla="*/ 7196 w 10000"/>
                <a:gd name="connsiteY249" fmla="*/ 3896 h 10126"/>
                <a:gd name="connsiteX250" fmla="*/ 7252 w 10000"/>
                <a:gd name="connsiteY250" fmla="*/ 3920 h 10126"/>
                <a:gd name="connsiteX251" fmla="*/ 7290 w 10000"/>
                <a:gd name="connsiteY251" fmla="*/ 3932 h 10126"/>
                <a:gd name="connsiteX252" fmla="*/ 7208 w 10000"/>
                <a:gd name="connsiteY252" fmla="*/ 3992 h 10126"/>
                <a:gd name="connsiteX253" fmla="*/ 7114 w 10000"/>
                <a:gd name="connsiteY253" fmla="*/ 4066 h 10126"/>
                <a:gd name="connsiteX254" fmla="*/ 7070 w 10000"/>
                <a:gd name="connsiteY254" fmla="*/ 4102 h 10126"/>
                <a:gd name="connsiteX255" fmla="*/ 7033 w 10000"/>
                <a:gd name="connsiteY255" fmla="*/ 4144 h 10126"/>
                <a:gd name="connsiteX256" fmla="*/ 7020 w 10000"/>
                <a:gd name="connsiteY256" fmla="*/ 4162 h 10126"/>
                <a:gd name="connsiteX257" fmla="*/ 7008 w 10000"/>
                <a:gd name="connsiteY257" fmla="*/ 4180 h 10126"/>
                <a:gd name="connsiteX258" fmla="*/ 7001 w 10000"/>
                <a:gd name="connsiteY258" fmla="*/ 4204 h 10126"/>
                <a:gd name="connsiteX259" fmla="*/ 6995 w 10000"/>
                <a:gd name="connsiteY259" fmla="*/ 4222 h 10126"/>
                <a:gd name="connsiteX260" fmla="*/ 7001 w 10000"/>
                <a:gd name="connsiteY260" fmla="*/ 4252 h 10126"/>
                <a:gd name="connsiteX261" fmla="*/ 7008 w 10000"/>
                <a:gd name="connsiteY261" fmla="*/ 4270 h 10126"/>
                <a:gd name="connsiteX262" fmla="*/ 7026 w 10000"/>
                <a:gd name="connsiteY262" fmla="*/ 4295 h 10126"/>
                <a:gd name="connsiteX263" fmla="*/ 7039 w 10000"/>
                <a:gd name="connsiteY263" fmla="*/ 4319 h 10126"/>
                <a:gd name="connsiteX264" fmla="*/ 7089 w 10000"/>
                <a:gd name="connsiteY264" fmla="*/ 4366 h 10126"/>
                <a:gd name="connsiteX265" fmla="*/ 7146 w 10000"/>
                <a:gd name="connsiteY265" fmla="*/ 4414 h 10126"/>
                <a:gd name="connsiteX266" fmla="*/ 7208 w 10000"/>
                <a:gd name="connsiteY266" fmla="*/ 4456 h 10126"/>
                <a:gd name="connsiteX267" fmla="*/ 7277 w 10000"/>
                <a:gd name="connsiteY267" fmla="*/ 4493 h 10126"/>
                <a:gd name="connsiteX268" fmla="*/ 7315 w 10000"/>
                <a:gd name="connsiteY268" fmla="*/ 4505 h 10126"/>
                <a:gd name="connsiteX269" fmla="*/ 7346 w 10000"/>
                <a:gd name="connsiteY269" fmla="*/ 4511 h 10126"/>
                <a:gd name="connsiteX270" fmla="*/ 7384 w 10000"/>
                <a:gd name="connsiteY270" fmla="*/ 4517 h 10126"/>
                <a:gd name="connsiteX271" fmla="*/ 7415 w 10000"/>
                <a:gd name="connsiteY271" fmla="*/ 4523 h 10126"/>
                <a:gd name="connsiteX272" fmla="*/ 7585 w 10000"/>
                <a:gd name="connsiteY272" fmla="*/ 5150 h 10126"/>
                <a:gd name="connsiteX273" fmla="*/ 7491 w 10000"/>
                <a:gd name="connsiteY273" fmla="*/ 5150 h 10126"/>
                <a:gd name="connsiteX274" fmla="*/ 7403 w 10000"/>
                <a:gd name="connsiteY274" fmla="*/ 5150 h 10126"/>
                <a:gd name="connsiteX275" fmla="*/ 7321 w 10000"/>
                <a:gd name="connsiteY275" fmla="*/ 5150 h 10126"/>
                <a:gd name="connsiteX276" fmla="*/ 7252 w 10000"/>
                <a:gd name="connsiteY276" fmla="*/ 5150 h 10126"/>
                <a:gd name="connsiteX277" fmla="*/ 7208 w 10000"/>
                <a:gd name="connsiteY277" fmla="*/ 5144 h 10126"/>
                <a:gd name="connsiteX278" fmla="*/ 7164 w 10000"/>
                <a:gd name="connsiteY278" fmla="*/ 5113 h 10126"/>
                <a:gd name="connsiteX279" fmla="*/ 7133 w 10000"/>
                <a:gd name="connsiteY279" fmla="*/ 5101 h 10126"/>
                <a:gd name="connsiteX280" fmla="*/ 7102 w 10000"/>
                <a:gd name="connsiteY280" fmla="*/ 5089 h 10126"/>
                <a:gd name="connsiteX281" fmla="*/ 7070 w 10000"/>
                <a:gd name="connsiteY281" fmla="*/ 5083 h 10126"/>
                <a:gd name="connsiteX282" fmla="*/ 7039 w 10000"/>
                <a:gd name="connsiteY282" fmla="*/ 5077 h 10126"/>
                <a:gd name="connsiteX283" fmla="*/ 7008 w 10000"/>
                <a:gd name="connsiteY283" fmla="*/ 5089 h 10126"/>
                <a:gd name="connsiteX284" fmla="*/ 6957 w 10000"/>
                <a:gd name="connsiteY284" fmla="*/ 5119 h 10126"/>
                <a:gd name="connsiteX285" fmla="*/ 6895 w 10000"/>
                <a:gd name="connsiteY285" fmla="*/ 5162 h 10126"/>
                <a:gd name="connsiteX286" fmla="*/ 6819 w 10000"/>
                <a:gd name="connsiteY286" fmla="*/ 5210 h 10126"/>
                <a:gd name="connsiteX287" fmla="*/ 6744 w 10000"/>
                <a:gd name="connsiteY287" fmla="*/ 5270 h 10126"/>
                <a:gd name="connsiteX288" fmla="*/ 6681 w 10000"/>
                <a:gd name="connsiteY288" fmla="*/ 5318 h 10126"/>
                <a:gd name="connsiteX289" fmla="*/ 6637 w 10000"/>
                <a:gd name="connsiteY289" fmla="*/ 5354 h 10126"/>
                <a:gd name="connsiteX290" fmla="*/ 6625 w 10000"/>
                <a:gd name="connsiteY290" fmla="*/ 5378 h 10126"/>
                <a:gd name="connsiteX291" fmla="*/ 6750 w 10000"/>
                <a:gd name="connsiteY291" fmla="*/ 5450 h 10126"/>
                <a:gd name="connsiteX292" fmla="*/ 6744 w 10000"/>
                <a:gd name="connsiteY292" fmla="*/ 5487 h 10126"/>
                <a:gd name="connsiteX293" fmla="*/ 6725 w 10000"/>
                <a:gd name="connsiteY293" fmla="*/ 5529 h 10126"/>
                <a:gd name="connsiteX294" fmla="*/ 6706 w 10000"/>
                <a:gd name="connsiteY294" fmla="*/ 5560 h 10126"/>
                <a:gd name="connsiteX295" fmla="*/ 6688 w 10000"/>
                <a:gd name="connsiteY295" fmla="*/ 5602 h 10126"/>
                <a:gd name="connsiteX296" fmla="*/ 6637 w 10000"/>
                <a:gd name="connsiteY296" fmla="*/ 5656 h 10126"/>
                <a:gd name="connsiteX297" fmla="*/ 6581 w 10000"/>
                <a:gd name="connsiteY297" fmla="*/ 5710 h 10126"/>
                <a:gd name="connsiteX298" fmla="*/ 6518 w 10000"/>
                <a:gd name="connsiteY298" fmla="*/ 5758 h 10126"/>
                <a:gd name="connsiteX299" fmla="*/ 6443 w 10000"/>
                <a:gd name="connsiteY299" fmla="*/ 5801 h 10126"/>
                <a:gd name="connsiteX300" fmla="*/ 6374 w 10000"/>
                <a:gd name="connsiteY300" fmla="*/ 5837 h 10126"/>
                <a:gd name="connsiteX301" fmla="*/ 6299 w 10000"/>
                <a:gd name="connsiteY301" fmla="*/ 5872 h 10126"/>
                <a:gd name="connsiteX302" fmla="*/ 6223 w 10000"/>
                <a:gd name="connsiteY302" fmla="*/ 5920 h 10126"/>
                <a:gd name="connsiteX303" fmla="*/ 6154 w 10000"/>
                <a:gd name="connsiteY303" fmla="*/ 5956 h 10126"/>
                <a:gd name="connsiteX304" fmla="*/ 6092 w 10000"/>
                <a:gd name="connsiteY304" fmla="*/ 5999 h 10126"/>
                <a:gd name="connsiteX305" fmla="*/ 6035 w 10000"/>
                <a:gd name="connsiteY305" fmla="*/ 6047 h 10126"/>
                <a:gd name="connsiteX306" fmla="*/ 6004 w 10000"/>
                <a:gd name="connsiteY306" fmla="*/ 6071 h 10126"/>
                <a:gd name="connsiteX307" fmla="*/ 5985 w 10000"/>
                <a:gd name="connsiteY307" fmla="*/ 6095 h 10126"/>
                <a:gd name="connsiteX308" fmla="*/ 5966 w 10000"/>
                <a:gd name="connsiteY308" fmla="*/ 6125 h 10126"/>
                <a:gd name="connsiteX309" fmla="*/ 5947 w 10000"/>
                <a:gd name="connsiteY309" fmla="*/ 6155 h 10126"/>
                <a:gd name="connsiteX310" fmla="*/ 5935 w 10000"/>
                <a:gd name="connsiteY310" fmla="*/ 6193 h 10126"/>
                <a:gd name="connsiteX311" fmla="*/ 5922 w 10000"/>
                <a:gd name="connsiteY311" fmla="*/ 6223 h 10126"/>
                <a:gd name="connsiteX312" fmla="*/ 5916 w 10000"/>
                <a:gd name="connsiteY312" fmla="*/ 6265 h 10126"/>
                <a:gd name="connsiteX313" fmla="*/ 5916 w 10000"/>
                <a:gd name="connsiteY313" fmla="*/ 6307 h 10126"/>
                <a:gd name="connsiteX314" fmla="*/ 5859 w 10000"/>
                <a:gd name="connsiteY314" fmla="*/ 6325 h 10126"/>
                <a:gd name="connsiteX315" fmla="*/ 5809 w 10000"/>
                <a:gd name="connsiteY315" fmla="*/ 6343 h 10126"/>
                <a:gd name="connsiteX316" fmla="*/ 5765 w 10000"/>
                <a:gd name="connsiteY316" fmla="*/ 6366 h 10126"/>
                <a:gd name="connsiteX317" fmla="*/ 5721 w 10000"/>
                <a:gd name="connsiteY317" fmla="*/ 6390 h 10126"/>
                <a:gd name="connsiteX318" fmla="*/ 5634 w 10000"/>
                <a:gd name="connsiteY318" fmla="*/ 6451 h 10126"/>
                <a:gd name="connsiteX319" fmla="*/ 5558 w 10000"/>
                <a:gd name="connsiteY319" fmla="*/ 6523 h 10126"/>
                <a:gd name="connsiteX320" fmla="*/ 5420 w 10000"/>
                <a:gd name="connsiteY320" fmla="*/ 6686 h 10126"/>
                <a:gd name="connsiteX321" fmla="*/ 5289 w 10000"/>
                <a:gd name="connsiteY321" fmla="*/ 6860 h 10126"/>
                <a:gd name="connsiteX322" fmla="*/ 5220 w 10000"/>
                <a:gd name="connsiteY322" fmla="*/ 6951 h 10126"/>
                <a:gd name="connsiteX323" fmla="*/ 5151 w 10000"/>
                <a:gd name="connsiteY323" fmla="*/ 7029 h 10126"/>
                <a:gd name="connsiteX324" fmla="*/ 5075 w 10000"/>
                <a:gd name="connsiteY324" fmla="*/ 7102 h 10126"/>
                <a:gd name="connsiteX325" fmla="*/ 4994 w 10000"/>
                <a:gd name="connsiteY325" fmla="*/ 7168 h 10126"/>
                <a:gd name="connsiteX326" fmla="*/ 4944 w 10000"/>
                <a:gd name="connsiteY326" fmla="*/ 7198 h 10126"/>
                <a:gd name="connsiteX327" fmla="*/ 4893 w 10000"/>
                <a:gd name="connsiteY327" fmla="*/ 7222 h 10126"/>
                <a:gd name="connsiteX328" fmla="*/ 4849 w 10000"/>
                <a:gd name="connsiteY328" fmla="*/ 7246 h 10126"/>
                <a:gd name="connsiteX329" fmla="*/ 4793 w 10000"/>
                <a:gd name="connsiteY329" fmla="*/ 7271 h 10126"/>
                <a:gd name="connsiteX330" fmla="*/ 4730 w 10000"/>
                <a:gd name="connsiteY330" fmla="*/ 7289 h 10126"/>
                <a:gd name="connsiteX331" fmla="*/ 4674 w 10000"/>
                <a:gd name="connsiteY331" fmla="*/ 7301 h 10126"/>
                <a:gd name="connsiteX332" fmla="*/ 4605 w 10000"/>
                <a:gd name="connsiteY332" fmla="*/ 7307 h 10126"/>
                <a:gd name="connsiteX333" fmla="*/ 4536 w 10000"/>
                <a:gd name="connsiteY333" fmla="*/ 7307 h 10126"/>
                <a:gd name="connsiteX334" fmla="*/ 4536 w 10000"/>
                <a:gd name="connsiteY334" fmla="*/ 7360 h 10126"/>
                <a:gd name="connsiteX335" fmla="*/ 4536 w 10000"/>
                <a:gd name="connsiteY335" fmla="*/ 7414 h 10126"/>
                <a:gd name="connsiteX336" fmla="*/ 4536 w 10000"/>
                <a:gd name="connsiteY336" fmla="*/ 7456 h 10126"/>
                <a:gd name="connsiteX337" fmla="*/ 4536 w 10000"/>
                <a:gd name="connsiteY337" fmla="*/ 7493 h 10126"/>
                <a:gd name="connsiteX338" fmla="*/ 4536 w 10000"/>
                <a:gd name="connsiteY338" fmla="*/ 7559 h 10126"/>
                <a:gd name="connsiteX339" fmla="*/ 4536 w 10000"/>
                <a:gd name="connsiteY339" fmla="*/ 7662 h 10126"/>
                <a:gd name="connsiteX340" fmla="*/ 4536 w 10000"/>
                <a:gd name="connsiteY340" fmla="*/ 7771 h 10126"/>
                <a:gd name="connsiteX341" fmla="*/ 4548 w 10000"/>
                <a:gd name="connsiteY341" fmla="*/ 7884 h 10126"/>
                <a:gd name="connsiteX342" fmla="*/ 4561 w 10000"/>
                <a:gd name="connsiteY342" fmla="*/ 7945 h 10126"/>
                <a:gd name="connsiteX343" fmla="*/ 4573 w 10000"/>
                <a:gd name="connsiteY343" fmla="*/ 7999 h 10126"/>
                <a:gd name="connsiteX344" fmla="*/ 4586 w 10000"/>
                <a:gd name="connsiteY344" fmla="*/ 8047 h 10126"/>
                <a:gd name="connsiteX345" fmla="*/ 4611 w 10000"/>
                <a:gd name="connsiteY345" fmla="*/ 8089 h 10126"/>
                <a:gd name="connsiteX346" fmla="*/ 4636 w 10000"/>
                <a:gd name="connsiteY346" fmla="*/ 8132 h 10126"/>
                <a:gd name="connsiteX347" fmla="*/ 4668 w 10000"/>
                <a:gd name="connsiteY347" fmla="*/ 8162 h 10126"/>
                <a:gd name="connsiteX348" fmla="*/ 4705 w 10000"/>
                <a:gd name="connsiteY348" fmla="*/ 8186 h 10126"/>
                <a:gd name="connsiteX349" fmla="*/ 4749 w 10000"/>
                <a:gd name="connsiteY349" fmla="*/ 8198 h 10126"/>
                <a:gd name="connsiteX350" fmla="*/ 4711 w 10000"/>
                <a:gd name="connsiteY350" fmla="*/ 8294 h 10126"/>
                <a:gd name="connsiteX351" fmla="*/ 4668 w 10000"/>
                <a:gd name="connsiteY351" fmla="*/ 8379 h 10126"/>
                <a:gd name="connsiteX352" fmla="*/ 4617 w 10000"/>
                <a:gd name="connsiteY352" fmla="*/ 8457 h 10126"/>
                <a:gd name="connsiteX353" fmla="*/ 4573 w 10000"/>
                <a:gd name="connsiteY353" fmla="*/ 8529 h 10126"/>
                <a:gd name="connsiteX354" fmla="*/ 4523 w 10000"/>
                <a:gd name="connsiteY354" fmla="*/ 8614 h 10126"/>
                <a:gd name="connsiteX355" fmla="*/ 4492 w 10000"/>
                <a:gd name="connsiteY355" fmla="*/ 8692 h 10126"/>
                <a:gd name="connsiteX356" fmla="*/ 4473 w 10000"/>
                <a:gd name="connsiteY356" fmla="*/ 8728 h 10126"/>
                <a:gd name="connsiteX357" fmla="*/ 4467 w 10000"/>
                <a:gd name="connsiteY357" fmla="*/ 8771 h 10126"/>
                <a:gd name="connsiteX358" fmla="*/ 4460 w 10000"/>
                <a:gd name="connsiteY358" fmla="*/ 8819 h 10126"/>
                <a:gd name="connsiteX359" fmla="*/ 4454 w 10000"/>
                <a:gd name="connsiteY359" fmla="*/ 8861 h 10126"/>
                <a:gd name="connsiteX360" fmla="*/ 4460 w 10000"/>
                <a:gd name="connsiteY360" fmla="*/ 8878 h 10126"/>
                <a:gd name="connsiteX361" fmla="*/ 4467 w 10000"/>
                <a:gd name="connsiteY361" fmla="*/ 8890 h 10126"/>
                <a:gd name="connsiteX362" fmla="*/ 4479 w 10000"/>
                <a:gd name="connsiteY362" fmla="*/ 8902 h 10126"/>
                <a:gd name="connsiteX363" fmla="*/ 4504 w 10000"/>
                <a:gd name="connsiteY363" fmla="*/ 8914 h 10126"/>
                <a:gd name="connsiteX364" fmla="*/ 4542 w 10000"/>
                <a:gd name="connsiteY364" fmla="*/ 8938 h 10126"/>
                <a:gd name="connsiteX365" fmla="*/ 4580 w 10000"/>
                <a:gd name="connsiteY365" fmla="*/ 8944 h 10126"/>
                <a:gd name="connsiteX366" fmla="*/ 4580 w 10000"/>
                <a:gd name="connsiteY366" fmla="*/ 9162 h 10126"/>
                <a:gd name="connsiteX367" fmla="*/ 4529 w 10000"/>
                <a:gd name="connsiteY367" fmla="*/ 9247 h 10126"/>
                <a:gd name="connsiteX368" fmla="*/ 4492 w 10000"/>
                <a:gd name="connsiteY368" fmla="*/ 9337 h 10126"/>
                <a:gd name="connsiteX369" fmla="*/ 4460 w 10000"/>
                <a:gd name="connsiteY369" fmla="*/ 9372 h 10126"/>
                <a:gd name="connsiteX370" fmla="*/ 4429 w 10000"/>
                <a:gd name="connsiteY370" fmla="*/ 9397 h 10126"/>
                <a:gd name="connsiteX371" fmla="*/ 4404 w 10000"/>
                <a:gd name="connsiteY371" fmla="*/ 9409 h 10126"/>
                <a:gd name="connsiteX372" fmla="*/ 4385 w 10000"/>
                <a:gd name="connsiteY372" fmla="*/ 9415 h 10126"/>
                <a:gd name="connsiteX373" fmla="*/ 4360 w 10000"/>
                <a:gd name="connsiteY373" fmla="*/ 9421 h 10126"/>
                <a:gd name="connsiteX374" fmla="*/ 4329 w 10000"/>
                <a:gd name="connsiteY374" fmla="*/ 9421 h 10126"/>
                <a:gd name="connsiteX375" fmla="*/ 4329 w 10000"/>
                <a:gd name="connsiteY375" fmla="*/ 9469 h 10126"/>
                <a:gd name="connsiteX376" fmla="*/ 4335 w 10000"/>
                <a:gd name="connsiteY376" fmla="*/ 9529 h 10126"/>
                <a:gd name="connsiteX377" fmla="*/ 4348 w 10000"/>
                <a:gd name="connsiteY377" fmla="*/ 9559 h 10126"/>
                <a:gd name="connsiteX378" fmla="*/ 4354 w 10000"/>
                <a:gd name="connsiteY378" fmla="*/ 9583 h 10126"/>
                <a:gd name="connsiteX379" fmla="*/ 4360 w 10000"/>
                <a:gd name="connsiteY379" fmla="*/ 9602 h 10126"/>
                <a:gd name="connsiteX380" fmla="*/ 4373 w 10000"/>
                <a:gd name="connsiteY380" fmla="*/ 9608 h 10126"/>
                <a:gd name="connsiteX381" fmla="*/ 4210 w 10000"/>
                <a:gd name="connsiteY381" fmla="*/ 9734 h 10126"/>
                <a:gd name="connsiteX382" fmla="*/ 4072 w 10000"/>
                <a:gd name="connsiteY382" fmla="*/ 9838 h 10126"/>
                <a:gd name="connsiteX383" fmla="*/ 4009 w 10000"/>
                <a:gd name="connsiteY383" fmla="*/ 9897 h 10126"/>
                <a:gd name="connsiteX384" fmla="*/ 3952 w 10000"/>
                <a:gd name="connsiteY384" fmla="*/ 9963 h 10126"/>
                <a:gd name="connsiteX385" fmla="*/ 3890 w 10000"/>
                <a:gd name="connsiteY385" fmla="*/ 10042 h 10126"/>
                <a:gd name="connsiteX386" fmla="*/ 3833 w 10000"/>
                <a:gd name="connsiteY386" fmla="*/ 10126 h 10126"/>
                <a:gd name="connsiteX387" fmla="*/ 3733 w 10000"/>
                <a:gd name="connsiteY387" fmla="*/ 10084 h 10126"/>
                <a:gd name="connsiteX388" fmla="*/ 3664 w 10000"/>
                <a:gd name="connsiteY388" fmla="*/ 10042 h 10126"/>
                <a:gd name="connsiteX389" fmla="*/ 3607 w 10000"/>
                <a:gd name="connsiteY389" fmla="*/ 9999 h 10126"/>
                <a:gd name="connsiteX390" fmla="*/ 3563 w 10000"/>
                <a:gd name="connsiteY390" fmla="*/ 9951 h 10126"/>
                <a:gd name="connsiteX391" fmla="*/ 3532 w 10000"/>
                <a:gd name="connsiteY391" fmla="*/ 9891 h 10126"/>
                <a:gd name="connsiteX392" fmla="*/ 3513 w 10000"/>
                <a:gd name="connsiteY392" fmla="*/ 9832 h 10126"/>
                <a:gd name="connsiteX393" fmla="*/ 3482 w 10000"/>
                <a:gd name="connsiteY393" fmla="*/ 9758 h 10126"/>
                <a:gd name="connsiteX394" fmla="*/ 3457 w 10000"/>
                <a:gd name="connsiteY394" fmla="*/ 9686 h 10126"/>
                <a:gd name="connsiteX395" fmla="*/ 3400 w 10000"/>
                <a:gd name="connsiteY395" fmla="*/ 9547 h 10126"/>
                <a:gd name="connsiteX396" fmla="*/ 3325 w 10000"/>
                <a:gd name="connsiteY396" fmla="*/ 9415 h 10126"/>
                <a:gd name="connsiteX397" fmla="*/ 3237 w 10000"/>
                <a:gd name="connsiteY397" fmla="*/ 9277 h 10126"/>
                <a:gd name="connsiteX398" fmla="*/ 3143 w 10000"/>
                <a:gd name="connsiteY398" fmla="*/ 9132 h 10126"/>
                <a:gd name="connsiteX399" fmla="*/ 3049 w 10000"/>
                <a:gd name="connsiteY399" fmla="*/ 8999 h 10126"/>
                <a:gd name="connsiteX400" fmla="*/ 2967 w 10000"/>
                <a:gd name="connsiteY400" fmla="*/ 8867 h 10126"/>
                <a:gd name="connsiteX401" fmla="*/ 2892 w 10000"/>
                <a:gd name="connsiteY401" fmla="*/ 8747 h 10126"/>
                <a:gd name="connsiteX402" fmla="*/ 2829 w 10000"/>
                <a:gd name="connsiteY402" fmla="*/ 8644 h 10126"/>
                <a:gd name="connsiteX403" fmla="*/ 2773 w 10000"/>
                <a:gd name="connsiteY403" fmla="*/ 8529 h 10126"/>
                <a:gd name="connsiteX404" fmla="*/ 2735 w 10000"/>
                <a:gd name="connsiteY404" fmla="*/ 8427 h 10126"/>
                <a:gd name="connsiteX405" fmla="*/ 2698 w 10000"/>
                <a:gd name="connsiteY405" fmla="*/ 8319 h 10126"/>
                <a:gd name="connsiteX406" fmla="*/ 2666 w 10000"/>
                <a:gd name="connsiteY406" fmla="*/ 8210 h 10126"/>
                <a:gd name="connsiteX407" fmla="*/ 2629 w 10000"/>
                <a:gd name="connsiteY407" fmla="*/ 8101 h 10126"/>
                <a:gd name="connsiteX408" fmla="*/ 2597 w 10000"/>
                <a:gd name="connsiteY408" fmla="*/ 7993 h 10126"/>
                <a:gd name="connsiteX409" fmla="*/ 2553 w 10000"/>
                <a:gd name="connsiteY409" fmla="*/ 7872 h 10126"/>
                <a:gd name="connsiteX410" fmla="*/ 2497 w 10000"/>
                <a:gd name="connsiteY410" fmla="*/ 7753 h 10126"/>
                <a:gd name="connsiteX411" fmla="*/ 2359 w 10000"/>
                <a:gd name="connsiteY411" fmla="*/ 7559 h 10126"/>
                <a:gd name="connsiteX412" fmla="*/ 2208 w 10000"/>
                <a:gd name="connsiteY412" fmla="*/ 7378 h 10126"/>
                <a:gd name="connsiteX413" fmla="*/ 2139 w 10000"/>
                <a:gd name="connsiteY413" fmla="*/ 7295 h 10126"/>
                <a:gd name="connsiteX414" fmla="*/ 2070 w 10000"/>
                <a:gd name="connsiteY414" fmla="*/ 7198 h 10126"/>
                <a:gd name="connsiteX415" fmla="*/ 2008 w 10000"/>
                <a:gd name="connsiteY415" fmla="*/ 7108 h 10126"/>
                <a:gd name="connsiteX416" fmla="*/ 1957 w 10000"/>
                <a:gd name="connsiteY416" fmla="*/ 7011 h 10126"/>
                <a:gd name="connsiteX417" fmla="*/ 1888 w 10000"/>
                <a:gd name="connsiteY417" fmla="*/ 6776 h 10126"/>
                <a:gd name="connsiteX418" fmla="*/ 1832 w 10000"/>
                <a:gd name="connsiteY418" fmla="*/ 6559 h 10126"/>
                <a:gd name="connsiteX419" fmla="*/ 1782 w 10000"/>
                <a:gd name="connsiteY419" fmla="*/ 6349 h 10126"/>
                <a:gd name="connsiteX420" fmla="*/ 1757 w 10000"/>
                <a:gd name="connsiteY420" fmla="*/ 6137 h 10126"/>
                <a:gd name="connsiteX421" fmla="*/ 1725 w 10000"/>
                <a:gd name="connsiteY421" fmla="*/ 5932 h 10126"/>
                <a:gd name="connsiteX422" fmla="*/ 1713 w 10000"/>
                <a:gd name="connsiteY422" fmla="*/ 5716 h 10126"/>
                <a:gd name="connsiteX423" fmla="*/ 1706 w 10000"/>
                <a:gd name="connsiteY423" fmla="*/ 5493 h 10126"/>
                <a:gd name="connsiteX424" fmla="*/ 1706 w 10000"/>
                <a:gd name="connsiteY424" fmla="*/ 5270 h 10126"/>
                <a:gd name="connsiteX425" fmla="*/ 1681 w 10000"/>
                <a:gd name="connsiteY425" fmla="*/ 5264 h 10126"/>
                <a:gd name="connsiteX426" fmla="*/ 1650 w 10000"/>
                <a:gd name="connsiteY426" fmla="*/ 5258 h 10126"/>
                <a:gd name="connsiteX427" fmla="*/ 1625 w 10000"/>
                <a:gd name="connsiteY427" fmla="*/ 5252 h 10126"/>
                <a:gd name="connsiteX428" fmla="*/ 1606 w 10000"/>
                <a:gd name="connsiteY428" fmla="*/ 5228 h 10126"/>
                <a:gd name="connsiteX429" fmla="*/ 1581 w 10000"/>
                <a:gd name="connsiteY429" fmla="*/ 5216 h 10126"/>
                <a:gd name="connsiteX430" fmla="*/ 1568 w 10000"/>
                <a:gd name="connsiteY430" fmla="*/ 5198 h 10126"/>
                <a:gd name="connsiteX431" fmla="*/ 1550 w 10000"/>
                <a:gd name="connsiteY431" fmla="*/ 5174 h 10126"/>
                <a:gd name="connsiteX432" fmla="*/ 1543 w 10000"/>
                <a:gd name="connsiteY432" fmla="*/ 5150 h 10126"/>
                <a:gd name="connsiteX433" fmla="*/ 1518 w 10000"/>
                <a:gd name="connsiteY433" fmla="*/ 5101 h 10126"/>
                <a:gd name="connsiteX434" fmla="*/ 1506 w 10000"/>
                <a:gd name="connsiteY434" fmla="*/ 5047 h 10126"/>
                <a:gd name="connsiteX435" fmla="*/ 1499 w 10000"/>
                <a:gd name="connsiteY435" fmla="*/ 4987 h 10126"/>
                <a:gd name="connsiteX436" fmla="*/ 1499 w 10000"/>
                <a:gd name="connsiteY436" fmla="*/ 4933 h 10126"/>
                <a:gd name="connsiteX437" fmla="*/ 1443 w 10000"/>
                <a:gd name="connsiteY437" fmla="*/ 4969 h 10126"/>
                <a:gd name="connsiteX438" fmla="*/ 1405 w 10000"/>
                <a:gd name="connsiteY438" fmla="*/ 5011 h 10126"/>
                <a:gd name="connsiteX439" fmla="*/ 1361 w 10000"/>
                <a:gd name="connsiteY439" fmla="*/ 5053 h 10126"/>
                <a:gd name="connsiteX440" fmla="*/ 1317 w 10000"/>
                <a:gd name="connsiteY440" fmla="*/ 5101 h 10126"/>
                <a:gd name="connsiteX441" fmla="*/ 1261 w 10000"/>
                <a:gd name="connsiteY441" fmla="*/ 5198 h 10126"/>
                <a:gd name="connsiteX442" fmla="*/ 1205 w 10000"/>
                <a:gd name="connsiteY442" fmla="*/ 5300 h 10126"/>
                <a:gd name="connsiteX443" fmla="*/ 1167 w 10000"/>
                <a:gd name="connsiteY443" fmla="*/ 5343 h 10126"/>
                <a:gd name="connsiteX444" fmla="*/ 1142 w 10000"/>
                <a:gd name="connsiteY444" fmla="*/ 5384 h 10126"/>
                <a:gd name="connsiteX445" fmla="*/ 1104 w 10000"/>
                <a:gd name="connsiteY445" fmla="*/ 5426 h 10126"/>
                <a:gd name="connsiteX446" fmla="*/ 1073 w 10000"/>
                <a:gd name="connsiteY446" fmla="*/ 5456 h 10126"/>
                <a:gd name="connsiteX447" fmla="*/ 1029 w 10000"/>
                <a:gd name="connsiteY447" fmla="*/ 5487 h 10126"/>
                <a:gd name="connsiteX448" fmla="*/ 985 w 10000"/>
                <a:gd name="connsiteY448" fmla="*/ 5505 h 10126"/>
                <a:gd name="connsiteX449" fmla="*/ 928 w 10000"/>
                <a:gd name="connsiteY449" fmla="*/ 5517 h 10126"/>
                <a:gd name="connsiteX450" fmla="*/ 872 w 10000"/>
                <a:gd name="connsiteY450" fmla="*/ 5523 h 10126"/>
                <a:gd name="connsiteX451" fmla="*/ 841 w 10000"/>
                <a:gd name="connsiteY451" fmla="*/ 5517 h 10126"/>
                <a:gd name="connsiteX452" fmla="*/ 797 w 10000"/>
                <a:gd name="connsiteY452" fmla="*/ 5505 h 10126"/>
                <a:gd name="connsiteX453" fmla="*/ 753 w 10000"/>
                <a:gd name="connsiteY453" fmla="*/ 5487 h 10126"/>
                <a:gd name="connsiteX454" fmla="*/ 709 w 10000"/>
                <a:gd name="connsiteY454" fmla="*/ 5456 h 10126"/>
                <a:gd name="connsiteX455" fmla="*/ 659 w 10000"/>
                <a:gd name="connsiteY455" fmla="*/ 5420 h 10126"/>
                <a:gd name="connsiteX456" fmla="*/ 609 w 10000"/>
                <a:gd name="connsiteY456" fmla="*/ 5384 h 10126"/>
                <a:gd name="connsiteX457" fmla="*/ 565 w 10000"/>
                <a:gd name="connsiteY457" fmla="*/ 5343 h 10126"/>
                <a:gd name="connsiteX458" fmla="*/ 514 w 10000"/>
                <a:gd name="connsiteY458" fmla="*/ 5294 h 10126"/>
                <a:gd name="connsiteX459" fmla="*/ 471 w 10000"/>
                <a:gd name="connsiteY459" fmla="*/ 5246 h 10126"/>
                <a:gd name="connsiteX460" fmla="*/ 433 w 10000"/>
                <a:gd name="connsiteY460" fmla="*/ 5192 h 10126"/>
                <a:gd name="connsiteX461" fmla="*/ 389 w 10000"/>
                <a:gd name="connsiteY461" fmla="*/ 5138 h 10126"/>
                <a:gd name="connsiteX462" fmla="*/ 358 w 10000"/>
                <a:gd name="connsiteY462" fmla="*/ 5083 h 10126"/>
                <a:gd name="connsiteX463" fmla="*/ 326 w 10000"/>
                <a:gd name="connsiteY463" fmla="*/ 5035 h 10126"/>
                <a:gd name="connsiteX464" fmla="*/ 307 w 10000"/>
                <a:gd name="connsiteY464" fmla="*/ 4987 h 10126"/>
                <a:gd name="connsiteX465" fmla="*/ 295 w 10000"/>
                <a:gd name="connsiteY465" fmla="*/ 4939 h 10126"/>
                <a:gd name="connsiteX466" fmla="*/ 289 w 10000"/>
                <a:gd name="connsiteY466" fmla="*/ 4890 h 10126"/>
                <a:gd name="connsiteX467" fmla="*/ 320 w 10000"/>
                <a:gd name="connsiteY467" fmla="*/ 4872 h 10126"/>
                <a:gd name="connsiteX468" fmla="*/ 395 w 10000"/>
                <a:gd name="connsiteY468" fmla="*/ 4837 h 10126"/>
                <a:gd name="connsiteX469" fmla="*/ 483 w 10000"/>
                <a:gd name="connsiteY469" fmla="*/ 4801 h 10126"/>
                <a:gd name="connsiteX470" fmla="*/ 533 w 10000"/>
                <a:gd name="connsiteY470" fmla="*/ 4783 h 10126"/>
                <a:gd name="connsiteX471" fmla="*/ 483 w 10000"/>
                <a:gd name="connsiteY471" fmla="*/ 4783 h 10126"/>
                <a:gd name="connsiteX472" fmla="*/ 420 w 10000"/>
                <a:gd name="connsiteY472" fmla="*/ 4777 h 10126"/>
                <a:gd name="connsiteX473" fmla="*/ 370 w 10000"/>
                <a:gd name="connsiteY473" fmla="*/ 4765 h 10126"/>
                <a:gd name="connsiteX474" fmla="*/ 320 w 10000"/>
                <a:gd name="connsiteY474" fmla="*/ 4759 h 10126"/>
                <a:gd name="connsiteX475" fmla="*/ 276 w 10000"/>
                <a:gd name="connsiteY475" fmla="*/ 4740 h 10126"/>
                <a:gd name="connsiteX476" fmla="*/ 232 w 10000"/>
                <a:gd name="connsiteY476" fmla="*/ 4728 h 10126"/>
                <a:gd name="connsiteX477" fmla="*/ 188 w 10000"/>
                <a:gd name="connsiteY477" fmla="*/ 4710 h 10126"/>
                <a:gd name="connsiteX478" fmla="*/ 157 w 10000"/>
                <a:gd name="connsiteY478" fmla="*/ 4685 h 10126"/>
                <a:gd name="connsiteX479" fmla="*/ 132 w 10000"/>
                <a:gd name="connsiteY479" fmla="*/ 4661 h 10126"/>
                <a:gd name="connsiteX480" fmla="*/ 100 w 10000"/>
                <a:gd name="connsiteY480" fmla="*/ 4637 h 10126"/>
                <a:gd name="connsiteX481" fmla="*/ 75 w 10000"/>
                <a:gd name="connsiteY481" fmla="*/ 4607 h 10126"/>
                <a:gd name="connsiteX482" fmla="*/ 50 w 10000"/>
                <a:gd name="connsiteY482" fmla="*/ 4583 h 10126"/>
                <a:gd name="connsiteX483" fmla="*/ 19 w 10000"/>
                <a:gd name="connsiteY483" fmla="*/ 4511 h 10126"/>
                <a:gd name="connsiteX484" fmla="*/ 0 w 10000"/>
                <a:gd name="connsiteY484" fmla="*/ 4444 h 10126"/>
                <a:gd name="connsiteX485" fmla="*/ 63 w 10000"/>
                <a:gd name="connsiteY485" fmla="*/ 4396 h 10126"/>
                <a:gd name="connsiteX486" fmla="*/ 132 w 10000"/>
                <a:gd name="connsiteY486" fmla="*/ 4360 h 10126"/>
                <a:gd name="connsiteX487" fmla="*/ 201 w 10000"/>
                <a:gd name="connsiteY487" fmla="*/ 4331 h 10126"/>
                <a:gd name="connsiteX488" fmla="*/ 276 w 10000"/>
                <a:gd name="connsiteY488" fmla="*/ 4307 h 10126"/>
                <a:gd name="connsiteX489" fmla="*/ 420 w 10000"/>
                <a:gd name="connsiteY489" fmla="*/ 4277 h 10126"/>
                <a:gd name="connsiteX490" fmla="*/ 565 w 10000"/>
                <a:gd name="connsiteY490" fmla="*/ 4252 h 10126"/>
                <a:gd name="connsiteX491" fmla="*/ 640 w 10000"/>
                <a:gd name="connsiteY491" fmla="*/ 4240 h 10126"/>
                <a:gd name="connsiteX492" fmla="*/ 709 w 10000"/>
                <a:gd name="connsiteY492" fmla="*/ 4216 h 10126"/>
                <a:gd name="connsiteX493" fmla="*/ 772 w 10000"/>
                <a:gd name="connsiteY493" fmla="*/ 4198 h 10126"/>
                <a:gd name="connsiteX494" fmla="*/ 834 w 10000"/>
                <a:gd name="connsiteY494" fmla="*/ 4168 h 10126"/>
                <a:gd name="connsiteX495" fmla="*/ 891 w 10000"/>
                <a:gd name="connsiteY495" fmla="*/ 4138 h 10126"/>
                <a:gd name="connsiteX496" fmla="*/ 947 w 10000"/>
                <a:gd name="connsiteY496" fmla="*/ 4090 h 10126"/>
                <a:gd name="connsiteX497" fmla="*/ 997 w 10000"/>
                <a:gd name="connsiteY497" fmla="*/ 4035 h 10126"/>
                <a:gd name="connsiteX498" fmla="*/ 1035 w 10000"/>
                <a:gd name="connsiteY498" fmla="*/ 3968 h 10126"/>
                <a:gd name="connsiteX499" fmla="*/ 1010 w 10000"/>
                <a:gd name="connsiteY499" fmla="*/ 3956 h 10126"/>
                <a:gd name="connsiteX500" fmla="*/ 985 w 10000"/>
                <a:gd name="connsiteY500" fmla="*/ 3938 h 10126"/>
                <a:gd name="connsiteX501" fmla="*/ 947 w 10000"/>
                <a:gd name="connsiteY501" fmla="*/ 3914 h 10126"/>
                <a:gd name="connsiteX502" fmla="*/ 910 w 10000"/>
                <a:gd name="connsiteY502" fmla="*/ 3878 h 10126"/>
                <a:gd name="connsiteX503" fmla="*/ 822 w 10000"/>
                <a:gd name="connsiteY503" fmla="*/ 3806 h 10126"/>
                <a:gd name="connsiteX504" fmla="*/ 740 w 10000"/>
                <a:gd name="connsiteY504" fmla="*/ 3722 h 10126"/>
                <a:gd name="connsiteX505" fmla="*/ 665 w 10000"/>
                <a:gd name="connsiteY505" fmla="*/ 3631 h 10126"/>
                <a:gd name="connsiteX506" fmla="*/ 596 w 10000"/>
                <a:gd name="connsiteY506" fmla="*/ 3535 h 10126"/>
                <a:gd name="connsiteX507" fmla="*/ 577 w 10000"/>
                <a:gd name="connsiteY507" fmla="*/ 3493 h 10126"/>
                <a:gd name="connsiteX508" fmla="*/ 558 w 10000"/>
                <a:gd name="connsiteY508" fmla="*/ 3451 h 10126"/>
                <a:gd name="connsiteX509" fmla="*/ 540 w 10000"/>
                <a:gd name="connsiteY509" fmla="*/ 3408 h 10126"/>
                <a:gd name="connsiteX510" fmla="*/ 533 w 10000"/>
                <a:gd name="connsiteY510" fmla="*/ 3372 h 10126"/>
                <a:gd name="connsiteX511" fmla="*/ 508 w 10000"/>
                <a:gd name="connsiteY511" fmla="*/ 3366 h 10126"/>
                <a:gd name="connsiteX512" fmla="*/ 483 w 10000"/>
                <a:gd name="connsiteY512" fmla="*/ 3360 h 10126"/>
                <a:gd name="connsiteX513" fmla="*/ 458 w 10000"/>
                <a:gd name="connsiteY513" fmla="*/ 3348 h 10126"/>
                <a:gd name="connsiteX514" fmla="*/ 439 w 10000"/>
                <a:gd name="connsiteY514" fmla="*/ 3325 h 10126"/>
                <a:gd name="connsiteX515" fmla="*/ 402 w 10000"/>
                <a:gd name="connsiteY515" fmla="*/ 3282 h 10126"/>
                <a:gd name="connsiteX516" fmla="*/ 370 w 10000"/>
                <a:gd name="connsiteY516" fmla="*/ 3222 h 10126"/>
                <a:gd name="connsiteX517" fmla="*/ 370 w 10000"/>
                <a:gd name="connsiteY517" fmla="*/ 3077 h 10126"/>
                <a:gd name="connsiteX518" fmla="*/ 458 w 10000"/>
                <a:gd name="connsiteY518" fmla="*/ 3071 h 10126"/>
                <a:gd name="connsiteX519" fmla="*/ 540 w 10000"/>
                <a:gd name="connsiteY519" fmla="*/ 3065 h 10126"/>
                <a:gd name="connsiteX520" fmla="*/ 615 w 10000"/>
                <a:gd name="connsiteY520" fmla="*/ 3053 h 10126"/>
                <a:gd name="connsiteX521" fmla="*/ 684 w 10000"/>
                <a:gd name="connsiteY521" fmla="*/ 3029 h 10126"/>
                <a:gd name="connsiteX522" fmla="*/ 747 w 10000"/>
                <a:gd name="connsiteY522" fmla="*/ 3011 h 10126"/>
                <a:gd name="connsiteX523" fmla="*/ 809 w 10000"/>
                <a:gd name="connsiteY523" fmla="*/ 2980 h 10126"/>
                <a:gd name="connsiteX524" fmla="*/ 866 w 10000"/>
                <a:gd name="connsiteY524" fmla="*/ 2950 h 10126"/>
                <a:gd name="connsiteX525" fmla="*/ 922 w 10000"/>
                <a:gd name="connsiteY525" fmla="*/ 2914 h 10126"/>
                <a:gd name="connsiteX526" fmla="*/ 966 w 10000"/>
                <a:gd name="connsiteY526" fmla="*/ 2872 h 10126"/>
                <a:gd name="connsiteX527" fmla="*/ 1016 w 10000"/>
                <a:gd name="connsiteY527" fmla="*/ 2831 h 10126"/>
                <a:gd name="connsiteX528" fmla="*/ 1060 w 10000"/>
                <a:gd name="connsiteY528" fmla="*/ 2789 h 10126"/>
                <a:gd name="connsiteX529" fmla="*/ 1098 w 10000"/>
                <a:gd name="connsiteY529" fmla="*/ 2740 h 10126"/>
                <a:gd name="connsiteX530" fmla="*/ 1167 w 10000"/>
                <a:gd name="connsiteY530" fmla="*/ 2644 h 10126"/>
                <a:gd name="connsiteX531" fmla="*/ 1236 w 10000"/>
                <a:gd name="connsiteY531" fmla="*/ 2534 h 10126"/>
                <a:gd name="connsiteX532" fmla="*/ 1355 w 10000"/>
                <a:gd name="connsiteY532" fmla="*/ 2318 h 10126"/>
                <a:gd name="connsiteX533" fmla="*/ 1474 w 10000"/>
                <a:gd name="connsiteY533" fmla="*/ 2101 h 10126"/>
                <a:gd name="connsiteX534" fmla="*/ 1543 w 10000"/>
                <a:gd name="connsiteY534" fmla="*/ 2005 h 10126"/>
                <a:gd name="connsiteX535" fmla="*/ 1612 w 10000"/>
                <a:gd name="connsiteY535" fmla="*/ 1920 h 10126"/>
                <a:gd name="connsiteX536" fmla="*/ 1650 w 10000"/>
                <a:gd name="connsiteY536" fmla="*/ 1871 h 10126"/>
                <a:gd name="connsiteX537" fmla="*/ 1694 w 10000"/>
                <a:gd name="connsiteY537" fmla="*/ 1835 h 10126"/>
                <a:gd name="connsiteX538" fmla="*/ 1738 w 10000"/>
                <a:gd name="connsiteY538" fmla="*/ 1806 h 10126"/>
                <a:gd name="connsiteX539" fmla="*/ 1788 w 10000"/>
                <a:gd name="connsiteY539" fmla="*/ 1776 h 10126"/>
                <a:gd name="connsiteX540" fmla="*/ 1750 w 10000"/>
                <a:gd name="connsiteY540" fmla="*/ 1703 h 10126"/>
                <a:gd name="connsiteX541" fmla="*/ 1719 w 10000"/>
                <a:gd name="connsiteY541" fmla="*/ 1637 h 10126"/>
                <a:gd name="connsiteX542" fmla="*/ 1713 w 10000"/>
                <a:gd name="connsiteY542" fmla="*/ 1607 h 10126"/>
                <a:gd name="connsiteX543" fmla="*/ 1706 w 10000"/>
                <a:gd name="connsiteY543" fmla="*/ 1577 h 10126"/>
                <a:gd name="connsiteX544" fmla="*/ 1706 w 10000"/>
                <a:gd name="connsiteY544" fmla="*/ 1541 h 10126"/>
                <a:gd name="connsiteX545" fmla="*/ 1706 w 10000"/>
                <a:gd name="connsiteY545" fmla="*/ 1511 h 10126"/>
                <a:gd name="connsiteX546" fmla="*/ 1713 w 10000"/>
                <a:gd name="connsiteY546" fmla="*/ 1480 h 10126"/>
                <a:gd name="connsiteX547" fmla="*/ 1719 w 10000"/>
                <a:gd name="connsiteY547" fmla="*/ 1450 h 10126"/>
                <a:gd name="connsiteX548" fmla="*/ 1731 w 10000"/>
                <a:gd name="connsiteY548" fmla="*/ 1426 h 10126"/>
                <a:gd name="connsiteX549" fmla="*/ 1757 w 10000"/>
                <a:gd name="connsiteY549" fmla="*/ 1402 h 10126"/>
                <a:gd name="connsiteX550" fmla="*/ 1775 w 10000"/>
                <a:gd name="connsiteY550" fmla="*/ 1384 h 10126"/>
                <a:gd name="connsiteX551" fmla="*/ 1801 w 10000"/>
                <a:gd name="connsiteY551" fmla="*/ 1366 h 10126"/>
                <a:gd name="connsiteX552" fmla="*/ 1838 w 10000"/>
                <a:gd name="connsiteY552" fmla="*/ 1348 h 10126"/>
                <a:gd name="connsiteX553" fmla="*/ 1870 w 10000"/>
                <a:gd name="connsiteY553" fmla="*/ 1330 h 10126"/>
                <a:gd name="connsiteX554" fmla="*/ 1788 w 10000"/>
                <a:gd name="connsiteY554" fmla="*/ 1240 h 10126"/>
                <a:gd name="connsiteX555" fmla="*/ 1688 w 10000"/>
                <a:gd name="connsiteY555" fmla="*/ 1168 h 10126"/>
                <a:gd name="connsiteX556" fmla="*/ 1550 w 10000"/>
                <a:gd name="connsiteY556" fmla="*/ 1046 h 10126"/>
                <a:gd name="connsiteX557" fmla="*/ 1487 w 10000"/>
                <a:gd name="connsiteY557" fmla="*/ 986 h 10126"/>
                <a:gd name="connsiteX558" fmla="*/ 1383 w 10000"/>
                <a:gd name="connsiteY558" fmla="*/ 868 h 10126"/>
                <a:gd name="connsiteX559" fmla="*/ 1426 w 10000"/>
                <a:gd name="connsiteY559" fmla="*/ 764 h 10126"/>
                <a:gd name="connsiteX560" fmla="*/ 1603 w 10000"/>
                <a:gd name="connsiteY560" fmla="*/ 650 h 10126"/>
                <a:gd name="connsiteX561" fmla="*/ 1708 w 10000"/>
                <a:gd name="connsiteY561" fmla="*/ 605 h 10126"/>
                <a:gd name="connsiteX562" fmla="*/ 1673 w 10000"/>
                <a:gd name="connsiteY562" fmla="*/ 540 h 10126"/>
                <a:gd name="connsiteX563" fmla="*/ 1606 w 10000"/>
                <a:gd name="connsiteY563" fmla="*/ 463 h 10126"/>
                <a:gd name="connsiteX564" fmla="*/ 1539 w 10000"/>
                <a:gd name="connsiteY564" fmla="*/ 431 h 10126"/>
                <a:gd name="connsiteX565" fmla="*/ 1539 w 10000"/>
                <a:gd name="connsiteY565" fmla="*/ 366 h 10126"/>
                <a:gd name="connsiteX566" fmla="*/ 1473 w 10000"/>
                <a:gd name="connsiteY566" fmla="*/ 296 h 10126"/>
                <a:gd name="connsiteX567" fmla="*/ 1341 w 10000"/>
                <a:gd name="connsiteY567" fmla="*/ 236 h 10126"/>
                <a:gd name="connsiteX568" fmla="*/ 1490 w 10000"/>
                <a:gd name="connsiteY568" fmla="*/ 123 h 10126"/>
                <a:gd name="connsiteX569" fmla="*/ 1654 w 10000"/>
                <a:gd name="connsiteY569" fmla="*/ 0 h 10126"/>
                <a:gd name="connsiteX570" fmla="*/ 1842 w 10000"/>
                <a:gd name="connsiteY570" fmla="*/ 61 h 10126"/>
                <a:gd name="connsiteX571" fmla="*/ 1925 w 10000"/>
                <a:gd name="connsiteY571" fmla="*/ 57 h 10126"/>
                <a:gd name="connsiteX572" fmla="*/ 2151 w 10000"/>
                <a:gd name="connsiteY572" fmla="*/ 94 h 10126"/>
                <a:gd name="connsiteX573" fmla="*/ 2280 w 10000"/>
                <a:gd name="connsiteY573" fmla="*/ 123 h 10126"/>
                <a:gd name="connsiteX574" fmla="*/ 2385 w 10000"/>
                <a:gd name="connsiteY574" fmla="*/ 131 h 10126"/>
                <a:gd name="connsiteX575" fmla="*/ 2517 w 10000"/>
                <a:gd name="connsiteY575" fmla="*/ 225 h 10126"/>
                <a:gd name="connsiteX0" fmla="*/ 2525 w 10000"/>
                <a:gd name="connsiteY0" fmla="*/ 225 h 10126"/>
                <a:gd name="connsiteX1" fmla="*/ 2880 w 10000"/>
                <a:gd name="connsiteY1" fmla="*/ 115 h 10126"/>
                <a:gd name="connsiteX2" fmla="*/ 3155 w 10000"/>
                <a:gd name="connsiteY2" fmla="*/ 192 h 10126"/>
                <a:gd name="connsiteX3" fmla="*/ 3120 w 10000"/>
                <a:gd name="connsiteY3" fmla="*/ 471 h 10126"/>
                <a:gd name="connsiteX4" fmla="*/ 3152 w 10000"/>
                <a:gd name="connsiteY4" fmla="*/ 534 h 10126"/>
                <a:gd name="connsiteX5" fmla="*/ 3093 w 10000"/>
                <a:gd name="connsiteY5" fmla="*/ 619 h 10126"/>
                <a:gd name="connsiteX6" fmla="*/ 2992 w 10000"/>
                <a:gd name="connsiteY6" fmla="*/ 710 h 10126"/>
                <a:gd name="connsiteX7" fmla="*/ 3043 w 10000"/>
                <a:gd name="connsiteY7" fmla="*/ 734 h 10126"/>
                <a:gd name="connsiteX8" fmla="*/ 3087 w 10000"/>
                <a:gd name="connsiteY8" fmla="*/ 776 h 10126"/>
                <a:gd name="connsiteX9" fmla="*/ 3130 w 10000"/>
                <a:gd name="connsiteY9" fmla="*/ 823 h 10126"/>
                <a:gd name="connsiteX10" fmla="*/ 3174 w 10000"/>
                <a:gd name="connsiteY10" fmla="*/ 872 h 10126"/>
                <a:gd name="connsiteX11" fmla="*/ 3212 w 10000"/>
                <a:gd name="connsiteY11" fmla="*/ 932 h 10126"/>
                <a:gd name="connsiteX12" fmla="*/ 3256 w 10000"/>
                <a:gd name="connsiteY12" fmla="*/ 986 h 10126"/>
                <a:gd name="connsiteX13" fmla="*/ 3281 w 10000"/>
                <a:gd name="connsiteY13" fmla="*/ 1046 h 10126"/>
                <a:gd name="connsiteX14" fmla="*/ 3312 w 10000"/>
                <a:gd name="connsiteY14" fmla="*/ 1113 h 10126"/>
                <a:gd name="connsiteX15" fmla="*/ 3331 w 10000"/>
                <a:gd name="connsiteY15" fmla="*/ 1180 h 10126"/>
                <a:gd name="connsiteX16" fmla="*/ 3043 w 10000"/>
                <a:gd name="connsiteY16" fmla="*/ 1180 h 10126"/>
                <a:gd name="connsiteX17" fmla="*/ 3043 w 10000"/>
                <a:gd name="connsiteY17" fmla="*/ 1366 h 10126"/>
                <a:gd name="connsiteX18" fmla="*/ 3074 w 10000"/>
                <a:gd name="connsiteY18" fmla="*/ 1444 h 10126"/>
                <a:gd name="connsiteX19" fmla="*/ 3118 w 10000"/>
                <a:gd name="connsiteY19" fmla="*/ 1511 h 10126"/>
                <a:gd name="connsiteX20" fmla="*/ 3168 w 10000"/>
                <a:gd name="connsiteY20" fmla="*/ 1571 h 10126"/>
                <a:gd name="connsiteX21" fmla="*/ 3225 w 10000"/>
                <a:gd name="connsiteY21" fmla="*/ 1613 h 10126"/>
                <a:gd name="connsiteX22" fmla="*/ 3281 w 10000"/>
                <a:gd name="connsiteY22" fmla="*/ 1655 h 10126"/>
                <a:gd name="connsiteX23" fmla="*/ 3350 w 10000"/>
                <a:gd name="connsiteY23" fmla="*/ 1685 h 10126"/>
                <a:gd name="connsiteX24" fmla="*/ 3413 w 10000"/>
                <a:gd name="connsiteY24" fmla="*/ 1715 h 10126"/>
                <a:gd name="connsiteX25" fmla="*/ 3488 w 10000"/>
                <a:gd name="connsiteY25" fmla="*/ 1740 h 10126"/>
                <a:gd name="connsiteX26" fmla="*/ 3626 w 10000"/>
                <a:gd name="connsiteY26" fmla="*/ 1794 h 10126"/>
                <a:gd name="connsiteX27" fmla="*/ 3764 w 10000"/>
                <a:gd name="connsiteY27" fmla="*/ 1847 h 10126"/>
                <a:gd name="connsiteX28" fmla="*/ 3827 w 10000"/>
                <a:gd name="connsiteY28" fmla="*/ 1884 h 10126"/>
                <a:gd name="connsiteX29" fmla="*/ 3890 w 10000"/>
                <a:gd name="connsiteY29" fmla="*/ 1932 h 10126"/>
                <a:gd name="connsiteX30" fmla="*/ 3946 w 10000"/>
                <a:gd name="connsiteY30" fmla="*/ 1981 h 10126"/>
                <a:gd name="connsiteX31" fmla="*/ 4003 w 10000"/>
                <a:gd name="connsiteY31" fmla="*/ 2035 h 10126"/>
                <a:gd name="connsiteX32" fmla="*/ 3959 w 10000"/>
                <a:gd name="connsiteY32" fmla="*/ 2596 h 10126"/>
                <a:gd name="connsiteX33" fmla="*/ 4034 w 10000"/>
                <a:gd name="connsiteY33" fmla="*/ 2650 h 10126"/>
                <a:gd name="connsiteX34" fmla="*/ 4141 w 10000"/>
                <a:gd name="connsiteY34" fmla="*/ 2716 h 10126"/>
                <a:gd name="connsiteX35" fmla="*/ 4260 w 10000"/>
                <a:gd name="connsiteY35" fmla="*/ 2776 h 10126"/>
                <a:gd name="connsiteX36" fmla="*/ 4398 w 10000"/>
                <a:gd name="connsiteY36" fmla="*/ 2831 h 10126"/>
                <a:gd name="connsiteX37" fmla="*/ 4536 w 10000"/>
                <a:gd name="connsiteY37" fmla="*/ 2884 h 10126"/>
                <a:gd name="connsiteX38" fmla="*/ 4668 w 10000"/>
                <a:gd name="connsiteY38" fmla="*/ 2926 h 10126"/>
                <a:gd name="connsiteX39" fmla="*/ 4724 w 10000"/>
                <a:gd name="connsiteY39" fmla="*/ 2944 h 10126"/>
                <a:gd name="connsiteX40" fmla="*/ 4780 w 10000"/>
                <a:gd name="connsiteY40" fmla="*/ 2956 h 10126"/>
                <a:gd name="connsiteX41" fmla="*/ 4831 w 10000"/>
                <a:gd name="connsiteY41" fmla="*/ 2962 h 10126"/>
                <a:gd name="connsiteX42" fmla="*/ 4875 w 10000"/>
                <a:gd name="connsiteY42" fmla="*/ 2962 h 10126"/>
                <a:gd name="connsiteX43" fmla="*/ 4887 w 10000"/>
                <a:gd name="connsiteY43" fmla="*/ 3005 h 10126"/>
                <a:gd name="connsiteX44" fmla="*/ 4918 w 10000"/>
                <a:gd name="connsiteY44" fmla="*/ 3041 h 10126"/>
                <a:gd name="connsiteX45" fmla="*/ 4950 w 10000"/>
                <a:gd name="connsiteY45" fmla="*/ 3059 h 10126"/>
                <a:gd name="connsiteX46" fmla="*/ 4987 w 10000"/>
                <a:gd name="connsiteY46" fmla="*/ 3071 h 10126"/>
                <a:gd name="connsiteX47" fmla="*/ 5019 w 10000"/>
                <a:gd name="connsiteY47" fmla="*/ 3083 h 10126"/>
                <a:gd name="connsiteX48" fmla="*/ 5063 w 10000"/>
                <a:gd name="connsiteY48" fmla="*/ 3083 h 10126"/>
                <a:gd name="connsiteX49" fmla="*/ 5107 w 10000"/>
                <a:gd name="connsiteY49" fmla="*/ 3077 h 10126"/>
                <a:gd name="connsiteX50" fmla="*/ 5157 w 10000"/>
                <a:gd name="connsiteY50" fmla="*/ 3071 h 10126"/>
                <a:gd name="connsiteX51" fmla="*/ 5245 w 10000"/>
                <a:gd name="connsiteY51" fmla="*/ 3053 h 10126"/>
                <a:gd name="connsiteX52" fmla="*/ 5345 w 10000"/>
                <a:gd name="connsiteY52" fmla="*/ 3029 h 10126"/>
                <a:gd name="connsiteX53" fmla="*/ 5383 w 10000"/>
                <a:gd name="connsiteY53" fmla="*/ 3029 h 10126"/>
                <a:gd name="connsiteX54" fmla="*/ 5427 w 10000"/>
                <a:gd name="connsiteY54" fmla="*/ 3023 h 10126"/>
                <a:gd name="connsiteX55" fmla="*/ 5464 w 10000"/>
                <a:gd name="connsiteY55" fmla="*/ 3029 h 10126"/>
                <a:gd name="connsiteX56" fmla="*/ 5502 w 10000"/>
                <a:gd name="connsiteY56" fmla="*/ 3035 h 10126"/>
                <a:gd name="connsiteX57" fmla="*/ 5558 w 10000"/>
                <a:gd name="connsiteY57" fmla="*/ 3071 h 10126"/>
                <a:gd name="connsiteX58" fmla="*/ 5596 w 10000"/>
                <a:gd name="connsiteY58" fmla="*/ 3101 h 10126"/>
                <a:gd name="connsiteX59" fmla="*/ 5634 w 10000"/>
                <a:gd name="connsiteY59" fmla="*/ 3143 h 10126"/>
                <a:gd name="connsiteX60" fmla="*/ 5665 w 10000"/>
                <a:gd name="connsiteY60" fmla="*/ 3179 h 10126"/>
                <a:gd name="connsiteX61" fmla="*/ 5696 w 10000"/>
                <a:gd name="connsiteY61" fmla="*/ 3216 h 10126"/>
                <a:gd name="connsiteX62" fmla="*/ 5734 w 10000"/>
                <a:gd name="connsiteY62" fmla="*/ 3252 h 10126"/>
                <a:gd name="connsiteX63" fmla="*/ 5759 w 10000"/>
                <a:gd name="connsiteY63" fmla="*/ 3270 h 10126"/>
                <a:gd name="connsiteX64" fmla="*/ 5778 w 10000"/>
                <a:gd name="connsiteY64" fmla="*/ 3282 h 10126"/>
                <a:gd name="connsiteX65" fmla="*/ 5803 w 10000"/>
                <a:gd name="connsiteY65" fmla="*/ 3294 h 10126"/>
                <a:gd name="connsiteX66" fmla="*/ 5834 w 10000"/>
                <a:gd name="connsiteY66" fmla="*/ 3300 h 10126"/>
                <a:gd name="connsiteX67" fmla="*/ 5935 w 10000"/>
                <a:gd name="connsiteY67" fmla="*/ 3319 h 10126"/>
                <a:gd name="connsiteX68" fmla="*/ 6073 w 10000"/>
                <a:gd name="connsiteY68" fmla="*/ 3354 h 10126"/>
                <a:gd name="connsiteX69" fmla="*/ 6230 w 10000"/>
                <a:gd name="connsiteY69" fmla="*/ 3390 h 10126"/>
                <a:gd name="connsiteX70" fmla="*/ 6405 w 10000"/>
                <a:gd name="connsiteY70" fmla="*/ 3433 h 10126"/>
                <a:gd name="connsiteX71" fmla="*/ 6568 w 10000"/>
                <a:gd name="connsiteY71" fmla="*/ 3463 h 10126"/>
                <a:gd name="connsiteX72" fmla="*/ 6719 w 10000"/>
                <a:gd name="connsiteY72" fmla="*/ 3487 h 10126"/>
                <a:gd name="connsiteX73" fmla="*/ 6788 w 10000"/>
                <a:gd name="connsiteY73" fmla="*/ 3493 h 10126"/>
                <a:gd name="connsiteX74" fmla="*/ 6838 w 10000"/>
                <a:gd name="connsiteY74" fmla="*/ 3499 h 10126"/>
                <a:gd name="connsiteX75" fmla="*/ 6888 w 10000"/>
                <a:gd name="connsiteY75" fmla="*/ 3493 h 10126"/>
                <a:gd name="connsiteX76" fmla="*/ 6913 w 10000"/>
                <a:gd name="connsiteY76" fmla="*/ 3481 h 10126"/>
                <a:gd name="connsiteX77" fmla="*/ 6888 w 10000"/>
                <a:gd name="connsiteY77" fmla="*/ 3439 h 10126"/>
                <a:gd name="connsiteX78" fmla="*/ 6857 w 10000"/>
                <a:gd name="connsiteY78" fmla="*/ 3390 h 10126"/>
                <a:gd name="connsiteX79" fmla="*/ 6838 w 10000"/>
                <a:gd name="connsiteY79" fmla="*/ 3342 h 10126"/>
                <a:gd name="connsiteX80" fmla="*/ 6826 w 10000"/>
                <a:gd name="connsiteY80" fmla="*/ 3288 h 10126"/>
                <a:gd name="connsiteX81" fmla="*/ 6794 w 10000"/>
                <a:gd name="connsiteY81" fmla="*/ 3197 h 10126"/>
                <a:gd name="connsiteX82" fmla="*/ 6788 w 10000"/>
                <a:gd name="connsiteY82" fmla="*/ 3149 h 10126"/>
                <a:gd name="connsiteX83" fmla="*/ 6788 w 10000"/>
                <a:gd name="connsiteY83" fmla="*/ 2962 h 10126"/>
                <a:gd name="connsiteX84" fmla="*/ 6788 w 10000"/>
                <a:gd name="connsiteY84" fmla="*/ 2776 h 10126"/>
                <a:gd name="connsiteX85" fmla="*/ 6995 w 10000"/>
                <a:gd name="connsiteY85" fmla="*/ 2776 h 10126"/>
                <a:gd name="connsiteX86" fmla="*/ 7033 w 10000"/>
                <a:gd name="connsiteY86" fmla="*/ 2842 h 10126"/>
                <a:gd name="connsiteX87" fmla="*/ 7058 w 10000"/>
                <a:gd name="connsiteY87" fmla="*/ 2884 h 10126"/>
                <a:gd name="connsiteX88" fmla="*/ 7095 w 10000"/>
                <a:gd name="connsiteY88" fmla="*/ 2920 h 10126"/>
                <a:gd name="connsiteX89" fmla="*/ 7127 w 10000"/>
                <a:gd name="connsiteY89" fmla="*/ 2962 h 10126"/>
                <a:gd name="connsiteX90" fmla="*/ 7120 w 10000"/>
                <a:gd name="connsiteY90" fmla="*/ 3059 h 10126"/>
                <a:gd name="connsiteX91" fmla="*/ 7102 w 10000"/>
                <a:gd name="connsiteY91" fmla="*/ 3119 h 10126"/>
                <a:gd name="connsiteX92" fmla="*/ 7089 w 10000"/>
                <a:gd name="connsiteY92" fmla="*/ 3167 h 10126"/>
                <a:gd name="connsiteX93" fmla="*/ 7077 w 10000"/>
                <a:gd name="connsiteY93" fmla="*/ 3222 h 10126"/>
                <a:gd name="connsiteX94" fmla="*/ 7208 w 10000"/>
                <a:gd name="connsiteY94" fmla="*/ 3258 h 10126"/>
                <a:gd name="connsiteX95" fmla="*/ 7334 w 10000"/>
                <a:gd name="connsiteY95" fmla="*/ 3294 h 10126"/>
                <a:gd name="connsiteX96" fmla="*/ 7396 w 10000"/>
                <a:gd name="connsiteY96" fmla="*/ 3313 h 10126"/>
                <a:gd name="connsiteX97" fmla="*/ 7459 w 10000"/>
                <a:gd name="connsiteY97" fmla="*/ 3325 h 10126"/>
                <a:gd name="connsiteX98" fmla="*/ 7522 w 10000"/>
                <a:gd name="connsiteY98" fmla="*/ 3331 h 10126"/>
                <a:gd name="connsiteX99" fmla="*/ 7585 w 10000"/>
                <a:gd name="connsiteY99" fmla="*/ 3336 h 10126"/>
                <a:gd name="connsiteX100" fmla="*/ 7591 w 10000"/>
                <a:gd name="connsiteY100" fmla="*/ 3360 h 10126"/>
                <a:gd name="connsiteX101" fmla="*/ 7604 w 10000"/>
                <a:gd name="connsiteY101" fmla="*/ 3384 h 10126"/>
                <a:gd name="connsiteX102" fmla="*/ 7622 w 10000"/>
                <a:gd name="connsiteY102" fmla="*/ 3402 h 10126"/>
                <a:gd name="connsiteX103" fmla="*/ 7654 w 10000"/>
                <a:gd name="connsiteY103" fmla="*/ 3420 h 10126"/>
                <a:gd name="connsiteX104" fmla="*/ 7704 w 10000"/>
                <a:gd name="connsiteY104" fmla="*/ 3439 h 10126"/>
                <a:gd name="connsiteX105" fmla="*/ 7748 w 10000"/>
                <a:gd name="connsiteY105" fmla="*/ 3445 h 10126"/>
                <a:gd name="connsiteX106" fmla="*/ 7798 w 10000"/>
                <a:gd name="connsiteY106" fmla="*/ 3445 h 10126"/>
                <a:gd name="connsiteX107" fmla="*/ 7836 w 10000"/>
                <a:gd name="connsiteY107" fmla="*/ 3433 h 10126"/>
                <a:gd name="connsiteX108" fmla="*/ 7880 w 10000"/>
                <a:gd name="connsiteY108" fmla="*/ 3414 h 10126"/>
                <a:gd name="connsiteX109" fmla="*/ 7911 w 10000"/>
                <a:gd name="connsiteY109" fmla="*/ 3396 h 10126"/>
                <a:gd name="connsiteX110" fmla="*/ 7949 w 10000"/>
                <a:gd name="connsiteY110" fmla="*/ 3372 h 10126"/>
                <a:gd name="connsiteX111" fmla="*/ 7980 w 10000"/>
                <a:gd name="connsiteY111" fmla="*/ 3342 h 10126"/>
                <a:gd name="connsiteX112" fmla="*/ 8011 w 10000"/>
                <a:gd name="connsiteY112" fmla="*/ 3313 h 10126"/>
                <a:gd name="connsiteX113" fmla="*/ 8036 w 10000"/>
                <a:gd name="connsiteY113" fmla="*/ 3282 h 10126"/>
                <a:gd name="connsiteX114" fmla="*/ 8087 w 10000"/>
                <a:gd name="connsiteY114" fmla="*/ 3203 h 10126"/>
                <a:gd name="connsiteX115" fmla="*/ 8118 w 10000"/>
                <a:gd name="connsiteY115" fmla="*/ 3131 h 10126"/>
                <a:gd name="connsiteX116" fmla="*/ 8149 w 10000"/>
                <a:gd name="connsiteY116" fmla="*/ 3065 h 10126"/>
                <a:gd name="connsiteX117" fmla="*/ 8168 w 10000"/>
                <a:gd name="connsiteY117" fmla="*/ 2999 h 10126"/>
                <a:gd name="connsiteX118" fmla="*/ 8231 w 10000"/>
                <a:gd name="connsiteY118" fmla="*/ 2932 h 10126"/>
                <a:gd name="connsiteX119" fmla="*/ 8294 w 10000"/>
                <a:gd name="connsiteY119" fmla="*/ 2866 h 10126"/>
                <a:gd name="connsiteX120" fmla="*/ 8363 w 10000"/>
                <a:gd name="connsiteY120" fmla="*/ 2813 h 10126"/>
                <a:gd name="connsiteX121" fmla="*/ 8432 w 10000"/>
                <a:gd name="connsiteY121" fmla="*/ 2752 h 10126"/>
                <a:gd name="connsiteX122" fmla="*/ 8507 w 10000"/>
                <a:gd name="connsiteY122" fmla="*/ 2704 h 10126"/>
                <a:gd name="connsiteX123" fmla="*/ 8576 w 10000"/>
                <a:gd name="connsiteY123" fmla="*/ 2656 h 10126"/>
                <a:gd name="connsiteX124" fmla="*/ 8651 w 10000"/>
                <a:gd name="connsiteY124" fmla="*/ 2614 h 10126"/>
                <a:gd name="connsiteX125" fmla="*/ 8726 w 10000"/>
                <a:gd name="connsiteY125" fmla="*/ 2570 h 10126"/>
                <a:gd name="connsiteX126" fmla="*/ 8808 w 10000"/>
                <a:gd name="connsiteY126" fmla="*/ 2528 h 10126"/>
                <a:gd name="connsiteX127" fmla="*/ 8890 w 10000"/>
                <a:gd name="connsiteY127" fmla="*/ 2492 h 10126"/>
                <a:gd name="connsiteX128" fmla="*/ 8971 w 10000"/>
                <a:gd name="connsiteY128" fmla="*/ 2462 h 10126"/>
                <a:gd name="connsiteX129" fmla="*/ 9059 w 10000"/>
                <a:gd name="connsiteY129" fmla="*/ 2432 h 10126"/>
                <a:gd name="connsiteX130" fmla="*/ 9235 w 10000"/>
                <a:gd name="connsiteY130" fmla="*/ 2378 h 10126"/>
                <a:gd name="connsiteX131" fmla="*/ 9417 w 10000"/>
                <a:gd name="connsiteY131" fmla="*/ 2335 h 10126"/>
                <a:gd name="connsiteX132" fmla="*/ 9454 w 10000"/>
                <a:gd name="connsiteY132" fmla="*/ 2384 h 10126"/>
                <a:gd name="connsiteX133" fmla="*/ 9504 w 10000"/>
                <a:gd name="connsiteY133" fmla="*/ 2444 h 10126"/>
                <a:gd name="connsiteX134" fmla="*/ 9573 w 10000"/>
                <a:gd name="connsiteY134" fmla="*/ 2510 h 10126"/>
                <a:gd name="connsiteX135" fmla="*/ 9642 w 10000"/>
                <a:gd name="connsiteY135" fmla="*/ 2583 h 10126"/>
                <a:gd name="connsiteX136" fmla="*/ 9718 w 10000"/>
                <a:gd name="connsiteY136" fmla="*/ 2644 h 10126"/>
                <a:gd name="connsiteX137" fmla="*/ 9799 w 10000"/>
                <a:gd name="connsiteY137" fmla="*/ 2692 h 10126"/>
                <a:gd name="connsiteX138" fmla="*/ 9837 w 10000"/>
                <a:gd name="connsiteY138" fmla="*/ 2716 h 10126"/>
                <a:gd name="connsiteX139" fmla="*/ 9875 w 10000"/>
                <a:gd name="connsiteY139" fmla="*/ 2728 h 10126"/>
                <a:gd name="connsiteX140" fmla="*/ 9918 w 10000"/>
                <a:gd name="connsiteY140" fmla="*/ 2740 h 10126"/>
                <a:gd name="connsiteX141" fmla="*/ 9956 w 10000"/>
                <a:gd name="connsiteY141" fmla="*/ 2740 h 10126"/>
                <a:gd name="connsiteX142" fmla="*/ 10000 w 10000"/>
                <a:gd name="connsiteY142" fmla="*/ 2668 h 10126"/>
                <a:gd name="connsiteX143" fmla="*/ 9975 w 10000"/>
                <a:gd name="connsiteY143" fmla="*/ 2795 h 10126"/>
                <a:gd name="connsiteX144" fmla="*/ 9944 w 10000"/>
                <a:gd name="connsiteY144" fmla="*/ 2938 h 10126"/>
                <a:gd name="connsiteX145" fmla="*/ 9931 w 10000"/>
                <a:gd name="connsiteY145" fmla="*/ 3005 h 10126"/>
                <a:gd name="connsiteX146" fmla="*/ 9906 w 10000"/>
                <a:gd name="connsiteY146" fmla="*/ 3065 h 10126"/>
                <a:gd name="connsiteX147" fmla="*/ 9887 w 10000"/>
                <a:gd name="connsiteY147" fmla="*/ 3089 h 10126"/>
                <a:gd name="connsiteX148" fmla="*/ 9875 w 10000"/>
                <a:gd name="connsiteY148" fmla="*/ 3113 h 10126"/>
                <a:gd name="connsiteX149" fmla="*/ 9856 w 10000"/>
                <a:gd name="connsiteY149" fmla="*/ 3131 h 10126"/>
                <a:gd name="connsiteX150" fmla="*/ 9837 w 10000"/>
                <a:gd name="connsiteY150" fmla="*/ 3149 h 10126"/>
                <a:gd name="connsiteX151" fmla="*/ 9749 w 10000"/>
                <a:gd name="connsiteY151" fmla="*/ 3167 h 10126"/>
                <a:gd name="connsiteX152" fmla="*/ 9605 w 10000"/>
                <a:gd name="connsiteY152" fmla="*/ 3216 h 10126"/>
                <a:gd name="connsiteX153" fmla="*/ 9536 w 10000"/>
                <a:gd name="connsiteY153" fmla="*/ 3258 h 10126"/>
                <a:gd name="connsiteX154" fmla="*/ 9479 w 10000"/>
                <a:gd name="connsiteY154" fmla="*/ 3294 h 10126"/>
                <a:gd name="connsiteX155" fmla="*/ 9448 w 10000"/>
                <a:gd name="connsiteY155" fmla="*/ 3313 h 10126"/>
                <a:gd name="connsiteX156" fmla="*/ 9435 w 10000"/>
                <a:gd name="connsiteY156" fmla="*/ 3331 h 10126"/>
                <a:gd name="connsiteX157" fmla="*/ 9423 w 10000"/>
                <a:gd name="connsiteY157" fmla="*/ 3354 h 10126"/>
                <a:gd name="connsiteX158" fmla="*/ 9417 w 10000"/>
                <a:gd name="connsiteY158" fmla="*/ 3372 h 10126"/>
                <a:gd name="connsiteX159" fmla="*/ 9423 w 10000"/>
                <a:gd name="connsiteY159" fmla="*/ 3583 h 10126"/>
                <a:gd name="connsiteX160" fmla="*/ 9417 w 10000"/>
                <a:gd name="connsiteY160" fmla="*/ 3824 h 10126"/>
                <a:gd name="connsiteX161" fmla="*/ 9398 w 10000"/>
                <a:gd name="connsiteY161" fmla="*/ 3884 h 10126"/>
                <a:gd name="connsiteX162" fmla="*/ 9391 w 10000"/>
                <a:gd name="connsiteY162" fmla="*/ 3950 h 10126"/>
                <a:gd name="connsiteX163" fmla="*/ 9379 w 10000"/>
                <a:gd name="connsiteY163" fmla="*/ 4004 h 10126"/>
                <a:gd name="connsiteX164" fmla="*/ 9366 w 10000"/>
                <a:gd name="connsiteY164" fmla="*/ 4059 h 10126"/>
                <a:gd name="connsiteX165" fmla="*/ 9348 w 10000"/>
                <a:gd name="connsiteY165" fmla="*/ 4108 h 10126"/>
                <a:gd name="connsiteX166" fmla="*/ 9316 w 10000"/>
                <a:gd name="connsiteY166" fmla="*/ 4156 h 10126"/>
                <a:gd name="connsiteX167" fmla="*/ 9285 w 10000"/>
                <a:gd name="connsiteY167" fmla="*/ 4192 h 10126"/>
                <a:gd name="connsiteX168" fmla="*/ 9247 w 10000"/>
                <a:gd name="connsiteY168" fmla="*/ 4222 h 10126"/>
                <a:gd name="connsiteX169" fmla="*/ 9228 w 10000"/>
                <a:gd name="connsiteY169" fmla="*/ 4240 h 10126"/>
                <a:gd name="connsiteX170" fmla="*/ 9184 w 10000"/>
                <a:gd name="connsiteY170" fmla="*/ 4246 h 10126"/>
                <a:gd name="connsiteX171" fmla="*/ 9141 w 10000"/>
                <a:gd name="connsiteY171" fmla="*/ 4252 h 10126"/>
                <a:gd name="connsiteX172" fmla="*/ 9090 w 10000"/>
                <a:gd name="connsiteY172" fmla="*/ 4258 h 10126"/>
                <a:gd name="connsiteX173" fmla="*/ 9040 w 10000"/>
                <a:gd name="connsiteY173" fmla="*/ 4264 h 10126"/>
                <a:gd name="connsiteX174" fmla="*/ 8996 w 10000"/>
                <a:gd name="connsiteY174" fmla="*/ 4283 h 10126"/>
                <a:gd name="connsiteX175" fmla="*/ 8977 w 10000"/>
                <a:gd name="connsiteY175" fmla="*/ 4289 h 10126"/>
                <a:gd name="connsiteX176" fmla="*/ 8965 w 10000"/>
                <a:gd name="connsiteY176" fmla="*/ 4307 h 10126"/>
                <a:gd name="connsiteX177" fmla="*/ 8959 w 10000"/>
                <a:gd name="connsiteY177" fmla="*/ 4319 h 10126"/>
                <a:gd name="connsiteX178" fmla="*/ 8959 w 10000"/>
                <a:gd name="connsiteY178" fmla="*/ 4337 h 10126"/>
                <a:gd name="connsiteX179" fmla="*/ 8952 w 10000"/>
                <a:gd name="connsiteY179" fmla="*/ 4408 h 10126"/>
                <a:gd name="connsiteX180" fmla="*/ 8952 w 10000"/>
                <a:gd name="connsiteY180" fmla="*/ 4493 h 10126"/>
                <a:gd name="connsiteX181" fmla="*/ 8940 w 10000"/>
                <a:gd name="connsiteY181" fmla="*/ 4583 h 10126"/>
                <a:gd name="connsiteX182" fmla="*/ 8927 w 10000"/>
                <a:gd name="connsiteY182" fmla="*/ 4667 h 10126"/>
                <a:gd name="connsiteX183" fmla="*/ 8908 w 10000"/>
                <a:gd name="connsiteY183" fmla="*/ 4753 h 10126"/>
                <a:gd name="connsiteX184" fmla="*/ 8890 w 10000"/>
                <a:gd name="connsiteY184" fmla="*/ 4831 h 10126"/>
                <a:gd name="connsiteX185" fmla="*/ 8864 w 10000"/>
                <a:gd name="connsiteY185" fmla="*/ 4902 h 10126"/>
                <a:gd name="connsiteX186" fmla="*/ 8833 w 10000"/>
                <a:gd name="connsiteY186" fmla="*/ 4969 h 10126"/>
                <a:gd name="connsiteX187" fmla="*/ 8538 w 10000"/>
                <a:gd name="connsiteY187" fmla="*/ 4480 h 10126"/>
                <a:gd name="connsiteX188" fmla="*/ 8526 w 10000"/>
                <a:gd name="connsiteY188" fmla="*/ 4505 h 10126"/>
                <a:gd name="connsiteX189" fmla="*/ 8494 w 10000"/>
                <a:gd name="connsiteY189" fmla="*/ 4559 h 10126"/>
                <a:gd name="connsiteX190" fmla="*/ 8463 w 10000"/>
                <a:gd name="connsiteY190" fmla="*/ 4589 h 10126"/>
                <a:gd name="connsiteX191" fmla="*/ 8438 w 10000"/>
                <a:gd name="connsiteY191" fmla="*/ 4613 h 10126"/>
                <a:gd name="connsiteX192" fmla="*/ 8407 w 10000"/>
                <a:gd name="connsiteY192" fmla="*/ 4631 h 10126"/>
                <a:gd name="connsiteX193" fmla="*/ 8375 w 10000"/>
                <a:gd name="connsiteY193" fmla="*/ 4637 h 10126"/>
                <a:gd name="connsiteX194" fmla="*/ 8338 w 10000"/>
                <a:gd name="connsiteY194" fmla="*/ 4631 h 10126"/>
                <a:gd name="connsiteX195" fmla="*/ 8312 w 10000"/>
                <a:gd name="connsiteY195" fmla="*/ 4625 h 10126"/>
                <a:gd name="connsiteX196" fmla="*/ 8287 w 10000"/>
                <a:gd name="connsiteY196" fmla="*/ 4607 h 10126"/>
                <a:gd name="connsiteX197" fmla="*/ 8256 w 10000"/>
                <a:gd name="connsiteY197" fmla="*/ 4589 h 10126"/>
                <a:gd name="connsiteX198" fmla="*/ 8237 w 10000"/>
                <a:gd name="connsiteY198" fmla="*/ 4559 h 10126"/>
                <a:gd name="connsiteX199" fmla="*/ 8225 w 10000"/>
                <a:gd name="connsiteY199" fmla="*/ 4535 h 10126"/>
                <a:gd name="connsiteX200" fmla="*/ 8206 w 10000"/>
                <a:gd name="connsiteY200" fmla="*/ 4511 h 10126"/>
                <a:gd name="connsiteX201" fmla="*/ 8206 w 10000"/>
                <a:gd name="connsiteY201" fmla="*/ 4480 h 10126"/>
                <a:gd name="connsiteX202" fmla="*/ 8206 w 10000"/>
                <a:gd name="connsiteY202" fmla="*/ 4444 h 10126"/>
                <a:gd name="connsiteX203" fmla="*/ 8225 w 10000"/>
                <a:gd name="connsiteY203" fmla="*/ 4408 h 10126"/>
                <a:gd name="connsiteX204" fmla="*/ 8237 w 10000"/>
                <a:gd name="connsiteY204" fmla="*/ 4372 h 10126"/>
                <a:gd name="connsiteX205" fmla="*/ 8250 w 10000"/>
                <a:gd name="connsiteY205" fmla="*/ 4337 h 10126"/>
                <a:gd name="connsiteX206" fmla="*/ 8300 w 10000"/>
                <a:gd name="connsiteY206" fmla="*/ 4270 h 10126"/>
                <a:gd name="connsiteX207" fmla="*/ 8356 w 10000"/>
                <a:gd name="connsiteY207" fmla="*/ 4204 h 10126"/>
                <a:gd name="connsiteX208" fmla="*/ 8407 w 10000"/>
                <a:gd name="connsiteY208" fmla="*/ 4144 h 10126"/>
                <a:gd name="connsiteX209" fmla="*/ 8457 w 10000"/>
                <a:gd name="connsiteY209" fmla="*/ 4078 h 10126"/>
                <a:gd name="connsiteX210" fmla="*/ 8469 w 10000"/>
                <a:gd name="connsiteY210" fmla="*/ 4041 h 10126"/>
                <a:gd name="connsiteX211" fmla="*/ 8482 w 10000"/>
                <a:gd name="connsiteY211" fmla="*/ 4010 h 10126"/>
                <a:gd name="connsiteX212" fmla="*/ 8501 w 10000"/>
                <a:gd name="connsiteY212" fmla="*/ 3968 h 10126"/>
                <a:gd name="connsiteX213" fmla="*/ 8501 w 10000"/>
                <a:gd name="connsiteY213" fmla="*/ 3932 h 10126"/>
                <a:gd name="connsiteX214" fmla="*/ 7748 w 10000"/>
                <a:gd name="connsiteY214" fmla="*/ 3932 h 10126"/>
                <a:gd name="connsiteX215" fmla="*/ 7723 w 10000"/>
                <a:gd name="connsiteY215" fmla="*/ 3926 h 10126"/>
                <a:gd name="connsiteX216" fmla="*/ 7685 w 10000"/>
                <a:gd name="connsiteY216" fmla="*/ 3908 h 10126"/>
                <a:gd name="connsiteX217" fmla="*/ 7660 w 10000"/>
                <a:gd name="connsiteY217" fmla="*/ 3872 h 10126"/>
                <a:gd name="connsiteX218" fmla="*/ 7635 w 10000"/>
                <a:gd name="connsiteY218" fmla="*/ 3836 h 10126"/>
                <a:gd name="connsiteX219" fmla="*/ 7616 w 10000"/>
                <a:gd name="connsiteY219" fmla="*/ 3788 h 10126"/>
                <a:gd name="connsiteX220" fmla="*/ 7597 w 10000"/>
                <a:gd name="connsiteY220" fmla="*/ 3740 h 10126"/>
                <a:gd name="connsiteX221" fmla="*/ 7591 w 10000"/>
                <a:gd name="connsiteY221" fmla="*/ 3686 h 10126"/>
                <a:gd name="connsiteX222" fmla="*/ 7585 w 10000"/>
                <a:gd name="connsiteY222" fmla="*/ 3631 h 10126"/>
                <a:gd name="connsiteX223" fmla="*/ 7547 w 10000"/>
                <a:gd name="connsiteY223" fmla="*/ 3631 h 10126"/>
                <a:gd name="connsiteX224" fmla="*/ 7516 w 10000"/>
                <a:gd name="connsiteY224" fmla="*/ 3625 h 10126"/>
                <a:gd name="connsiteX225" fmla="*/ 7478 w 10000"/>
                <a:gd name="connsiteY225" fmla="*/ 3619 h 10126"/>
                <a:gd name="connsiteX226" fmla="*/ 7447 w 10000"/>
                <a:gd name="connsiteY226" fmla="*/ 3607 h 10126"/>
                <a:gd name="connsiteX227" fmla="*/ 7415 w 10000"/>
                <a:gd name="connsiteY227" fmla="*/ 3589 h 10126"/>
                <a:gd name="connsiteX228" fmla="*/ 7396 w 10000"/>
                <a:gd name="connsiteY228" fmla="*/ 3571 h 10126"/>
                <a:gd name="connsiteX229" fmla="*/ 7384 w 10000"/>
                <a:gd name="connsiteY229" fmla="*/ 3541 h 10126"/>
                <a:gd name="connsiteX230" fmla="*/ 7378 w 10000"/>
                <a:gd name="connsiteY230" fmla="*/ 3517 h 10126"/>
                <a:gd name="connsiteX231" fmla="*/ 7321 w 10000"/>
                <a:gd name="connsiteY231" fmla="*/ 3517 h 10126"/>
                <a:gd name="connsiteX232" fmla="*/ 7271 w 10000"/>
                <a:gd name="connsiteY232" fmla="*/ 3517 h 10126"/>
                <a:gd name="connsiteX233" fmla="*/ 7221 w 10000"/>
                <a:gd name="connsiteY233" fmla="*/ 3517 h 10126"/>
                <a:gd name="connsiteX234" fmla="*/ 7171 w 10000"/>
                <a:gd name="connsiteY234" fmla="*/ 3517 h 10126"/>
                <a:gd name="connsiteX235" fmla="*/ 7127 w 10000"/>
                <a:gd name="connsiteY235" fmla="*/ 3523 h 10126"/>
                <a:gd name="connsiteX236" fmla="*/ 7095 w 10000"/>
                <a:gd name="connsiteY236" fmla="*/ 3529 h 10126"/>
                <a:gd name="connsiteX237" fmla="*/ 7051 w 10000"/>
                <a:gd name="connsiteY237" fmla="*/ 3547 h 10126"/>
                <a:gd name="connsiteX238" fmla="*/ 7008 w 10000"/>
                <a:gd name="connsiteY238" fmla="*/ 3571 h 10126"/>
                <a:gd name="connsiteX239" fmla="*/ 6976 w 10000"/>
                <a:gd name="connsiteY239" fmla="*/ 3601 h 10126"/>
                <a:gd name="connsiteX240" fmla="*/ 6939 w 10000"/>
                <a:gd name="connsiteY240" fmla="*/ 3631 h 10126"/>
                <a:gd name="connsiteX241" fmla="*/ 6920 w 10000"/>
                <a:gd name="connsiteY241" fmla="*/ 3668 h 10126"/>
                <a:gd name="connsiteX242" fmla="*/ 6913 w 10000"/>
                <a:gd name="connsiteY242" fmla="*/ 3704 h 10126"/>
                <a:gd name="connsiteX243" fmla="*/ 6926 w 10000"/>
                <a:gd name="connsiteY243" fmla="*/ 3728 h 10126"/>
                <a:gd name="connsiteX244" fmla="*/ 6964 w 10000"/>
                <a:gd name="connsiteY244" fmla="*/ 3758 h 10126"/>
                <a:gd name="connsiteX245" fmla="*/ 7008 w 10000"/>
                <a:gd name="connsiteY245" fmla="*/ 3794 h 10126"/>
                <a:gd name="connsiteX246" fmla="*/ 7070 w 10000"/>
                <a:gd name="connsiteY246" fmla="*/ 3830 h 10126"/>
                <a:gd name="connsiteX247" fmla="*/ 7133 w 10000"/>
                <a:gd name="connsiteY247" fmla="*/ 3866 h 10126"/>
                <a:gd name="connsiteX248" fmla="*/ 7196 w 10000"/>
                <a:gd name="connsiteY248" fmla="*/ 3896 h 10126"/>
                <a:gd name="connsiteX249" fmla="*/ 7252 w 10000"/>
                <a:gd name="connsiteY249" fmla="*/ 3920 h 10126"/>
                <a:gd name="connsiteX250" fmla="*/ 7290 w 10000"/>
                <a:gd name="connsiteY250" fmla="*/ 3932 h 10126"/>
                <a:gd name="connsiteX251" fmla="*/ 7208 w 10000"/>
                <a:gd name="connsiteY251" fmla="*/ 3992 h 10126"/>
                <a:gd name="connsiteX252" fmla="*/ 7114 w 10000"/>
                <a:gd name="connsiteY252" fmla="*/ 4066 h 10126"/>
                <a:gd name="connsiteX253" fmla="*/ 7070 w 10000"/>
                <a:gd name="connsiteY253" fmla="*/ 4102 h 10126"/>
                <a:gd name="connsiteX254" fmla="*/ 7033 w 10000"/>
                <a:gd name="connsiteY254" fmla="*/ 4144 h 10126"/>
                <a:gd name="connsiteX255" fmla="*/ 7020 w 10000"/>
                <a:gd name="connsiteY255" fmla="*/ 4162 h 10126"/>
                <a:gd name="connsiteX256" fmla="*/ 7008 w 10000"/>
                <a:gd name="connsiteY256" fmla="*/ 4180 h 10126"/>
                <a:gd name="connsiteX257" fmla="*/ 7001 w 10000"/>
                <a:gd name="connsiteY257" fmla="*/ 4204 h 10126"/>
                <a:gd name="connsiteX258" fmla="*/ 6995 w 10000"/>
                <a:gd name="connsiteY258" fmla="*/ 4222 h 10126"/>
                <a:gd name="connsiteX259" fmla="*/ 7001 w 10000"/>
                <a:gd name="connsiteY259" fmla="*/ 4252 h 10126"/>
                <a:gd name="connsiteX260" fmla="*/ 7008 w 10000"/>
                <a:gd name="connsiteY260" fmla="*/ 4270 h 10126"/>
                <a:gd name="connsiteX261" fmla="*/ 7026 w 10000"/>
                <a:gd name="connsiteY261" fmla="*/ 4295 h 10126"/>
                <a:gd name="connsiteX262" fmla="*/ 7039 w 10000"/>
                <a:gd name="connsiteY262" fmla="*/ 4319 h 10126"/>
                <a:gd name="connsiteX263" fmla="*/ 7089 w 10000"/>
                <a:gd name="connsiteY263" fmla="*/ 4366 h 10126"/>
                <a:gd name="connsiteX264" fmla="*/ 7146 w 10000"/>
                <a:gd name="connsiteY264" fmla="*/ 4414 h 10126"/>
                <a:gd name="connsiteX265" fmla="*/ 7208 w 10000"/>
                <a:gd name="connsiteY265" fmla="*/ 4456 h 10126"/>
                <a:gd name="connsiteX266" fmla="*/ 7277 w 10000"/>
                <a:gd name="connsiteY266" fmla="*/ 4493 h 10126"/>
                <a:gd name="connsiteX267" fmla="*/ 7315 w 10000"/>
                <a:gd name="connsiteY267" fmla="*/ 4505 h 10126"/>
                <a:gd name="connsiteX268" fmla="*/ 7346 w 10000"/>
                <a:gd name="connsiteY268" fmla="*/ 4511 h 10126"/>
                <a:gd name="connsiteX269" fmla="*/ 7384 w 10000"/>
                <a:gd name="connsiteY269" fmla="*/ 4517 h 10126"/>
                <a:gd name="connsiteX270" fmla="*/ 7415 w 10000"/>
                <a:gd name="connsiteY270" fmla="*/ 4523 h 10126"/>
                <a:gd name="connsiteX271" fmla="*/ 7585 w 10000"/>
                <a:gd name="connsiteY271" fmla="*/ 5150 h 10126"/>
                <a:gd name="connsiteX272" fmla="*/ 7491 w 10000"/>
                <a:gd name="connsiteY272" fmla="*/ 5150 h 10126"/>
                <a:gd name="connsiteX273" fmla="*/ 7403 w 10000"/>
                <a:gd name="connsiteY273" fmla="*/ 5150 h 10126"/>
                <a:gd name="connsiteX274" fmla="*/ 7321 w 10000"/>
                <a:gd name="connsiteY274" fmla="*/ 5150 h 10126"/>
                <a:gd name="connsiteX275" fmla="*/ 7252 w 10000"/>
                <a:gd name="connsiteY275" fmla="*/ 5150 h 10126"/>
                <a:gd name="connsiteX276" fmla="*/ 7208 w 10000"/>
                <a:gd name="connsiteY276" fmla="*/ 5144 h 10126"/>
                <a:gd name="connsiteX277" fmla="*/ 7164 w 10000"/>
                <a:gd name="connsiteY277" fmla="*/ 5113 h 10126"/>
                <a:gd name="connsiteX278" fmla="*/ 7133 w 10000"/>
                <a:gd name="connsiteY278" fmla="*/ 5101 h 10126"/>
                <a:gd name="connsiteX279" fmla="*/ 7102 w 10000"/>
                <a:gd name="connsiteY279" fmla="*/ 5089 h 10126"/>
                <a:gd name="connsiteX280" fmla="*/ 7070 w 10000"/>
                <a:gd name="connsiteY280" fmla="*/ 5083 h 10126"/>
                <a:gd name="connsiteX281" fmla="*/ 7039 w 10000"/>
                <a:gd name="connsiteY281" fmla="*/ 5077 h 10126"/>
                <a:gd name="connsiteX282" fmla="*/ 7008 w 10000"/>
                <a:gd name="connsiteY282" fmla="*/ 5089 h 10126"/>
                <a:gd name="connsiteX283" fmla="*/ 6957 w 10000"/>
                <a:gd name="connsiteY283" fmla="*/ 5119 h 10126"/>
                <a:gd name="connsiteX284" fmla="*/ 6895 w 10000"/>
                <a:gd name="connsiteY284" fmla="*/ 5162 h 10126"/>
                <a:gd name="connsiteX285" fmla="*/ 6819 w 10000"/>
                <a:gd name="connsiteY285" fmla="*/ 5210 h 10126"/>
                <a:gd name="connsiteX286" fmla="*/ 6744 w 10000"/>
                <a:gd name="connsiteY286" fmla="*/ 5270 h 10126"/>
                <a:gd name="connsiteX287" fmla="*/ 6681 w 10000"/>
                <a:gd name="connsiteY287" fmla="*/ 5318 h 10126"/>
                <a:gd name="connsiteX288" fmla="*/ 6637 w 10000"/>
                <a:gd name="connsiteY288" fmla="*/ 5354 h 10126"/>
                <a:gd name="connsiteX289" fmla="*/ 6625 w 10000"/>
                <a:gd name="connsiteY289" fmla="*/ 5378 h 10126"/>
                <a:gd name="connsiteX290" fmla="*/ 6750 w 10000"/>
                <a:gd name="connsiteY290" fmla="*/ 5450 h 10126"/>
                <a:gd name="connsiteX291" fmla="*/ 6744 w 10000"/>
                <a:gd name="connsiteY291" fmla="*/ 5487 h 10126"/>
                <a:gd name="connsiteX292" fmla="*/ 6725 w 10000"/>
                <a:gd name="connsiteY292" fmla="*/ 5529 h 10126"/>
                <a:gd name="connsiteX293" fmla="*/ 6706 w 10000"/>
                <a:gd name="connsiteY293" fmla="*/ 5560 h 10126"/>
                <a:gd name="connsiteX294" fmla="*/ 6688 w 10000"/>
                <a:gd name="connsiteY294" fmla="*/ 5602 h 10126"/>
                <a:gd name="connsiteX295" fmla="*/ 6637 w 10000"/>
                <a:gd name="connsiteY295" fmla="*/ 5656 h 10126"/>
                <a:gd name="connsiteX296" fmla="*/ 6581 w 10000"/>
                <a:gd name="connsiteY296" fmla="*/ 5710 h 10126"/>
                <a:gd name="connsiteX297" fmla="*/ 6518 w 10000"/>
                <a:gd name="connsiteY297" fmla="*/ 5758 h 10126"/>
                <a:gd name="connsiteX298" fmla="*/ 6443 w 10000"/>
                <a:gd name="connsiteY298" fmla="*/ 5801 h 10126"/>
                <a:gd name="connsiteX299" fmla="*/ 6374 w 10000"/>
                <a:gd name="connsiteY299" fmla="*/ 5837 h 10126"/>
                <a:gd name="connsiteX300" fmla="*/ 6299 w 10000"/>
                <a:gd name="connsiteY300" fmla="*/ 5872 h 10126"/>
                <a:gd name="connsiteX301" fmla="*/ 6223 w 10000"/>
                <a:gd name="connsiteY301" fmla="*/ 5920 h 10126"/>
                <a:gd name="connsiteX302" fmla="*/ 6154 w 10000"/>
                <a:gd name="connsiteY302" fmla="*/ 5956 h 10126"/>
                <a:gd name="connsiteX303" fmla="*/ 6092 w 10000"/>
                <a:gd name="connsiteY303" fmla="*/ 5999 h 10126"/>
                <a:gd name="connsiteX304" fmla="*/ 6035 w 10000"/>
                <a:gd name="connsiteY304" fmla="*/ 6047 h 10126"/>
                <a:gd name="connsiteX305" fmla="*/ 6004 w 10000"/>
                <a:gd name="connsiteY305" fmla="*/ 6071 h 10126"/>
                <a:gd name="connsiteX306" fmla="*/ 5985 w 10000"/>
                <a:gd name="connsiteY306" fmla="*/ 6095 h 10126"/>
                <a:gd name="connsiteX307" fmla="*/ 5966 w 10000"/>
                <a:gd name="connsiteY307" fmla="*/ 6125 h 10126"/>
                <a:gd name="connsiteX308" fmla="*/ 5947 w 10000"/>
                <a:gd name="connsiteY308" fmla="*/ 6155 h 10126"/>
                <a:gd name="connsiteX309" fmla="*/ 5935 w 10000"/>
                <a:gd name="connsiteY309" fmla="*/ 6193 h 10126"/>
                <a:gd name="connsiteX310" fmla="*/ 5922 w 10000"/>
                <a:gd name="connsiteY310" fmla="*/ 6223 h 10126"/>
                <a:gd name="connsiteX311" fmla="*/ 5916 w 10000"/>
                <a:gd name="connsiteY311" fmla="*/ 6265 h 10126"/>
                <a:gd name="connsiteX312" fmla="*/ 5916 w 10000"/>
                <a:gd name="connsiteY312" fmla="*/ 6307 h 10126"/>
                <a:gd name="connsiteX313" fmla="*/ 5859 w 10000"/>
                <a:gd name="connsiteY313" fmla="*/ 6325 h 10126"/>
                <a:gd name="connsiteX314" fmla="*/ 5809 w 10000"/>
                <a:gd name="connsiteY314" fmla="*/ 6343 h 10126"/>
                <a:gd name="connsiteX315" fmla="*/ 5765 w 10000"/>
                <a:gd name="connsiteY315" fmla="*/ 6366 h 10126"/>
                <a:gd name="connsiteX316" fmla="*/ 5721 w 10000"/>
                <a:gd name="connsiteY316" fmla="*/ 6390 h 10126"/>
                <a:gd name="connsiteX317" fmla="*/ 5634 w 10000"/>
                <a:gd name="connsiteY317" fmla="*/ 6451 h 10126"/>
                <a:gd name="connsiteX318" fmla="*/ 5558 w 10000"/>
                <a:gd name="connsiteY318" fmla="*/ 6523 h 10126"/>
                <a:gd name="connsiteX319" fmla="*/ 5420 w 10000"/>
                <a:gd name="connsiteY319" fmla="*/ 6686 h 10126"/>
                <a:gd name="connsiteX320" fmla="*/ 5289 w 10000"/>
                <a:gd name="connsiteY320" fmla="*/ 6860 h 10126"/>
                <a:gd name="connsiteX321" fmla="*/ 5220 w 10000"/>
                <a:gd name="connsiteY321" fmla="*/ 6951 h 10126"/>
                <a:gd name="connsiteX322" fmla="*/ 5151 w 10000"/>
                <a:gd name="connsiteY322" fmla="*/ 7029 h 10126"/>
                <a:gd name="connsiteX323" fmla="*/ 5075 w 10000"/>
                <a:gd name="connsiteY323" fmla="*/ 7102 h 10126"/>
                <a:gd name="connsiteX324" fmla="*/ 4994 w 10000"/>
                <a:gd name="connsiteY324" fmla="*/ 7168 h 10126"/>
                <a:gd name="connsiteX325" fmla="*/ 4944 w 10000"/>
                <a:gd name="connsiteY325" fmla="*/ 7198 h 10126"/>
                <a:gd name="connsiteX326" fmla="*/ 4893 w 10000"/>
                <a:gd name="connsiteY326" fmla="*/ 7222 h 10126"/>
                <a:gd name="connsiteX327" fmla="*/ 4849 w 10000"/>
                <a:gd name="connsiteY327" fmla="*/ 7246 h 10126"/>
                <a:gd name="connsiteX328" fmla="*/ 4793 w 10000"/>
                <a:gd name="connsiteY328" fmla="*/ 7271 h 10126"/>
                <a:gd name="connsiteX329" fmla="*/ 4730 w 10000"/>
                <a:gd name="connsiteY329" fmla="*/ 7289 h 10126"/>
                <a:gd name="connsiteX330" fmla="*/ 4674 w 10000"/>
                <a:gd name="connsiteY330" fmla="*/ 7301 h 10126"/>
                <a:gd name="connsiteX331" fmla="*/ 4605 w 10000"/>
                <a:gd name="connsiteY331" fmla="*/ 7307 h 10126"/>
                <a:gd name="connsiteX332" fmla="*/ 4536 w 10000"/>
                <a:gd name="connsiteY332" fmla="*/ 7307 h 10126"/>
                <a:gd name="connsiteX333" fmla="*/ 4536 w 10000"/>
                <a:gd name="connsiteY333" fmla="*/ 7360 h 10126"/>
                <a:gd name="connsiteX334" fmla="*/ 4536 w 10000"/>
                <a:gd name="connsiteY334" fmla="*/ 7414 h 10126"/>
                <a:gd name="connsiteX335" fmla="*/ 4536 w 10000"/>
                <a:gd name="connsiteY335" fmla="*/ 7456 h 10126"/>
                <a:gd name="connsiteX336" fmla="*/ 4536 w 10000"/>
                <a:gd name="connsiteY336" fmla="*/ 7493 h 10126"/>
                <a:gd name="connsiteX337" fmla="*/ 4536 w 10000"/>
                <a:gd name="connsiteY337" fmla="*/ 7559 h 10126"/>
                <a:gd name="connsiteX338" fmla="*/ 4536 w 10000"/>
                <a:gd name="connsiteY338" fmla="*/ 7662 h 10126"/>
                <a:gd name="connsiteX339" fmla="*/ 4536 w 10000"/>
                <a:gd name="connsiteY339" fmla="*/ 7771 h 10126"/>
                <a:gd name="connsiteX340" fmla="*/ 4548 w 10000"/>
                <a:gd name="connsiteY340" fmla="*/ 7884 h 10126"/>
                <a:gd name="connsiteX341" fmla="*/ 4561 w 10000"/>
                <a:gd name="connsiteY341" fmla="*/ 7945 h 10126"/>
                <a:gd name="connsiteX342" fmla="*/ 4573 w 10000"/>
                <a:gd name="connsiteY342" fmla="*/ 7999 h 10126"/>
                <a:gd name="connsiteX343" fmla="*/ 4586 w 10000"/>
                <a:gd name="connsiteY343" fmla="*/ 8047 h 10126"/>
                <a:gd name="connsiteX344" fmla="*/ 4611 w 10000"/>
                <a:gd name="connsiteY344" fmla="*/ 8089 h 10126"/>
                <a:gd name="connsiteX345" fmla="*/ 4636 w 10000"/>
                <a:gd name="connsiteY345" fmla="*/ 8132 h 10126"/>
                <a:gd name="connsiteX346" fmla="*/ 4668 w 10000"/>
                <a:gd name="connsiteY346" fmla="*/ 8162 h 10126"/>
                <a:gd name="connsiteX347" fmla="*/ 4705 w 10000"/>
                <a:gd name="connsiteY347" fmla="*/ 8186 h 10126"/>
                <a:gd name="connsiteX348" fmla="*/ 4749 w 10000"/>
                <a:gd name="connsiteY348" fmla="*/ 8198 h 10126"/>
                <a:gd name="connsiteX349" fmla="*/ 4711 w 10000"/>
                <a:gd name="connsiteY349" fmla="*/ 8294 h 10126"/>
                <a:gd name="connsiteX350" fmla="*/ 4668 w 10000"/>
                <a:gd name="connsiteY350" fmla="*/ 8379 h 10126"/>
                <a:gd name="connsiteX351" fmla="*/ 4617 w 10000"/>
                <a:gd name="connsiteY351" fmla="*/ 8457 h 10126"/>
                <a:gd name="connsiteX352" fmla="*/ 4573 w 10000"/>
                <a:gd name="connsiteY352" fmla="*/ 8529 h 10126"/>
                <a:gd name="connsiteX353" fmla="*/ 4523 w 10000"/>
                <a:gd name="connsiteY353" fmla="*/ 8614 h 10126"/>
                <a:gd name="connsiteX354" fmla="*/ 4492 w 10000"/>
                <a:gd name="connsiteY354" fmla="*/ 8692 h 10126"/>
                <a:gd name="connsiteX355" fmla="*/ 4473 w 10000"/>
                <a:gd name="connsiteY355" fmla="*/ 8728 h 10126"/>
                <a:gd name="connsiteX356" fmla="*/ 4467 w 10000"/>
                <a:gd name="connsiteY356" fmla="*/ 8771 h 10126"/>
                <a:gd name="connsiteX357" fmla="*/ 4460 w 10000"/>
                <a:gd name="connsiteY357" fmla="*/ 8819 h 10126"/>
                <a:gd name="connsiteX358" fmla="*/ 4454 w 10000"/>
                <a:gd name="connsiteY358" fmla="*/ 8861 h 10126"/>
                <a:gd name="connsiteX359" fmla="*/ 4460 w 10000"/>
                <a:gd name="connsiteY359" fmla="*/ 8878 h 10126"/>
                <a:gd name="connsiteX360" fmla="*/ 4467 w 10000"/>
                <a:gd name="connsiteY360" fmla="*/ 8890 h 10126"/>
                <a:gd name="connsiteX361" fmla="*/ 4479 w 10000"/>
                <a:gd name="connsiteY361" fmla="*/ 8902 h 10126"/>
                <a:gd name="connsiteX362" fmla="*/ 4504 w 10000"/>
                <a:gd name="connsiteY362" fmla="*/ 8914 h 10126"/>
                <a:gd name="connsiteX363" fmla="*/ 4542 w 10000"/>
                <a:gd name="connsiteY363" fmla="*/ 8938 h 10126"/>
                <a:gd name="connsiteX364" fmla="*/ 4580 w 10000"/>
                <a:gd name="connsiteY364" fmla="*/ 8944 h 10126"/>
                <a:gd name="connsiteX365" fmla="*/ 4580 w 10000"/>
                <a:gd name="connsiteY365" fmla="*/ 9162 h 10126"/>
                <a:gd name="connsiteX366" fmla="*/ 4529 w 10000"/>
                <a:gd name="connsiteY366" fmla="*/ 9247 h 10126"/>
                <a:gd name="connsiteX367" fmla="*/ 4492 w 10000"/>
                <a:gd name="connsiteY367" fmla="*/ 9337 h 10126"/>
                <a:gd name="connsiteX368" fmla="*/ 4460 w 10000"/>
                <a:gd name="connsiteY368" fmla="*/ 9372 h 10126"/>
                <a:gd name="connsiteX369" fmla="*/ 4429 w 10000"/>
                <a:gd name="connsiteY369" fmla="*/ 9397 h 10126"/>
                <a:gd name="connsiteX370" fmla="*/ 4404 w 10000"/>
                <a:gd name="connsiteY370" fmla="*/ 9409 h 10126"/>
                <a:gd name="connsiteX371" fmla="*/ 4385 w 10000"/>
                <a:gd name="connsiteY371" fmla="*/ 9415 h 10126"/>
                <a:gd name="connsiteX372" fmla="*/ 4360 w 10000"/>
                <a:gd name="connsiteY372" fmla="*/ 9421 h 10126"/>
                <a:gd name="connsiteX373" fmla="*/ 4329 w 10000"/>
                <a:gd name="connsiteY373" fmla="*/ 9421 h 10126"/>
                <a:gd name="connsiteX374" fmla="*/ 4329 w 10000"/>
                <a:gd name="connsiteY374" fmla="*/ 9469 h 10126"/>
                <a:gd name="connsiteX375" fmla="*/ 4335 w 10000"/>
                <a:gd name="connsiteY375" fmla="*/ 9529 h 10126"/>
                <a:gd name="connsiteX376" fmla="*/ 4348 w 10000"/>
                <a:gd name="connsiteY376" fmla="*/ 9559 h 10126"/>
                <a:gd name="connsiteX377" fmla="*/ 4354 w 10000"/>
                <a:gd name="connsiteY377" fmla="*/ 9583 h 10126"/>
                <a:gd name="connsiteX378" fmla="*/ 4360 w 10000"/>
                <a:gd name="connsiteY378" fmla="*/ 9602 h 10126"/>
                <a:gd name="connsiteX379" fmla="*/ 4373 w 10000"/>
                <a:gd name="connsiteY379" fmla="*/ 9608 h 10126"/>
                <a:gd name="connsiteX380" fmla="*/ 4210 w 10000"/>
                <a:gd name="connsiteY380" fmla="*/ 9734 h 10126"/>
                <a:gd name="connsiteX381" fmla="*/ 4072 w 10000"/>
                <a:gd name="connsiteY381" fmla="*/ 9838 h 10126"/>
                <a:gd name="connsiteX382" fmla="*/ 4009 w 10000"/>
                <a:gd name="connsiteY382" fmla="*/ 9897 h 10126"/>
                <a:gd name="connsiteX383" fmla="*/ 3952 w 10000"/>
                <a:gd name="connsiteY383" fmla="*/ 9963 h 10126"/>
                <a:gd name="connsiteX384" fmla="*/ 3890 w 10000"/>
                <a:gd name="connsiteY384" fmla="*/ 10042 h 10126"/>
                <a:gd name="connsiteX385" fmla="*/ 3833 w 10000"/>
                <a:gd name="connsiteY385" fmla="*/ 10126 h 10126"/>
                <a:gd name="connsiteX386" fmla="*/ 3733 w 10000"/>
                <a:gd name="connsiteY386" fmla="*/ 10084 h 10126"/>
                <a:gd name="connsiteX387" fmla="*/ 3664 w 10000"/>
                <a:gd name="connsiteY387" fmla="*/ 10042 h 10126"/>
                <a:gd name="connsiteX388" fmla="*/ 3607 w 10000"/>
                <a:gd name="connsiteY388" fmla="*/ 9999 h 10126"/>
                <a:gd name="connsiteX389" fmla="*/ 3563 w 10000"/>
                <a:gd name="connsiteY389" fmla="*/ 9951 h 10126"/>
                <a:gd name="connsiteX390" fmla="*/ 3532 w 10000"/>
                <a:gd name="connsiteY390" fmla="*/ 9891 h 10126"/>
                <a:gd name="connsiteX391" fmla="*/ 3513 w 10000"/>
                <a:gd name="connsiteY391" fmla="*/ 9832 h 10126"/>
                <a:gd name="connsiteX392" fmla="*/ 3482 w 10000"/>
                <a:gd name="connsiteY392" fmla="*/ 9758 h 10126"/>
                <a:gd name="connsiteX393" fmla="*/ 3457 w 10000"/>
                <a:gd name="connsiteY393" fmla="*/ 9686 h 10126"/>
                <a:gd name="connsiteX394" fmla="*/ 3400 w 10000"/>
                <a:gd name="connsiteY394" fmla="*/ 9547 h 10126"/>
                <a:gd name="connsiteX395" fmla="*/ 3325 w 10000"/>
                <a:gd name="connsiteY395" fmla="*/ 9415 h 10126"/>
                <a:gd name="connsiteX396" fmla="*/ 3237 w 10000"/>
                <a:gd name="connsiteY396" fmla="*/ 9277 h 10126"/>
                <a:gd name="connsiteX397" fmla="*/ 3143 w 10000"/>
                <a:gd name="connsiteY397" fmla="*/ 9132 h 10126"/>
                <a:gd name="connsiteX398" fmla="*/ 3049 w 10000"/>
                <a:gd name="connsiteY398" fmla="*/ 8999 h 10126"/>
                <a:gd name="connsiteX399" fmla="*/ 2967 w 10000"/>
                <a:gd name="connsiteY399" fmla="*/ 8867 h 10126"/>
                <a:gd name="connsiteX400" fmla="*/ 2892 w 10000"/>
                <a:gd name="connsiteY400" fmla="*/ 8747 h 10126"/>
                <a:gd name="connsiteX401" fmla="*/ 2829 w 10000"/>
                <a:gd name="connsiteY401" fmla="*/ 8644 h 10126"/>
                <a:gd name="connsiteX402" fmla="*/ 2773 w 10000"/>
                <a:gd name="connsiteY402" fmla="*/ 8529 h 10126"/>
                <a:gd name="connsiteX403" fmla="*/ 2735 w 10000"/>
                <a:gd name="connsiteY403" fmla="*/ 8427 h 10126"/>
                <a:gd name="connsiteX404" fmla="*/ 2698 w 10000"/>
                <a:gd name="connsiteY404" fmla="*/ 8319 h 10126"/>
                <a:gd name="connsiteX405" fmla="*/ 2666 w 10000"/>
                <a:gd name="connsiteY405" fmla="*/ 8210 h 10126"/>
                <a:gd name="connsiteX406" fmla="*/ 2629 w 10000"/>
                <a:gd name="connsiteY406" fmla="*/ 8101 h 10126"/>
                <a:gd name="connsiteX407" fmla="*/ 2597 w 10000"/>
                <a:gd name="connsiteY407" fmla="*/ 7993 h 10126"/>
                <a:gd name="connsiteX408" fmla="*/ 2553 w 10000"/>
                <a:gd name="connsiteY408" fmla="*/ 7872 h 10126"/>
                <a:gd name="connsiteX409" fmla="*/ 2497 w 10000"/>
                <a:gd name="connsiteY409" fmla="*/ 7753 h 10126"/>
                <a:gd name="connsiteX410" fmla="*/ 2359 w 10000"/>
                <a:gd name="connsiteY410" fmla="*/ 7559 h 10126"/>
                <a:gd name="connsiteX411" fmla="*/ 2208 w 10000"/>
                <a:gd name="connsiteY411" fmla="*/ 7378 h 10126"/>
                <a:gd name="connsiteX412" fmla="*/ 2139 w 10000"/>
                <a:gd name="connsiteY412" fmla="*/ 7295 h 10126"/>
                <a:gd name="connsiteX413" fmla="*/ 2070 w 10000"/>
                <a:gd name="connsiteY413" fmla="*/ 7198 h 10126"/>
                <a:gd name="connsiteX414" fmla="*/ 2008 w 10000"/>
                <a:gd name="connsiteY414" fmla="*/ 7108 h 10126"/>
                <a:gd name="connsiteX415" fmla="*/ 1957 w 10000"/>
                <a:gd name="connsiteY415" fmla="*/ 7011 h 10126"/>
                <a:gd name="connsiteX416" fmla="*/ 1888 w 10000"/>
                <a:gd name="connsiteY416" fmla="*/ 6776 h 10126"/>
                <a:gd name="connsiteX417" fmla="*/ 1832 w 10000"/>
                <a:gd name="connsiteY417" fmla="*/ 6559 h 10126"/>
                <a:gd name="connsiteX418" fmla="*/ 1782 w 10000"/>
                <a:gd name="connsiteY418" fmla="*/ 6349 h 10126"/>
                <a:gd name="connsiteX419" fmla="*/ 1757 w 10000"/>
                <a:gd name="connsiteY419" fmla="*/ 6137 h 10126"/>
                <a:gd name="connsiteX420" fmla="*/ 1725 w 10000"/>
                <a:gd name="connsiteY420" fmla="*/ 5932 h 10126"/>
                <a:gd name="connsiteX421" fmla="*/ 1713 w 10000"/>
                <a:gd name="connsiteY421" fmla="*/ 5716 h 10126"/>
                <a:gd name="connsiteX422" fmla="*/ 1706 w 10000"/>
                <a:gd name="connsiteY422" fmla="*/ 5493 h 10126"/>
                <a:gd name="connsiteX423" fmla="*/ 1706 w 10000"/>
                <a:gd name="connsiteY423" fmla="*/ 5270 h 10126"/>
                <a:gd name="connsiteX424" fmla="*/ 1681 w 10000"/>
                <a:gd name="connsiteY424" fmla="*/ 5264 h 10126"/>
                <a:gd name="connsiteX425" fmla="*/ 1650 w 10000"/>
                <a:gd name="connsiteY425" fmla="*/ 5258 h 10126"/>
                <a:gd name="connsiteX426" fmla="*/ 1625 w 10000"/>
                <a:gd name="connsiteY426" fmla="*/ 5252 h 10126"/>
                <a:gd name="connsiteX427" fmla="*/ 1606 w 10000"/>
                <a:gd name="connsiteY427" fmla="*/ 5228 h 10126"/>
                <a:gd name="connsiteX428" fmla="*/ 1581 w 10000"/>
                <a:gd name="connsiteY428" fmla="*/ 5216 h 10126"/>
                <a:gd name="connsiteX429" fmla="*/ 1568 w 10000"/>
                <a:gd name="connsiteY429" fmla="*/ 5198 h 10126"/>
                <a:gd name="connsiteX430" fmla="*/ 1550 w 10000"/>
                <a:gd name="connsiteY430" fmla="*/ 5174 h 10126"/>
                <a:gd name="connsiteX431" fmla="*/ 1543 w 10000"/>
                <a:gd name="connsiteY431" fmla="*/ 5150 h 10126"/>
                <a:gd name="connsiteX432" fmla="*/ 1518 w 10000"/>
                <a:gd name="connsiteY432" fmla="*/ 5101 h 10126"/>
                <a:gd name="connsiteX433" fmla="*/ 1506 w 10000"/>
                <a:gd name="connsiteY433" fmla="*/ 5047 h 10126"/>
                <a:gd name="connsiteX434" fmla="*/ 1499 w 10000"/>
                <a:gd name="connsiteY434" fmla="*/ 4987 h 10126"/>
                <a:gd name="connsiteX435" fmla="*/ 1499 w 10000"/>
                <a:gd name="connsiteY435" fmla="*/ 4933 h 10126"/>
                <a:gd name="connsiteX436" fmla="*/ 1443 w 10000"/>
                <a:gd name="connsiteY436" fmla="*/ 4969 h 10126"/>
                <a:gd name="connsiteX437" fmla="*/ 1405 w 10000"/>
                <a:gd name="connsiteY437" fmla="*/ 5011 h 10126"/>
                <a:gd name="connsiteX438" fmla="*/ 1361 w 10000"/>
                <a:gd name="connsiteY438" fmla="*/ 5053 h 10126"/>
                <a:gd name="connsiteX439" fmla="*/ 1317 w 10000"/>
                <a:gd name="connsiteY439" fmla="*/ 5101 h 10126"/>
                <a:gd name="connsiteX440" fmla="*/ 1261 w 10000"/>
                <a:gd name="connsiteY440" fmla="*/ 5198 h 10126"/>
                <a:gd name="connsiteX441" fmla="*/ 1205 w 10000"/>
                <a:gd name="connsiteY441" fmla="*/ 5300 h 10126"/>
                <a:gd name="connsiteX442" fmla="*/ 1167 w 10000"/>
                <a:gd name="connsiteY442" fmla="*/ 5343 h 10126"/>
                <a:gd name="connsiteX443" fmla="*/ 1142 w 10000"/>
                <a:gd name="connsiteY443" fmla="*/ 5384 h 10126"/>
                <a:gd name="connsiteX444" fmla="*/ 1104 w 10000"/>
                <a:gd name="connsiteY444" fmla="*/ 5426 h 10126"/>
                <a:gd name="connsiteX445" fmla="*/ 1073 w 10000"/>
                <a:gd name="connsiteY445" fmla="*/ 5456 h 10126"/>
                <a:gd name="connsiteX446" fmla="*/ 1029 w 10000"/>
                <a:gd name="connsiteY446" fmla="*/ 5487 h 10126"/>
                <a:gd name="connsiteX447" fmla="*/ 985 w 10000"/>
                <a:gd name="connsiteY447" fmla="*/ 5505 h 10126"/>
                <a:gd name="connsiteX448" fmla="*/ 928 w 10000"/>
                <a:gd name="connsiteY448" fmla="*/ 5517 h 10126"/>
                <a:gd name="connsiteX449" fmla="*/ 872 w 10000"/>
                <a:gd name="connsiteY449" fmla="*/ 5523 h 10126"/>
                <a:gd name="connsiteX450" fmla="*/ 841 w 10000"/>
                <a:gd name="connsiteY450" fmla="*/ 5517 h 10126"/>
                <a:gd name="connsiteX451" fmla="*/ 797 w 10000"/>
                <a:gd name="connsiteY451" fmla="*/ 5505 h 10126"/>
                <a:gd name="connsiteX452" fmla="*/ 753 w 10000"/>
                <a:gd name="connsiteY452" fmla="*/ 5487 h 10126"/>
                <a:gd name="connsiteX453" fmla="*/ 709 w 10000"/>
                <a:gd name="connsiteY453" fmla="*/ 5456 h 10126"/>
                <a:gd name="connsiteX454" fmla="*/ 659 w 10000"/>
                <a:gd name="connsiteY454" fmla="*/ 5420 h 10126"/>
                <a:gd name="connsiteX455" fmla="*/ 609 w 10000"/>
                <a:gd name="connsiteY455" fmla="*/ 5384 h 10126"/>
                <a:gd name="connsiteX456" fmla="*/ 565 w 10000"/>
                <a:gd name="connsiteY456" fmla="*/ 5343 h 10126"/>
                <a:gd name="connsiteX457" fmla="*/ 514 w 10000"/>
                <a:gd name="connsiteY457" fmla="*/ 5294 h 10126"/>
                <a:gd name="connsiteX458" fmla="*/ 471 w 10000"/>
                <a:gd name="connsiteY458" fmla="*/ 5246 h 10126"/>
                <a:gd name="connsiteX459" fmla="*/ 433 w 10000"/>
                <a:gd name="connsiteY459" fmla="*/ 5192 h 10126"/>
                <a:gd name="connsiteX460" fmla="*/ 389 w 10000"/>
                <a:gd name="connsiteY460" fmla="*/ 5138 h 10126"/>
                <a:gd name="connsiteX461" fmla="*/ 358 w 10000"/>
                <a:gd name="connsiteY461" fmla="*/ 5083 h 10126"/>
                <a:gd name="connsiteX462" fmla="*/ 326 w 10000"/>
                <a:gd name="connsiteY462" fmla="*/ 5035 h 10126"/>
                <a:gd name="connsiteX463" fmla="*/ 307 w 10000"/>
                <a:gd name="connsiteY463" fmla="*/ 4987 h 10126"/>
                <a:gd name="connsiteX464" fmla="*/ 295 w 10000"/>
                <a:gd name="connsiteY464" fmla="*/ 4939 h 10126"/>
                <a:gd name="connsiteX465" fmla="*/ 289 w 10000"/>
                <a:gd name="connsiteY465" fmla="*/ 4890 h 10126"/>
                <a:gd name="connsiteX466" fmla="*/ 320 w 10000"/>
                <a:gd name="connsiteY466" fmla="*/ 4872 h 10126"/>
                <a:gd name="connsiteX467" fmla="*/ 395 w 10000"/>
                <a:gd name="connsiteY467" fmla="*/ 4837 h 10126"/>
                <a:gd name="connsiteX468" fmla="*/ 483 w 10000"/>
                <a:gd name="connsiteY468" fmla="*/ 4801 h 10126"/>
                <a:gd name="connsiteX469" fmla="*/ 533 w 10000"/>
                <a:gd name="connsiteY469" fmla="*/ 4783 h 10126"/>
                <a:gd name="connsiteX470" fmla="*/ 483 w 10000"/>
                <a:gd name="connsiteY470" fmla="*/ 4783 h 10126"/>
                <a:gd name="connsiteX471" fmla="*/ 420 w 10000"/>
                <a:gd name="connsiteY471" fmla="*/ 4777 h 10126"/>
                <a:gd name="connsiteX472" fmla="*/ 370 w 10000"/>
                <a:gd name="connsiteY472" fmla="*/ 4765 h 10126"/>
                <a:gd name="connsiteX473" fmla="*/ 320 w 10000"/>
                <a:gd name="connsiteY473" fmla="*/ 4759 h 10126"/>
                <a:gd name="connsiteX474" fmla="*/ 276 w 10000"/>
                <a:gd name="connsiteY474" fmla="*/ 4740 h 10126"/>
                <a:gd name="connsiteX475" fmla="*/ 232 w 10000"/>
                <a:gd name="connsiteY475" fmla="*/ 4728 h 10126"/>
                <a:gd name="connsiteX476" fmla="*/ 188 w 10000"/>
                <a:gd name="connsiteY476" fmla="*/ 4710 h 10126"/>
                <a:gd name="connsiteX477" fmla="*/ 157 w 10000"/>
                <a:gd name="connsiteY477" fmla="*/ 4685 h 10126"/>
                <a:gd name="connsiteX478" fmla="*/ 132 w 10000"/>
                <a:gd name="connsiteY478" fmla="*/ 4661 h 10126"/>
                <a:gd name="connsiteX479" fmla="*/ 100 w 10000"/>
                <a:gd name="connsiteY479" fmla="*/ 4637 h 10126"/>
                <a:gd name="connsiteX480" fmla="*/ 75 w 10000"/>
                <a:gd name="connsiteY480" fmla="*/ 4607 h 10126"/>
                <a:gd name="connsiteX481" fmla="*/ 50 w 10000"/>
                <a:gd name="connsiteY481" fmla="*/ 4583 h 10126"/>
                <a:gd name="connsiteX482" fmla="*/ 19 w 10000"/>
                <a:gd name="connsiteY482" fmla="*/ 4511 h 10126"/>
                <a:gd name="connsiteX483" fmla="*/ 0 w 10000"/>
                <a:gd name="connsiteY483" fmla="*/ 4444 h 10126"/>
                <a:gd name="connsiteX484" fmla="*/ 63 w 10000"/>
                <a:gd name="connsiteY484" fmla="*/ 4396 h 10126"/>
                <a:gd name="connsiteX485" fmla="*/ 132 w 10000"/>
                <a:gd name="connsiteY485" fmla="*/ 4360 h 10126"/>
                <a:gd name="connsiteX486" fmla="*/ 201 w 10000"/>
                <a:gd name="connsiteY486" fmla="*/ 4331 h 10126"/>
                <a:gd name="connsiteX487" fmla="*/ 276 w 10000"/>
                <a:gd name="connsiteY487" fmla="*/ 4307 h 10126"/>
                <a:gd name="connsiteX488" fmla="*/ 420 w 10000"/>
                <a:gd name="connsiteY488" fmla="*/ 4277 h 10126"/>
                <a:gd name="connsiteX489" fmla="*/ 565 w 10000"/>
                <a:gd name="connsiteY489" fmla="*/ 4252 h 10126"/>
                <a:gd name="connsiteX490" fmla="*/ 640 w 10000"/>
                <a:gd name="connsiteY490" fmla="*/ 4240 h 10126"/>
                <a:gd name="connsiteX491" fmla="*/ 709 w 10000"/>
                <a:gd name="connsiteY491" fmla="*/ 4216 h 10126"/>
                <a:gd name="connsiteX492" fmla="*/ 772 w 10000"/>
                <a:gd name="connsiteY492" fmla="*/ 4198 h 10126"/>
                <a:gd name="connsiteX493" fmla="*/ 834 w 10000"/>
                <a:gd name="connsiteY493" fmla="*/ 4168 h 10126"/>
                <a:gd name="connsiteX494" fmla="*/ 891 w 10000"/>
                <a:gd name="connsiteY494" fmla="*/ 4138 h 10126"/>
                <a:gd name="connsiteX495" fmla="*/ 947 w 10000"/>
                <a:gd name="connsiteY495" fmla="*/ 4090 h 10126"/>
                <a:gd name="connsiteX496" fmla="*/ 997 w 10000"/>
                <a:gd name="connsiteY496" fmla="*/ 4035 h 10126"/>
                <a:gd name="connsiteX497" fmla="*/ 1035 w 10000"/>
                <a:gd name="connsiteY497" fmla="*/ 3968 h 10126"/>
                <a:gd name="connsiteX498" fmla="*/ 1010 w 10000"/>
                <a:gd name="connsiteY498" fmla="*/ 3956 h 10126"/>
                <a:gd name="connsiteX499" fmla="*/ 985 w 10000"/>
                <a:gd name="connsiteY499" fmla="*/ 3938 h 10126"/>
                <a:gd name="connsiteX500" fmla="*/ 947 w 10000"/>
                <a:gd name="connsiteY500" fmla="*/ 3914 h 10126"/>
                <a:gd name="connsiteX501" fmla="*/ 910 w 10000"/>
                <a:gd name="connsiteY501" fmla="*/ 3878 h 10126"/>
                <a:gd name="connsiteX502" fmla="*/ 822 w 10000"/>
                <a:gd name="connsiteY502" fmla="*/ 3806 h 10126"/>
                <a:gd name="connsiteX503" fmla="*/ 740 w 10000"/>
                <a:gd name="connsiteY503" fmla="*/ 3722 h 10126"/>
                <a:gd name="connsiteX504" fmla="*/ 665 w 10000"/>
                <a:gd name="connsiteY504" fmla="*/ 3631 h 10126"/>
                <a:gd name="connsiteX505" fmla="*/ 596 w 10000"/>
                <a:gd name="connsiteY505" fmla="*/ 3535 h 10126"/>
                <a:gd name="connsiteX506" fmla="*/ 577 w 10000"/>
                <a:gd name="connsiteY506" fmla="*/ 3493 h 10126"/>
                <a:gd name="connsiteX507" fmla="*/ 558 w 10000"/>
                <a:gd name="connsiteY507" fmla="*/ 3451 h 10126"/>
                <a:gd name="connsiteX508" fmla="*/ 540 w 10000"/>
                <a:gd name="connsiteY508" fmla="*/ 3408 h 10126"/>
                <a:gd name="connsiteX509" fmla="*/ 533 w 10000"/>
                <a:gd name="connsiteY509" fmla="*/ 3372 h 10126"/>
                <a:gd name="connsiteX510" fmla="*/ 508 w 10000"/>
                <a:gd name="connsiteY510" fmla="*/ 3366 h 10126"/>
                <a:gd name="connsiteX511" fmla="*/ 483 w 10000"/>
                <a:gd name="connsiteY511" fmla="*/ 3360 h 10126"/>
                <a:gd name="connsiteX512" fmla="*/ 458 w 10000"/>
                <a:gd name="connsiteY512" fmla="*/ 3348 h 10126"/>
                <a:gd name="connsiteX513" fmla="*/ 439 w 10000"/>
                <a:gd name="connsiteY513" fmla="*/ 3325 h 10126"/>
                <a:gd name="connsiteX514" fmla="*/ 402 w 10000"/>
                <a:gd name="connsiteY514" fmla="*/ 3282 h 10126"/>
                <a:gd name="connsiteX515" fmla="*/ 370 w 10000"/>
                <a:gd name="connsiteY515" fmla="*/ 3222 h 10126"/>
                <a:gd name="connsiteX516" fmla="*/ 370 w 10000"/>
                <a:gd name="connsiteY516" fmla="*/ 3077 h 10126"/>
                <a:gd name="connsiteX517" fmla="*/ 458 w 10000"/>
                <a:gd name="connsiteY517" fmla="*/ 3071 h 10126"/>
                <a:gd name="connsiteX518" fmla="*/ 540 w 10000"/>
                <a:gd name="connsiteY518" fmla="*/ 3065 h 10126"/>
                <a:gd name="connsiteX519" fmla="*/ 615 w 10000"/>
                <a:gd name="connsiteY519" fmla="*/ 3053 h 10126"/>
                <a:gd name="connsiteX520" fmla="*/ 684 w 10000"/>
                <a:gd name="connsiteY520" fmla="*/ 3029 h 10126"/>
                <a:gd name="connsiteX521" fmla="*/ 747 w 10000"/>
                <a:gd name="connsiteY521" fmla="*/ 3011 h 10126"/>
                <a:gd name="connsiteX522" fmla="*/ 809 w 10000"/>
                <a:gd name="connsiteY522" fmla="*/ 2980 h 10126"/>
                <a:gd name="connsiteX523" fmla="*/ 866 w 10000"/>
                <a:gd name="connsiteY523" fmla="*/ 2950 h 10126"/>
                <a:gd name="connsiteX524" fmla="*/ 922 w 10000"/>
                <a:gd name="connsiteY524" fmla="*/ 2914 h 10126"/>
                <a:gd name="connsiteX525" fmla="*/ 966 w 10000"/>
                <a:gd name="connsiteY525" fmla="*/ 2872 h 10126"/>
                <a:gd name="connsiteX526" fmla="*/ 1016 w 10000"/>
                <a:gd name="connsiteY526" fmla="*/ 2831 h 10126"/>
                <a:gd name="connsiteX527" fmla="*/ 1060 w 10000"/>
                <a:gd name="connsiteY527" fmla="*/ 2789 h 10126"/>
                <a:gd name="connsiteX528" fmla="*/ 1098 w 10000"/>
                <a:gd name="connsiteY528" fmla="*/ 2740 h 10126"/>
                <a:gd name="connsiteX529" fmla="*/ 1167 w 10000"/>
                <a:gd name="connsiteY529" fmla="*/ 2644 h 10126"/>
                <a:gd name="connsiteX530" fmla="*/ 1236 w 10000"/>
                <a:gd name="connsiteY530" fmla="*/ 2534 h 10126"/>
                <a:gd name="connsiteX531" fmla="*/ 1355 w 10000"/>
                <a:gd name="connsiteY531" fmla="*/ 2318 h 10126"/>
                <a:gd name="connsiteX532" fmla="*/ 1474 w 10000"/>
                <a:gd name="connsiteY532" fmla="*/ 2101 h 10126"/>
                <a:gd name="connsiteX533" fmla="*/ 1543 w 10000"/>
                <a:gd name="connsiteY533" fmla="*/ 2005 h 10126"/>
                <a:gd name="connsiteX534" fmla="*/ 1612 w 10000"/>
                <a:gd name="connsiteY534" fmla="*/ 1920 h 10126"/>
                <a:gd name="connsiteX535" fmla="*/ 1650 w 10000"/>
                <a:gd name="connsiteY535" fmla="*/ 1871 h 10126"/>
                <a:gd name="connsiteX536" fmla="*/ 1694 w 10000"/>
                <a:gd name="connsiteY536" fmla="*/ 1835 h 10126"/>
                <a:gd name="connsiteX537" fmla="*/ 1738 w 10000"/>
                <a:gd name="connsiteY537" fmla="*/ 1806 h 10126"/>
                <a:gd name="connsiteX538" fmla="*/ 1788 w 10000"/>
                <a:gd name="connsiteY538" fmla="*/ 1776 h 10126"/>
                <a:gd name="connsiteX539" fmla="*/ 1750 w 10000"/>
                <a:gd name="connsiteY539" fmla="*/ 1703 h 10126"/>
                <a:gd name="connsiteX540" fmla="*/ 1719 w 10000"/>
                <a:gd name="connsiteY540" fmla="*/ 1637 h 10126"/>
                <a:gd name="connsiteX541" fmla="*/ 1713 w 10000"/>
                <a:gd name="connsiteY541" fmla="*/ 1607 h 10126"/>
                <a:gd name="connsiteX542" fmla="*/ 1706 w 10000"/>
                <a:gd name="connsiteY542" fmla="*/ 1577 h 10126"/>
                <a:gd name="connsiteX543" fmla="*/ 1706 w 10000"/>
                <a:gd name="connsiteY543" fmla="*/ 1541 h 10126"/>
                <a:gd name="connsiteX544" fmla="*/ 1706 w 10000"/>
                <a:gd name="connsiteY544" fmla="*/ 1511 h 10126"/>
                <a:gd name="connsiteX545" fmla="*/ 1713 w 10000"/>
                <a:gd name="connsiteY545" fmla="*/ 1480 h 10126"/>
                <a:gd name="connsiteX546" fmla="*/ 1719 w 10000"/>
                <a:gd name="connsiteY546" fmla="*/ 1450 h 10126"/>
                <a:gd name="connsiteX547" fmla="*/ 1731 w 10000"/>
                <a:gd name="connsiteY547" fmla="*/ 1426 h 10126"/>
                <a:gd name="connsiteX548" fmla="*/ 1757 w 10000"/>
                <a:gd name="connsiteY548" fmla="*/ 1402 h 10126"/>
                <a:gd name="connsiteX549" fmla="*/ 1775 w 10000"/>
                <a:gd name="connsiteY549" fmla="*/ 1384 h 10126"/>
                <a:gd name="connsiteX550" fmla="*/ 1801 w 10000"/>
                <a:gd name="connsiteY550" fmla="*/ 1366 h 10126"/>
                <a:gd name="connsiteX551" fmla="*/ 1838 w 10000"/>
                <a:gd name="connsiteY551" fmla="*/ 1348 h 10126"/>
                <a:gd name="connsiteX552" fmla="*/ 1870 w 10000"/>
                <a:gd name="connsiteY552" fmla="*/ 1330 h 10126"/>
                <a:gd name="connsiteX553" fmla="*/ 1788 w 10000"/>
                <a:gd name="connsiteY553" fmla="*/ 1240 h 10126"/>
                <a:gd name="connsiteX554" fmla="*/ 1688 w 10000"/>
                <a:gd name="connsiteY554" fmla="*/ 1168 h 10126"/>
                <a:gd name="connsiteX555" fmla="*/ 1550 w 10000"/>
                <a:gd name="connsiteY555" fmla="*/ 1046 h 10126"/>
                <a:gd name="connsiteX556" fmla="*/ 1487 w 10000"/>
                <a:gd name="connsiteY556" fmla="*/ 986 h 10126"/>
                <a:gd name="connsiteX557" fmla="*/ 1383 w 10000"/>
                <a:gd name="connsiteY557" fmla="*/ 868 h 10126"/>
                <a:gd name="connsiteX558" fmla="*/ 1426 w 10000"/>
                <a:gd name="connsiteY558" fmla="*/ 764 h 10126"/>
                <a:gd name="connsiteX559" fmla="*/ 1603 w 10000"/>
                <a:gd name="connsiteY559" fmla="*/ 650 h 10126"/>
                <a:gd name="connsiteX560" fmla="*/ 1708 w 10000"/>
                <a:gd name="connsiteY560" fmla="*/ 605 h 10126"/>
                <a:gd name="connsiteX561" fmla="*/ 1673 w 10000"/>
                <a:gd name="connsiteY561" fmla="*/ 540 h 10126"/>
                <a:gd name="connsiteX562" fmla="*/ 1606 w 10000"/>
                <a:gd name="connsiteY562" fmla="*/ 463 h 10126"/>
                <a:gd name="connsiteX563" fmla="*/ 1539 w 10000"/>
                <a:gd name="connsiteY563" fmla="*/ 431 h 10126"/>
                <a:gd name="connsiteX564" fmla="*/ 1539 w 10000"/>
                <a:gd name="connsiteY564" fmla="*/ 366 h 10126"/>
                <a:gd name="connsiteX565" fmla="*/ 1473 w 10000"/>
                <a:gd name="connsiteY565" fmla="*/ 296 h 10126"/>
                <a:gd name="connsiteX566" fmla="*/ 1341 w 10000"/>
                <a:gd name="connsiteY566" fmla="*/ 236 h 10126"/>
                <a:gd name="connsiteX567" fmla="*/ 1490 w 10000"/>
                <a:gd name="connsiteY567" fmla="*/ 123 h 10126"/>
                <a:gd name="connsiteX568" fmla="*/ 1654 w 10000"/>
                <a:gd name="connsiteY568" fmla="*/ 0 h 10126"/>
                <a:gd name="connsiteX569" fmla="*/ 1842 w 10000"/>
                <a:gd name="connsiteY569" fmla="*/ 61 h 10126"/>
                <a:gd name="connsiteX570" fmla="*/ 1925 w 10000"/>
                <a:gd name="connsiteY570" fmla="*/ 57 h 10126"/>
                <a:gd name="connsiteX571" fmla="*/ 2151 w 10000"/>
                <a:gd name="connsiteY571" fmla="*/ 94 h 10126"/>
                <a:gd name="connsiteX572" fmla="*/ 2280 w 10000"/>
                <a:gd name="connsiteY572" fmla="*/ 123 h 10126"/>
                <a:gd name="connsiteX573" fmla="*/ 2385 w 10000"/>
                <a:gd name="connsiteY573" fmla="*/ 131 h 10126"/>
                <a:gd name="connsiteX574" fmla="*/ 2517 w 10000"/>
                <a:gd name="connsiteY574" fmla="*/ 225 h 10126"/>
                <a:gd name="connsiteX0" fmla="*/ 2525 w 10000"/>
                <a:gd name="connsiteY0" fmla="*/ 225 h 10126"/>
                <a:gd name="connsiteX1" fmla="*/ 2880 w 10000"/>
                <a:gd name="connsiteY1" fmla="*/ 115 h 10126"/>
                <a:gd name="connsiteX2" fmla="*/ 3155 w 10000"/>
                <a:gd name="connsiteY2" fmla="*/ 192 h 10126"/>
                <a:gd name="connsiteX3" fmla="*/ 3120 w 10000"/>
                <a:gd name="connsiteY3" fmla="*/ 471 h 10126"/>
                <a:gd name="connsiteX4" fmla="*/ 3152 w 10000"/>
                <a:gd name="connsiteY4" fmla="*/ 534 h 10126"/>
                <a:gd name="connsiteX5" fmla="*/ 3093 w 10000"/>
                <a:gd name="connsiteY5" fmla="*/ 619 h 10126"/>
                <a:gd name="connsiteX6" fmla="*/ 2992 w 10000"/>
                <a:gd name="connsiteY6" fmla="*/ 710 h 10126"/>
                <a:gd name="connsiteX7" fmla="*/ 3043 w 10000"/>
                <a:gd name="connsiteY7" fmla="*/ 734 h 10126"/>
                <a:gd name="connsiteX8" fmla="*/ 3087 w 10000"/>
                <a:gd name="connsiteY8" fmla="*/ 776 h 10126"/>
                <a:gd name="connsiteX9" fmla="*/ 3130 w 10000"/>
                <a:gd name="connsiteY9" fmla="*/ 823 h 10126"/>
                <a:gd name="connsiteX10" fmla="*/ 3174 w 10000"/>
                <a:gd name="connsiteY10" fmla="*/ 872 h 10126"/>
                <a:gd name="connsiteX11" fmla="*/ 3212 w 10000"/>
                <a:gd name="connsiteY11" fmla="*/ 932 h 10126"/>
                <a:gd name="connsiteX12" fmla="*/ 3256 w 10000"/>
                <a:gd name="connsiteY12" fmla="*/ 986 h 10126"/>
                <a:gd name="connsiteX13" fmla="*/ 3281 w 10000"/>
                <a:gd name="connsiteY13" fmla="*/ 1046 h 10126"/>
                <a:gd name="connsiteX14" fmla="*/ 3312 w 10000"/>
                <a:gd name="connsiteY14" fmla="*/ 1113 h 10126"/>
                <a:gd name="connsiteX15" fmla="*/ 3331 w 10000"/>
                <a:gd name="connsiteY15" fmla="*/ 1180 h 10126"/>
                <a:gd name="connsiteX16" fmla="*/ 3043 w 10000"/>
                <a:gd name="connsiteY16" fmla="*/ 1180 h 10126"/>
                <a:gd name="connsiteX17" fmla="*/ 3043 w 10000"/>
                <a:gd name="connsiteY17" fmla="*/ 1366 h 10126"/>
                <a:gd name="connsiteX18" fmla="*/ 3074 w 10000"/>
                <a:gd name="connsiteY18" fmla="*/ 1444 h 10126"/>
                <a:gd name="connsiteX19" fmla="*/ 3118 w 10000"/>
                <a:gd name="connsiteY19" fmla="*/ 1511 h 10126"/>
                <a:gd name="connsiteX20" fmla="*/ 3168 w 10000"/>
                <a:gd name="connsiteY20" fmla="*/ 1571 h 10126"/>
                <a:gd name="connsiteX21" fmla="*/ 3225 w 10000"/>
                <a:gd name="connsiteY21" fmla="*/ 1613 h 10126"/>
                <a:gd name="connsiteX22" fmla="*/ 3281 w 10000"/>
                <a:gd name="connsiteY22" fmla="*/ 1655 h 10126"/>
                <a:gd name="connsiteX23" fmla="*/ 3350 w 10000"/>
                <a:gd name="connsiteY23" fmla="*/ 1685 h 10126"/>
                <a:gd name="connsiteX24" fmla="*/ 3413 w 10000"/>
                <a:gd name="connsiteY24" fmla="*/ 1715 h 10126"/>
                <a:gd name="connsiteX25" fmla="*/ 3488 w 10000"/>
                <a:gd name="connsiteY25" fmla="*/ 1740 h 10126"/>
                <a:gd name="connsiteX26" fmla="*/ 3626 w 10000"/>
                <a:gd name="connsiteY26" fmla="*/ 1794 h 10126"/>
                <a:gd name="connsiteX27" fmla="*/ 3764 w 10000"/>
                <a:gd name="connsiteY27" fmla="*/ 1847 h 10126"/>
                <a:gd name="connsiteX28" fmla="*/ 3827 w 10000"/>
                <a:gd name="connsiteY28" fmla="*/ 1884 h 10126"/>
                <a:gd name="connsiteX29" fmla="*/ 3890 w 10000"/>
                <a:gd name="connsiteY29" fmla="*/ 1932 h 10126"/>
                <a:gd name="connsiteX30" fmla="*/ 3946 w 10000"/>
                <a:gd name="connsiteY30" fmla="*/ 1981 h 10126"/>
                <a:gd name="connsiteX31" fmla="*/ 4003 w 10000"/>
                <a:gd name="connsiteY31" fmla="*/ 2035 h 10126"/>
                <a:gd name="connsiteX32" fmla="*/ 3959 w 10000"/>
                <a:gd name="connsiteY32" fmla="*/ 2596 h 10126"/>
                <a:gd name="connsiteX33" fmla="*/ 4034 w 10000"/>
                <a:gd name="connsiteY33" fmla="*/ 2650 h 10126"/>
                <a:gd name="connsiteX34" fmla="*/ 4141 w 10000"/>
                <a:gd name="connsiteY34" fmla="*/ 2716 h 10126"/>
                <a:gd name="connsiteX35" fmla="*/ 4260 w 10000"/>
                <a:gd name="connsiteY35" fmla="*/ 2776 h 10126"/>
                <a:gd name="connsiteX36" fmla="*/ 4398 w 10000"/>
                <a:gd name="connsiteY36" fmla="*/ 2831 h 10126"/>
                <a:gd name="connsiteX37" fmla="*/ 4536 w 10000"/>
                <a:gd name="connsiteY37" fmla="*/ 2884 h 10126"/>
                <a:gd name="connsiteX38" fmla="*/ 4668 w 10000"/>
                <a:gd name="connsiteY38" fmla="*/ 2926 h 10126"/>
                <a:gd name="connsiteX39" fmla="*/ 4724 w 10000"/>
                <a:gd name="connsiteY39" fmla="*/ 2944 h 10126"/>
                <a:gd name="connsiteX40" fmla="*/ 4780 w 10000"/>
                <a:gd name="connsiteY40" fmla="*/ 2956 h 10126"/>
                <a:gd name="connsiteX41" fmla="*/ 4831 w 10000"/>
                <a:gd name="connsiteY41" fmla="*/ 2962 h 10126"/>
                <a:gd name="connsiteX42" fmla="*/ 4875 w 10000"/>
                <a:gd name="connsiteY42" fmla="*/ 2962 h 10126"/>
                <a:gd name="connsiteX43" fmla="*/ 4887 w 10000"/>
                <a:gd name="connsiteY43" fmla="*/ 3005 h 10126"/>
                <a:gd name="connsiteX44" fmla="*/ 4918 w 10000"/>
                <a:gd name="connsiteY44" fmla="*/ 3041 h 10126"/>
                <a:gd name="connsiteX45" fmla="*/ 4950 w 10000"/>
                <a:gd name="connsiteY45" fmla="*/ 3059 h 10126"/>
                <a:gd name="connsiteX46" fmla="*/ 4987 w 10000"/>
                <a:gd name="connsiteY46" fmla="*/ 3071 h 10126"/>
                <a:gd name="connsiteX47" fmla="*/ 5019 w 10000"/>
                <a:gd name="connsiteY47" fmla="*/ 3083 h 10126"/>
                <a:gd name="connsiteX48" fmla="*/ 5063 w 10000"/>
                <a:gd name="connsiteY48" fmla="*/ 3083 h 10126"/>
                <a:gd name="connsiteX49" fmla="*/ 5107 w 10000"/>
                <a:gd name="connsiteY49" fmla="*/ 3077 h 10126"/>
                <a:gd name="connsiteX50" fmla="*/ 5157 w 10000"/>
                <a:gd name="connsiteY50" fmla="*/ 3071 h 10126"/>
                <a:gd name="connsiteX51" fmla="*/ 5245 w 10000"/>
                <a:gd name="connsiteY51" fmla="*/ 3053 h 10126"/>
                <a:gd name="connsiteX52" fmla="*/ 5345 w 10000"/>
                <a:gd name="connsiteY52" fmla="*/ 3029 h 10126"/>
                <a:gd name="connsiteX53" fmla="*/ 5383 w 10000"/>
                <a:gd name="connsiteY53" fmla="*/ 3029 h 10126"/>
                <a:gd name="connsiteX54" fmla="*/ 5427 w 10000"/>
                <a:gd name="connsiteY54" fmla="*/ 3023 h 10126"/>
                <a:gd name="connsiteX55" fmla="*/ 5464 w 10000"/>
                <a:gd name="connsiteY55" fmla="*/ 3029 h 10126"/>
                <a:gd name="connsiteX56" fmla="*/ 5502 w 10000"/>
                <a:gd name="connsiteY56" fmla="*/ 3035 h 10126"/>
                <a:gd name="connsiteX57" fmla="*/ 5558 w 10000"/>
                <a:gd name="connsiteY57" fmla="*/ 3071 h 10126"/>
                <a:gd name="connsiteX58" fmla="*/ 5596 w 10000"/>
                <a:gd name="connsiteY58" fmla="*/ 3101 h 10126"/>
                <a:gd name="connsiteX59" fmla="*/ 5634 w 10000"/>
                <a:gd name="connsiteY59" fmla="*/ 3143 h 10126"/>
                <a:gd name="connsiteX60" fmla="*/ 5665 w 10000"/>
                <a:gd name="connsiteY60" fmla="*/ 3179 h 10126"/>
                <a:gd name="connsiteX61" fmla="*/ 5696 w 10000"/>
                <a:gd name="connsiteY61" fmla="*/ 3216 h 10126"/>
                <a:gd name="connsiteX62" fmla="*/ 5734 w 10000"/>
                <a:gd name="connsiteY62" fmla="*/ 3252 h 10126"/>
                <a:gd name="connsiteX63" fmla="*/ 5759 w 10000"/>
                <a:gd name="connsiteY63" fmla="*/ 3270 h 10126"/>
                <a:gd name="connsiteX64" fmla="*/ 5778 w 10000"/>
                <a:gd name="connsiteY64" fmla="*/ 3282 h 10126"/>
                <a:gd name="connsiteX65" fmla="*/ 5803 w 10000"/>
                <a:gd name="connsiteY65" fmla="*/ 3294 h 10126"/>
                <a:gd name="connsiteX66" fmla="*/ 5834 w 10000"/>
                <a:gd name="connsiteY66" fmla="*/ 3300 h 10126"/>
                <a:gd name="connsiteX67" fmla="*/ 5935 w 10000"/>
                <a:gd name="connsiteY67" fmla="*/ 3319 h 10126"/>
                <a:gd name="connsiteX68" fmla="*/ 6073 w 10000"/>
                <a:gd name="connsiteY68" fmla="*/ 3354 h 10126"/>
                <a:gd name="connsiteX69" fmla="*/ 6230 w 10000"/>
                <a:gd name="connsiteY69" fmla="*/ 3390 h 10126"/>
                <a:gd name="connsiteX70" fmla="*/ 6405 w 10000"/>
                <a:gd name="connsiteY70" fmla="*/ 3433 h 10126"/>
                <a:gd name="connsiteX71" fmla="*/ 6568 w 10000"/>
                <a:gd name="connsiteY71" fmla="*/ 3463 h 10126"/>
                <a:gd name="connsiteX72" fmla="*/ 6719 w 10000"/>
                <a:gd name="connsiteY72" fmla="*/ 3487 h 10126"/>
                <a:gd name="connsiteX73" fmla="*/ 6788 w 10000"/>
                <a:gd name="connsiteY73" fmla="*/ 3493 h 10126"/>
                <a:gd name="connsiteX74" fmla="*/ 6838 w 10000"/>
                <a:gd name="connsiteY74" fmla="*/ 3499 h 10126"/>
                <a:gd name="connsiteX75" fmla="*/ 6888 w 10000"/>
                <a:gd name="connsiteY75" fmla="*/ 3493 h 10126"/>
                <a:gd name="connsiteX76" fmla="*/ 6913 w 10000"/>
                <a:gd name="connsiteY76" fmla="*/ 3481 h 10126"/>
                <a:gd name="connsiteX77" fmla="*/ 6888 w 10000"/>
                <a:gd name="connsiteY77" fmla="*/ 3439 h 10126"/>
                <a:gd name="connsiteX78" fmla="*/ 6857 w 10000"/>
                <a:gd name="connsiteY78" fmla="*/ 3390 h 10126"/>
                <a:gd name="connsiteX79" fmla="*/ 6838 w 10000"/>
                <a:gd name="connsiteY79" fmla="*/ 3342 h 10126"/>
                <a:gd name="connsiteX80" fmla="*/ 6826 w 10000"/>
                <a:gd name="connsiteY80" fmla="*/ 3288 h 10126"/>
                <a:gd name="connsiteX81" fmla="*/ 6794 w 10000"/>
                <a:gd name="connsiteY81" fmla="*/ 3197 h 10126"/>
                <a:gd name="connsiteX82" fmla="*/ 6788 w 10000"/>
                <a:gd name="connsiteY82" fmla="*/ 3149 h 10126"/>
                <a:gd name="connsiteX83" fmla="*/ 6788 w 10000"/>
                <a:gd name="connsiteY83" fmla="*/ 2962 h 10126"/>
                <a:gd name="connsiteX84" fmla="*/ 6788 w 10000"/>
                <a:gd name="connsiteY84" fmla="*/ 2776 h 10126"/>
                <a:gd name="connsiteX85" fmla="*/ 6995 w 10000"/>
                <a:gd name="connsiteY85" fmla="*/ 2776 h 10126"/>
                <a:gd name="connsiteX86" fmla="*/ 7033 w 10000"/>
                <a:gd name="connsiteY86" fmla="*/ 2842 h 10126"/>
                <a:gd name="connsiteX87" fmla="*/ 7058 w 10000"/>
                <a:gd name="connsiteY87" fmla="*/ 2884 h 10126"/>
                <a:gd name="connsiteX88" fmla="*/ 7095 w 10000"/>
                <a:gd name="connsiteY88" fmla="*/ 2920 h 10126"/>
                <a:gd name="connsiteX89" fmla="*/ 7127 w 10000"/>
                <a:gd name="connsiteY89" fmla="*/ 2962 h 10126"/>
                <a:gd name="connsiteX90" fmla="*/ 7120 w 10000"/>
                <a:gd name="connsiteY90" fmla="*/ 3059 h 10126"/>
                <a:gd name="connsiteX91" fmla="*/ 7102 w 10000"/>
                <a:gd name="connsiteY91" fmla="*/ 3119 h 10126"/>
                <a:gd name="connsiteX92" fmla="*/ 7089 w 10000"/>
                <a:gd name="connsiteY92" fmla="*/ 3167 h 10126"/>
                <a:gd name="connsiteX93" fmla="*/ 7077 w 10000"/>
                <a:gd name="connsiteY93" fmla="*/ 3222 h 10126"/>
                <a:gd name="connsiteX94" fmla="*/ 7208 w 10000"/>
                <a:gd name="connsiteY94" fmla="*/ 3258 h 10126"/>
                <a:gd name="connsiteX95" fmla="*/ 7334 w 10000"/>
                <a:gd name="connsiteY95" fmla="*/ 3294 h 10126"/>
                <a:gd name="connsiteX96" fmla="*/ 7396 w 10000"/>
                <a:gd name="connsiteY96" fmla="*/ 3313 h 10126"/>
                <a:gd name="connsiteX97" fmla="*/ 7459 w 10000"/>
                <a:gd name="connsiteY97" fmla="*/ 3325 h 10126"/>
                <a:gd name="connsiteX98" fmla="*/ 7522 w 10000"/>
                <a:gd name="connsiteY98" fmla="*/ 3331 h 10126"/>
                <a:gd name="connsiteX99" fmla="*/ 7585 w 10000"/>
                <a:gd name="connsiteY99" fmla="*/ 3336 h 10126"/>
                <a:gd name="connsiteX100" fmla="*/ 7591 w 10000"/>
                <a:gd name="connsiteY100" fmla="*/ 3360 h 10126"/>
                <a:gd name="connsiteX101" fmla="*/ 7604 w 10000"/>
                <a:gd name="connsiteY101" fmla="*/ 3384 h 10126"/>
                <a:gd name="connsiteX102" fmla="*/ 7622 w 10000"/>
                <a:gd name="connsiteY102" fmla="*/ 3402 h 10126"/>
                <a:gd name="connsiteX103" fmla="*/ 7654 w 10000"/>
                <a:gd name="connsiteY103" fmla="*/ 3420 h 10126"/>
                <a:gd name="connsiteX104" fmla="*/ 7704 w 10000"/>
                <a:gd name="connsiteY104" fmla="*/ 3439 h 10126"/>
                <a:gd name="connsiteX105" fmla="*/ 7748 w 10000"/>
                <a:gd name="connsiteY105" fmla="*/ 3445 h 10126"/>
                <a:gd name="connsiteX106" fmla="*/ 7798 w 10000"/>
                <a:gd name="connsiteY106" fmla="*/ 3445 h 10126"/>
                <a:gd name="connsiteX107" fmla="*/ 7836 w 10000"/>
                <a:gd name="connsiteY107" fmla="*/ 3433 h 10126"/>
                <a:gd name="connsiteX108" fmla="*/ 7880 w 10000"/>
                <a:gd name="connsiteY108" fmla="*/ 3414 h 10126"/>
                <a:gd name="connsiteX109" fmla="*/ 7911 w 10000"/>
                <a:gd name="connsiteY109" fmla="*/ 3396 h 10126"/>
                <a:gd name="connsiteX110" fmla="*/ 7949 w 10000"/>
                <a:gd name="connsiteY110" fmla="*/ 3372 h 10126"/>
                <a:gd name="connsiteX111" fmla="*/ 7980 w 10000"/>
                <a:gd name="connsiteY111" fmla="*/ 3342 h 10126"/>
                <a:gd name="connsiteX112" fmla="*/ 8011 w 10000"/>
                <a:gd name="connsiteY112" fmla="*/ 3313 h 10126"/>
                <a:gd name="connsiteX113" fmla="*/ 8036 w 10000"/>
                <a:gd name="connsiteY113" fmla="*/ 3282 h 10126"/>
                <a:gd name="connsiteX114" fmla="*/ 8087 w 10000"/>
                <a:gd name="connsiteY114" fmla="*/ 3203 h 10126"/>
                <a:gd name="connsiteX115" fmla="*/ 8118 w 10000"/>
                <a:gd name="connsiteY115" fmla="*/ 3131 h 10126"/>
                <a:gd name="connsiteX116" fmla="*/ 8149 w 10000"/>
                <a:gd name="connsiteY116" fmla="*/ 3065 h 10126"/>
                <a:gd name="connsiteX117" fmla="*/ 8168 w 10000"/>
                <a:gd name="connsiteY117" fmla="*/ 2999 h 10126"/>
                <a:gd name="connsiteX118" fmla="*/ 8231 w 10000"/>
                <a:gd name="connsiteY118" fmla="*/ 2932 h 10126"/>
                <a:gd name="connsiteX119" fmla="*/ 8294 w 10000"/>
                <a:gd name="connsiteY119" fmla="*/ 2866 h 10126"/>
                <a:gd name="connsiteX120" fmla="*/ 8363 w 10000"/>
                <a:gd name="connsiteY120" fmla="*/ 2813 h 10126"/>
                <a:gd name="connsiteX121" fmla="*/ 8432 w 10000"/>
                <a:gd name="connsiteY121" fmla="*/ 2752 h 10126"/>
                <a:gd name="connsiteX122" fmla="*/ 8507 w 10000"/>
                <a:gd name="connsiteY122" fmla="*/ 2704 h 10126"/>
                <a:gd name="connsiteX123" fmla="*/ 8576 w 10000"/>
                <a:gd name="connsiteY123" fmla="*/ 2656 h 10126"/>
                <a:gd name="connsiteX124" fmla="*/ 8651 w 10000"/>
                <a:gd name="connsiteY124" fmla="*/ 2614 h 10126"/>
                <a:gd name="connsiteX125" fmla="*/ 8726 w 10000"/>
                <a:gd name="connsiteY125" fmla="*/ 2570 h 10126"/>
                <a:gd name="connsiteX126" fmla="*/ 8808 w 10000"/>
                <a:gd name="connsiteY126" fmla="*/ 2528 h 10126"/>
                <a:gd name="connsiteX127" fmla="*/ 8890 w 10000"/>
                <a:gd name="connsiteY127" fmla="*/ 2492 h 10126"/>
                <a:gd name="connsiteX128" fmla="*/ 8971 w 10000"/>
                <a:gd name="connsiteY128" fmla="*/ 2462 h 10126"/>
                <a:gd name="connsiteX129" fmla="*/ 9059 w 10000"/>
                <a:gd name="connsiteY129" fmla="*/ 2432 h 10126"/>
                <a:gd name="connsiteX130" fmla="*/ 9235 w 10000"/>
                <a:gd name="connsiteY130" fmla="*/ 2378 h 10126"/>
                <a:gd name="connsiteX131" fmla="*/ 9417 w 10000"/>
                <a:gd name="connsiteY131" fmla="*/ 2335 h 10126"/>
                <a:gd name="connsiteX132" fmla="*/ 9454 w 10000"/>
                <a:gd name="connsiteY132" fmla="*/ 2384 h 10126"/>
                <a:gd name="connsiteX133" fmla="*/ 9504 w 10000"/>
                <a:gd name="connsiteY133" fmla="*/ 2444 h 10126"/>
                <a:gd name="connsiteX134" fmla="*/ 9573 w 10000"/>
                <a:gd name="connsiteY134" fmla="*/ 2510 h 10126"/>
                <a:gd name="connsiteX135" fmla="*/ 9642 w 10000"/>
                <a:gd name="connsiteY135" fmla="*/ 2583 h 10126"/>
                <a:gd name="connsiteX136" fmla="*/ 9718 w 10000"/>
                <a:gd name="connsiteY136" fmla="*/ 2644 h 10126"/>
                <a:gd name="connsiteX137" fmla="*/ 9799 w 10000"/>
                <a:gd name="connsiteY137" fmla="*/ 2692 h 10126"/>
                <a:gd name="connsiteX138" fmla="*/ 9837 w 10000"/>
                <a:gd name="connsiteY138" fmla="*/ 2716 h 10126"/>
                <a:gd name="connsiteX139" fmla="*/ 9875 w 10000"/>
                <a:gd name="connsiteY139" fmla="*/ 2728 h 10126"/>
                <a:gd name="connsiteX140" fmla="*/ 9918 w 10000"/>
                <a:gd name="connsiteY140" fmla="*/ 2740 h 10126"/>
                <a:gd name="connsiteX141" fmla="*/ 9956 w 10000"/>
                <a:gd name="connsiteY141" fmla="*/ 2740 h 10126"/>
                <a:gd name="connsiteX142" fmla="*/ 10000 w 10000"/>
                <a:gd name="connsiteY142" fmla="*/ 2668 h 10126"/>
                <a:gd name="connsiteX143" fmla="*/ 9975 w 10000"/>
                <a:gd name="connsiteY143" fmla="*/ 2795 h 10126"/>
                <a:gd name="connsiteX144" fmla="*/ 9944 w 10000"/>
                <a:gd name="connsiteY144" fmla="*/ 2938 h 10126"/>
                <a:gd name="connsiteX145" fmla="*/ 9931 w 10000"/>
                <a:gd name="connsiteY145" fmla="*/ 3005 h 10126"/>
                <a:gd name="connsiteX146" fmla="*/ 9906 w 10000"/>
                <a:gd name="connsiteY146" fmla="*/ 3065 h 10126"/>
                <a:gd name="connsiteX147" fmla="*/ 9887 w 10000"/>
                <a:gd name="connsiteY147" fmla="*/ 3089 h 10126"/>
                <a:gd name="connsiteX148" fmla="*/ 9875 w 10000"/>
                <a:gd name="connsiteY148" fmla="*/ 3113 h 10126"/>
                <a:gd name="connsiteX149" fmla="*/ 9856 w 10000"/>
                <a:gd name="connsiteY149" fmla="*/ 3131 h 10126"/>
                <a:gd name="connsiteX150" fmla="*/ 9837 w 10000"/>
                <a:gd name="connsiteY150" fmla="*/ 3149 h 10126"/>
                <a:gd name="connsiteX151" fmla="*/ 9749 w 10000"/>
                <a:gd name="connsiteY151" fmla="*/ 3167 h 10126"/>
                <a:gd name="connsiteX152" fmla="*/ 9605 w 10000"/>
                <a:gd name="connsiteY152" fmla="*/ 3216 h 10126"/>
                <a:gd name="connsiteX153" fmla="*/ 9536 w 10000"/>
                <a:gd name="connsiteY153" fmla="*/ 3258 h 10126"/>
                <a:gd name="connsiteX154" fmla="*/ 9479 w 10000"/>
                <a:gd name="connsiteY154" fmla="*/ 3294 h 10126"/>
                <a:gd name="connsiteX155" fmla="*/ 9448 w 10000"/>
                <a:gd name="connsiteY155" fmla="*/ 3313 h 10126"/>
                <a:gd name="connsiteX156" fmla="*/ 9435 w 10000"/>
                <a:gd name="connsiteY156" fmla="*/ 3331 h 10126"/>
                <a:gd name="connsiteX157" fmla="*/ 9423 w 10000"/>
                <a:gd name="connsiteY157" fmla="*/ 3354 h 10126"/>
                <a:gd name="connsiteX158" fmla="*/ 9417 w 10000"/>
                <a:gd name="connsiteY158" fmla="*/ 3372 h 10126"/>
                <a:gd name="connsiteX159" fmla="*/ 9423 w 10000"/>
                <a:gd name="connsiteY159" fmla="*/ 3583 h 10126"/>
                <a:gd name="connsiteX160" fmla="*/ 9417 w 10000"/>
                <a:gd name="connsiteY160" fmla="*/ 3824 h 10126"/>
                <a:gd name="connsiteX161" fmla="*/ 9398 w 10000"/>
                <a:gd name="connsiteY161" fmla="*/ 3884 h 10126"/>
                <a:gd name="connsiteX162" fmla="*/ 9391 w 10000"/>
                <a:gd name="connsiteY162" fmla="*/ 3950 h 10126"/>
                <a:gd name="connsiteX163" fmla="*/ 9379 w 10000"/>
                <a:gd name="connsiteY163" fmla="*/ 4004 h 10126"/>
                <a:gd name="connsiteX164" fmla="*/ 9366 w 10000"/>
                <a:gd name="connsiteY164" fmla="*/ 4059 h 10126"/>
                <a:gd name="connsiteX165" fmla="*/ 9348 w 10000"/>
                <a:gd name="connsiteY165" fmla="*/ 4108 h 10126"/>
                <a:gd name="connsiteX166" fmla="*/ 9316 w 10000"/>
                <a:gd name="connsiteY166" fmla="*/ 4156 h 10126"/>
                <a:gd name="connsiteX167" fmla="*/ 9285 w 10000"/>
                <a:gd name="connsiteY167" fmla="*/ 4192 h 10126"/>
                <a:gd name="connsiteX168" fmla="*/ 9247 w 10000"/>
                <a:gd name="connsiteY168" fmla="*/ 4222 h 10126"/>
                <a:gd name="connsiteX169" fmla="*/ 9228 w 10000"/>
                <a:gd name="connsiteY169" fmla="*/ 4240 h 10126"/>
                <a:gd name="connsiteX170" fmla="*/ 9184 w 10000"/>
                <a:gd name="connsiteY170" fmla="*/ 4246 h 10126"/>
                <a:gd name="connsiteX171" fmla="*/ 9141 w 10000"/>
                <a:gd name="connsiteY171" fmla="*/ 4252 h 10126"/>
                <a:gd name="connsiteX172" fmla="*/ 9090 w 10000"/>
                <a:gd name="connsiteY172" fmla="*/ 4258 h 10126"/>
                <a:gd name="connsiteX173" fmla="*/ 9040 w 10000"/>
                <a:gd name="connsiteY173" fmla="*/ 4264 h 10126"/>
                <a:gd name="connsiteX174" fmla="*/ 8996 w 10000"/>
                <a:gd name="connsiteY174" fmla="*/ 4283 h 10126"/>
                <a:gd name="connsiteX175" fmla="*/ 8977 w 10000"/>
                <a:gd name="connsiteY175" fmla="*/ 4289 h 10126"/>
                <a:gd name="connsiteX176" fmla="*/ 8965 w 10000"/>
                <a:gd name="connsiteY176" fmla="*/ 4307 h 10126"/>
                <a:gd name="connsiteX177" fmla="*/ 8959 w 10000"/>
                <a:gd name="connsiteY177" fmla="*/ 4319 h 10126"/>
                <a:gd name="connsiteX178" fmla="*/ 8959 w 10000"/>
                <a:gd name="connsiteY178" fmla="*/ 4337 h 10126"/>
                <a:gd name="connsiteX179" fmla="*/ 8952 w 10000"/>
                <a:gd name="connsiteY179" fmla="*/ 4408 h 10126"/>
                <a:gd name="connsiteX180" fmla="*/ 8952 w 10000"/>
                <a:gd name="connsiteY180" fmla="*/ 4493 h 10126"/>
                <a:gd name="connsiteX181" fmla="*/ 8940 w 10000"/>
                <a:gd name="connsiteY181" fmla="*/ 4583 h 10126"/>
                <a:gd name="connsiteX182" fmla="*/ 8927 w 10000"/>
                <a:gd name="connsiteY182" fmla="*/ 4667 h 10126"/>
                <a:gd name="connsiteX183" fmla="*/ 8908 w 10000"/>
                <a:gd name="connsiteY183" fmla="*/ 4753 h 10126"/>
                <a:gd name="connsiteX184" fmla="*/ 8890 w 10000"/>
                <a:gd name="connsiteY184" fmla="*/ 4831 h 10126"/>
                <a:gd name="connsiteX185" fmla="*/ 8864 w 10000"/>
                <a:gd name="connsiteY185" fmla="*/ 4902 h 10126"/>
                <a:gd name="connsiteX186" fmla="*/ 8833 w 10000"/>
                <a:gd name="connsiteY186" fmla="*/ 4969 h 10126"/>
                <a:gd name="connsiteX187" fmla="*/ 8538 w 10000"/>
                <a:gd name="connsiteY187" fmla="*/ 4480 h 10126"/>
                <a:gd name="connsiteX188" fmla="*/ 8526 w 10000"/>
                <a:gd name="connsiteY188" fmla="*/ 4505 h 10126"/>
                <a:gd name="connsiteX189" fmla="*/ 8494 w 10000"/>
                <a:gd name="connsiteY189" fmla="*/ 4559 h 10126"/>
                <a:gd name="connsiteX190" fmla="*/ 8463 w 10000"/>
                <a:gd name="connsiteY190" fmla="*/ 4589 h 10126"/>
                <a:gd name="connsiteX191" fmla="*/ 8438 w 10000"/>
                <a:gd name="connsiteY191" fmla="*/ 4613 h 10126"/>
                <a:gd name="connsiteX192" fmla="*/ 8407 w 10000"/>
                <a:gd name="connsiteY192" fmla="*/ 4631 h 10126"/>
                <a:gd name="connsiteX193" fmla="*/ 8375 w 10000"/>
                <a:gd name="connsiteY193" fmla="*/ 4637 h 10126"/>
                <a:gd name="connsiteX194" fmla="*/ 8338 w 10000"/>
                <a:gd name="connsiteY194" fmla="*/ 4631 h 10126"/>
                <a:gd name="connsiteX195" fmla="*/ 8312 w 10000"/>
                <a:gd name="connsiteY195" fmla="*/ 4625 h 10126"/>
                <a:gd name="connsiteX196" fmla="*/ 8287 w 10000"/>
                <a:gd name="connsiteY196" fmla="*/ 4607 h 10126"/>
                <a:gd name="connsiteX197" fmla="*/ 8256 w 10000"/>
                <a:gd name="connsiteY197" fmla="*/ 4589 h 10126"/>
                <a:gd name="connsiteX198" fmla="*/ 8237 w 10000"/>
                <a:gd name="connsiteY198" fmla="*/ 4559 h 10126"/>
                <a:gd name="connsiteX199" fmla="*/ 8225 w 10000"/>
                <a:gd name="connsiteY199" fmla="*/ 4535 h 10126"/>
                <a:gd name="connsiteX200" fmla="*/ 8206 w 10000"/>
                <a:gd name="connsiteY200" fmla="*/ 4511 h 10126"/>
                <a:gd name="connsiteX201" fmla="*/ 8206 w 10000"/>
                <a:gd name="connsiteY201" fmla="*/ 4480 h 10126"/>
                <a:gd name="connsiteX202" fmla="*/ 8206 w 10000"/>
                <a:gd name="connsiteY202" fmla="*/ 4444 h 10126"/>
                <a:gd name="connsiteX203" fmla="*/ 8225 w 10000"/>
                <a:gd name="connsiteY203" fmla="*/ 4408 h 10126"/>
                <a:gd name="connsiteX204" fmla="*/ 8237 w 10000"/>
                <a:gd name="connsiteY204" fmla="*/ 4372 h 10126"/>
                <a:gd name="connsiteX205" fmla="*/ 8250 w 10000"/>
                <a:gd name="connsiteY205" fmla="*/ 4337 h 10126"/>
                <a:gd name="connsiteX206" fmla="*/ 8300 w 10000"/>
                <a:gd name="connsiteY206" fmla="*/ 4270 h 10126"/>
                <a:gd name="connsiteX207" fmla="*/ 8356 w 10000"/>
                <a:gd name="connsiteY207" fmla="*/ 4204 h 10126"/>
                <a:gd name="connsiteX208" fmla="*/ 8407 w 10000"/>
                <a:gd name="connsiteY208" fmla="*/ 4144 h 10126"/>
                <a:gd name="connsiteX209" fmla="*/ 8457 w 10000"/>
                <a:gd name="connsiteY209" fmla="*/ 4078 h 10126"/>
                <a:gd name="connsiteX210" fmla="*/ 8469 w 10000"/>
                <a:gd name="connsiteY210" fmla="*/ 4041 h 10126"/>
                <a:gd name="connsiteX211" fmla="*/ 8482 w 10000"/>
                <a:gd name="connsiteY211" fmla="*/ 4010 h 10126"/>
                <a:gd name="connsiteX212" fmla="*/ 8501 w 10000"/>
                <a:gd name="connsiteY212" fmla="*/ 3968 h 10126"/>
                <a:gd name="connsiteX213" fmla="*/ 8501 w 10000"/>
                <a:gd name="connsiteY213" fmla="*/ 3932 h 10126"/>
                <a:gd name="connsiteX214" fmla="*/ 7748 w 10000"/>
                <a:gd name="connsiteY214" fmla="*/ 3932 h 10126"/>
                <a:gd name="connsiteX215" fmla="*/ 7723 w 10000"/>
                <a:gd name="connsiteY215" fmla="*/ 3926 h 10126"/>
                <a:gd name="connsiteX216" fmla="*/ 7685 w 10000"/>
                <a:gd name="connsiteY216" fmla="*/ 3908 h 10126"/>
                <a:gd name="connsiteX217" fmla="*/ 7660 w 10000"/>
                <a:gd name="connsiteY217" fmla="*/ 3872 h 10126"/>
                <a:gd name="connsiteX218" fmla="*/ 7635 w 10000"/>
                <a:gd name="connsiteY218" fmla="*/ 3836 h 10126"/>
                <a:gd name="connsiteX219" fmla="*/ 7616 w 10000"/>
                <a:gd name="connsiteY219" fmla="*/ 3788 h 10126"/>
                <a:gd name="connsiteX220" fmla="*/ 7597 w 10000"/>
                <a:gd name="connsiteY220" fmla="*/ 3740 h 10126"/>
                <a:gd name="connsiteX221" fmla="*/ 7591 w 10000"/>
                <a:gd name="connsiteY221" fmla="*/ 3686 h 10126"/>
                <a:gd name="connsiteX222" fmla="*/ 7585 w 10000"/>
                <a:gd name="connsiteY222" fmla="*/ 3631 h 10126"/>
                <a:gd name="connsiteX223" fmla="*/ 7547 w 10000"/>
                <a:gd name="connsiteY223" fmla="*/ 3631 h 10126"/>
                <a:gd name="connsiteX224" fmla="*/ 7516 w 10000"/>
                <a:gd name="connsiteY224" fmla="*/ 3625 h 10126"/>
                <a:gd name="connsiteX225" fmla="*/ 7478 w 10000"/>
                <a:gd name="connsiteY225" fmla="*/ 3619 h 10126"/>
                <a:gd name="connsiteX226" fmla="*/ 7447 w 10000"/>
                <a:gd name="connsiteY226" fmla="*/ 3607 h 10126"/>
                <a:gd name="connsiteX227" fmla="*/ 7415 w 10000"/>
                <a:gd name="connsiteY227" fmla="*/ 3589 h 10126"/>
                <a:gd name="connsiteX228" fmla="*/ 7396 w 10000"/>
                <a:gd name="connsiteY228" fmla="*/ 3571 h 10126"/>
                <a:gd name="connsiteX229" fmla="*/ 7384 w 10000"/>
                <a:gd name="connsiteY229" fmla="*/ 3541 h 10126"/>
                <a:gd name="connsiteX230" fmla="*/ 7378 w 10000"/>
                <a:gd name="connsiteY230" fmla="*/ 3517 h 10126"/>
                <a:gd name="connsiteX231" fmla="*/ 7321 w 10000"/>
                <a:gd name="connsiteY231" fmla="*/ 3517 h 10126"/>
                <a:gd name="connsiteX232" fmla="*/ 7271 w 10000"/>
                <a:gd name="connsiteY232" fmla="*/ 3517 h 10126"/>
                <a:gd name="connsiteX233" fmla="*/ 7221 w 10000"/>
                <a:gd name="connsiteY233" fmla="*/ 3517 h 10126"/>
                <a:gd name="connsiteX234" fmla="*/ 7171 w 10000"/>
                <a:gd name="connsiteY234" fmla="*/ 3517 h 10126"/>
                <a:gd name="connsiteX235" fmla="*/ 7127 w 10000"/>
                <a:gd name="connsiteY235" fmla="*/ 3523 h 10126"/>
                <a:gd name="connsiteX236" fmla="*/ 7095 w 10000"/>
                <a:gd name="connsiteY236" fmla="*/ 3529 h 10126"/>
                <a:gd name="connsiteX237" fmla="*/ 7051 w 10000"/>
                <a:gd name="connsiteY237" fmla="*/ 3547 h 10126"/>
                <a:gd name="connsiteX238" fmla="*/ 7008 w 10000"/>
                <a:gd name="connsiteY238" fmla="*/ 3571 h 10126"/>
                <a:gd name="connsiteX239" fmla="*/ 6976 w 10000"/>
                <a:gd name="connsiteY239" fmla="*/ 3601 h 10126"/>
                <a:gd name="connsiteX240" fmla="*/ 6939 w 10000"/>
                <a:gd name="connsiteY240" fmla="*/ 3631 h 10126"/>
                <a:gd name="connsiteX241" fmla="*/ 6920 w 10000"/>
                <a:gd name="connsiteY241" fmla="*/ 3668 h 10126"/>
                <a:gd name="connsiteX242" fmla="*/ 6913 w 10000"/>
                <a:gd name="connsiteY242" fmla="*/ 3704 h 10126"/>
                <a:gd name="connsiteX243" fmla="*/ 6926 w 10000"/>
                <a:gd name="connsiteY243" fmla="*/ 3728 h 10126"/>
                <a:gd name="connsiteX244" fmla="*/ 6964 w 10000"/>
                <a:gd name="connsiteY244" fmla="*/ 3758 h 10126"/>
                <a:gd name="connsiteX245" fmla="*/ 7008 w 10000"/>
                <a:gd name="connsiteY245" fmla="*/ 3794 h 10126"/>
                <a:gd name="connsiteX246" fmla="*/ 7070 w 10000"/>
                <a:gd name="connsiteY246" fmla="*/ 3830 h 10126"/>
                <a:gd name="connsiteX247" fmla="*/ 7133 w 10000"/>
                <a:gd name="connsiteY247" fmla="*/ 3866 h 10126"/>
                <a:gd name="connsiteX248" fmla="*/ 7196 w 10000"/>
                <a:gd name="connsiteY248" fmla="*/ 3896 h 10126"/>
                <a:gd name="connsiteX249" fmla="*/ 7252 w 10000"/>
                <a:gd name="connsiteY249" fmla="*/ 3920 h 10126"/>
                <a:gd name="connsiteX250" fmla="*/ 7290 w 10000"/>
                <a:gd name="connsiteY250" fmla="*/ 3932 h 10126"/>
                <a:gd name="connsiteX251" fmla="*/ 7208 w 10000"/>
                <a:gd name="connsiteY251" fmla="*/ 3992 h 10126"/>
                <a:gd name="connsiteX252" fmla="*/ 7114 w 10000"/>
                <a:gd name="connsiteY252" fmla="*/ 4066 h 10126"/>
                <a:gd name="connsiteX253" fmla="*/ 7070 w 10000"/>
                <a:gd name="connsiteY253" fmla="*/ 4102 h 10126"/>
                <a:gd name="connsiteX254" fmla="*/ 7033 w 10000"/>
                <a:gd name="connsiteY254" fmla="*/ 4144 h 10126"/>
                <a:gd name="connsiteX255" fmla="*/ 7020 w 10000"/>
                <a:gd name="connsiteY255" fmla="*/ 4162 h 10126"/>
                <a:gd name="connsiteX256" fmla="*/ 7008 w 10000"/>
                <a:gd name="connsiteY256" fmla="*/ 4180 h 10126"/>
                <a:gd name="connsiteX257" fmla="*/ 7001 w 10000"/>
                <a:gd name="connsiteY257" fmla="*/ 4204 h 10126"/>
                <a:gd name="connsiteX258" fmla="*/ 6995 w 10000"/>
                <a:gd name="connsiteY258" fmla="*/ 4222 h 10126"/>
                <a:gd name="connsiteX259" fmla="*/ 7001 w 10000"/>
                <a:gd name="connsiteY259" fmla="*/ 4252 h 10126"/>
                <a:gd name="connsiteX260" fmla="*/ 7008 w 10000"/>
                <a:gd name="connsiteY260" fmla="*/ 4270 h 10126"/>
                <a:gd name="connsiteX261" fmla="*/ 7026 w 10000"/>
                <a:gd name="connsiteY261" fmla="*/ 4295 h 10126"/>
                <a:gd name="connsiteX262" fmla="*/ 7039 w 10000"/>
                <a:gd name="connsiteY262" fmla="*/ 4319 h 10126"/>
                <a:gd name="connsiteX263" fmla="*/ 7089 w 10000"/>
                <a:gd name="connsiteY263" fmla="*/ 4366 h 10126"/>
                <a:gd name="connsiteX264" fmla="*/ 7146 w 10000"/>
                <a:gd name="connsiteY264" fmla="*/ 4414 h 10126"/>
                <a:gd name="connsiteX265" fmla="*/ 7208 w 10000"/>
                <a:gd name="connsiteY265" fmla="*/ 4456 h 10126"/>
                <a:gd name="connsiteX266" fmla="*/ 7277 w 10000"/>
                <a:gd name="connsiteY266" fmla="*/ 4493 h 10126"/>
                <a:gd name="connsiteX267" fmla="*/ 7315 w 10000"/>
                <a:gd name="connsiteY267" fmla="*/ 4505 h 10126"/>
                <a:gd name="connsiteX268" fmla="*/ 7346 w 10000"/>
                <a:gd name="connsiteY268" fmla="*/ 4511 h 10126"/>
                <a:gd name="connsiteX269" fmla="*/ 7384 w 10000"/>
                <a:gd name="connsiteY269" fmla="*/ 4517 h 10126"/>
                <a:gd name="connsiteX270" fmla="*/ 7415 w 10000"/>
                <a:gd name="connsiteY270" fmla="*/ 4523 h 10126"/>
                <a:gd name="connsiteX271" fmla="*/ 7585 w 10000"/>
                <a:gd name="connsiteY271" fmla="*/ 5150 h 10126"/>
                <a:gd name="connsiteX272" fmla="*/ 7491 w 10000"/>
                <a:gd name="connsiteY272" fmla="*/ 5150 h 10126"/>
                <a:gd name="connsiteX273" fmla="*/ 7403 w 10000"/>
                <a:gd name="connsiteY273" fmla="*/ 5150 h 10126"/>
                <a:gd name="connsiteX274" fmla="*/ 7321 w 10000"/>
                <a:gd name="connsiteY274" fmla="*/ 5150 h 10126"/>
                <a:gd name="connsiteX275" fmla="*/ 7252 w 10000"/>
                <a:gd name="connsiteY275" fmla="*/ 5150 h 10126"/>
                <a:gd name="connsiteX276" fmla="*/ 7208 w 10000"/>
                <a:gd name="connsiteY276" fmla="*/ 5144 h 10126"/>
                <a:gd name="connsiteX277" fmla="*/ 7164 w 10000"/>
                <a:gd name="connsiteY277" fmla="*/ 5113 h 10126"/>
                <a:gd name="connsiteX278" fmla="*/ 7133 w 10000"/>
                <a:gd name="connsiteY278" fmla="*/ 5101 h 10126"/>
                <a:gd name="connsiteX279" fmla="*/ 7102 w 10000"/>
                <a:gd name="connsiteY279" fmla="*/ 5089 h 10126"/>
                <a:gd name="connsiteX280" fmla="*/ 7070 w 10000"/>
                <a:gd name="connsiteY280" fmla="*/ 5083 h 10126"/>
                <a:gd name="connsiteX281" fmla="*/ 7039 w 10000"/>
                <a:gd name="connsiteY281" fmla="*/ 5077 h 10126"/>
                <a:gd name="connsiteX282" fmla="*/ 7008 w 10000"/>
                <a:gd name="connsiteY282" fmla="*/ 5089 h 10126"/>
                <a:gd name="connsiteX283" fmla="*/ 6957 w 10000"/>
                <a:gd name="connsiteY283" fmla="*/ 5119 h 10126"/>
                <a:gd name="connsiteX284" fmla="*/ 6895 w 10000"/>
                <a:gd name="connsiteY284" fmla="*/ 5162 h 10126"/>
                <a:gd name="connsiteX285" fmla="*/ 6819 w 10000"/>
                <a:gd name="connsiteY285" fmla="*/ 5210 h 10126"/>
                <a:gd name="connsiteX286" fmla="*/ 6744 w 10000"/>
                <a:gd name="connsiteY286" fmla="*/ 5270 h 10126"/>
                <a:gd name="connsiteX287" fmla="*/ 6681 w 10000"/>
                <a:gd name="connsiteY287" fmla="*/ 5318 h 10126"/>
                <a:gd name="connsiteX288" fmla="*/ 6637 w 10000"/>
                <a:gd name="connsiteY288" fmla="*/ 5354 h 10126"/>
                <a:gd name="connsiteX289" fmla="*/ 6625 w 10000"/>
                <a:gd name="connsiteY289" fmla="*/ 5378 h 10126"/>
                <a:gd name="connsiteX290" fmla="*/ 6750 w 10000"/>
                <a:gd name="connsiteY290" fmla="*/ 5450 h 10126"/>
                <a:gd name="connsiteX291" fmla="*/ 6744 w 10000"/>
                <a:gd name="connsiteY291" fmla="*/ 5487 h 10126"/>
                <a:gd name="connsiteX292" fmla="*/ 6725 w 10000"/>
                <a:gd name="connsiteY292" fmla="*/ 5529 h 10126"/>
                <a:gd name="connsiteX293" fmla="*/ 6706 w 10000"/>
                <a:gd name="connsiteY293" fmla="*/ 5560 h 10126"/>
                <a:gd name="connsiteX294" fmla="*/ 6688 w 10000"/>
                <a:gd name="connsiteY294" fmla="*/ 5602 h 10126"/>
                <a:gd name="connsiteX295" fmla="*/ 6637 w 10000"/>
                <a:gd name="connsiteY295" fmla="*/ 5656 h 10126"/>
                <a:gd name="connsiteX296" fmla="*/ 6581 w 10000"/>
                <a:gd name="connsiteY296" fmla="*/ 5710 h 10126"/>
                <a:gd name="connsiteX297" fmla="*/ 6518 w 10000"/>
                <a:gd name="connsiteY297" fmla="*/ 5758 h 10126"/>
                <a:gd name="connsiteX298" fmla="*/ 6443 w 10000"/>
                <a:gd name="connsiteY298" fmla="*/ 5801 h 10126"/>
                <a:gd name="connsiteX299" fmla="*/ 6374 w 10000"/>
                <a:gd name="connsiteY299" fmla="*/ 5837 h 10126"/>
                <a:gd name="connsiteX300" fmla="*/ 6299 w 10000"/>
                <a:gd name="connsiteY300" fmla="*/ 5872 h 10126"/>
                <a:gd name="connsiteX301" fmla="*/ 6223 w 10000"/>
                <a:gd name="connsiteY301" fmla="*/ 5920 h 10126"/>
                <a:gd name="connsiteX302" fmla="*/ 6154 w 10000"/>
                <a:gd name="connsiteY302" fmla="*/ 5956 h 10126"/>
                <a:gd name="connsiteX303" fmla="*/ 6092 w 10000"/>
                <a:gd name="connsiteY303" fmla="*/ 5999 h 10126"/>
                <a:gd name="connsiteX304" fmla="*/ 6035 w 10000"/>
                <a:gd name="connsiteY304" fmla="*/ 6047 h 10126"/>
                <a:gd name="connsiteX305" fmla="*/ 6004 w 10000"/>
                <a:gd name="connsiteY305" fmla="*/ 6071 h 10126"/>
                <a:gd name="connsiteX306" fmla="*/ 5985 w 10000"/>
                <a:gd name="connsiteY306" fmla="*/ 6095 h 10126"/>
                <a:gd name="connsiteX307" fmla="*/ 5966 w 10000"/>
                <a:gd name="connsiteY307" fmla="*/ 6125 h 10126"/>
                <a:gd name="connsiteX308" fmla="*/ 5947 w 10000"/>
                <a:gd name="connsiteY308" fmla="*/ 6155 h 10126"/>
                <a:gd name="connsiteX309" fmla="*/ 5935 w 10000"/>
                <a:gd name="connsiteY309" fmla="*/ 6193 h 10126"/>
                <a:gd name="connsiteX310" fmla="*/ 5922 w 10000"/>
                <a:gd name="connsiteY310" fmla="*/ 6223 h 10126"/>
                <a:gd name="connsiteX311" fmla="*/ 5916 w 10000"/>
                <a:gd name="connsiteY311" fmla="*/ 6265 h 10126"/>
                <a:gd name="connsiteX312" fmla="*/ 5916 w 10000"/>
                <a:gd name="connsiteY312" fmla="*/ 6307 h 10126"/>
                <a:gd name="connsiteX313" fmla="*/ 5859 w 10000"/>
                <a:gd name="connsiteY313" fmla="*/ 6325 h 10126"/>
                <a:gd name="connsiteX314" fmla="*/ 5809 w 10000"/>
                <a:gd name="connsiteY314" fmla="*/ 6343 h 10126"/>
                <a:gd name="connsiteX315" fmla="*/ 5765 w 10000"/>
                <a:gd name="connsiteY315" fmla="*/ 6366 h 10126"/>
                <a:gd name="connsiteX316" fmla="*/ 5721 w 10000"/>
                <a:gd name="connsiteY316" fmla="*/ 6390 h 10126"/>
                <a:gd name="connsiteX317" fmla="*/ 5634 w 10000"/>
                <a:gd name="connsiteY317" fmla="*/ 6451 h 10126"/>
                <a:gd name="connsiteX318" fmla="*/ 5558 w 10000"/>
                <a:gd name="connsiteY318" fmla="*/ 6523 h 10126"/>
                <a:gd name="connsiteX319" fmla="*/ 5420 w 10000"/>
                <a:gd name="connsiteY319" fmla="*/ 6686 h 10126"/>
                <a:gd name="connsiteX320" fmla="*/ 5289 w 10000"/>
                <a:gd name="connsiteY320" fmla="*/ 6860 h 10126"/>
                <a:gd name="connsiteX321" fmla="*/ 5220 w 10000"/>
                <a:gd name="connsiteY321" fmla="*/ 6951 h 10126"/>
                <a:gd name="connsiteX322" fmla="*/ 5151 w 10000"/>
                <a:gd name="connsiteY322" fmla="*/ 7029 h 10126"/>
                <a:gd name="connsiteX323" fmla="*/ 5075 w 10000"/>
                <a:gd name="connsiteY323" fmla="*/ 7102 h 10126"/>
                <a:gd name="connsiteX324" fmla="*/ 4994 w 10000"/>
                <a:gd name="connsiteY324" fmla="*/ 7168 h 10126"/>
                <a:gd name="connsiteX325" fmla="*/ 4944 w 10000"/>
                <a:gd name="connsiteY325" fmla="*/ 7198 h 10126"/>
                <a:gd name="connsiteX326" fmla="*/ 4893 w 10000"/>
                <a:gd name="connsiteY326" fmla="*/ 7222 h 10126"/>
                <a:gd name="connsiteX327" fmla="*/ 4849 w 10000"/>
                <a:gd name="connsiteY327" fmla="*/ 7246 h 10126"/>
                <a:gd name="connsiteX328" fmla="*/ 4793 w 10000"/>
                <a:gd name="connsiteY328" fmla="*/ 7271 h 10126"/>
                <a:gd name="connsiteX329" fmla="*/ 4730 w 10000"/>
                <a:gd name="connsiteY329" fmla="*/ 7289 h 10126"/>
                <a:gd name="connsiteX330" fmla="*/ 4674 w 10000"/>
                <a:gd name="connsiteY330" fmla="*/ 7301 h 10126"/>
                <a:gd name="connsiteX331" fmla="*/ 4605 w 10000"/>
                <a:gd name="connsiteY331" fmla="*/ 7307 h 10126"/>
                <a:gd name="connsiteX332" fmla="*/ 4536 w 10000"/>
                <a:gd name="connsiteY332" fmla="*/ 7307 h 10126"/>
                <a:gd name="connsiteX333" fmla="*/ 4536 w 10000"/>
                <a:gd name="connsiteY333" fmla="*/ 7360 h 10126"/>
                <a:gd name="connsiteX334" fmla="*/ 4536 w 10000"/>
                <a:gd name="connsiteY334" fmla="*/ 7414 h 10126"/>
                <a:gd name="connsiteX335" fmla="*/ 4536 w 10000"/>
                <a:gd name="connsiteY335" fmla="*/ 7456 h 10126"/>
                <a:gd name="connsiteX336" fmla="*/ 4536 w 10000"/>
                <a:gd name="connsiteY336" fmla="*/ 7493 h 10126"/>
                <a:gd name="connsiteX337" fmla="*/ 4536 w 10000"/>
                <a:gd name="connsiteY337" fmla="*/ 7559 h 10126"/>
                <a:gd name="connsiteX338" fmla="*/ 4536 w 10000"/>
                <a:gd name="connsiteY338" fmla="*/ 7662 h 10126"/>
                <a:gd name="connsiteX339" fmla="*/ 4536 w 10000"/>
                <a:gd name="connsiteY339" fmla="*/ 7771 h 10126"/>
                <a:gd name="connsiteX340" fmla="*/ 4548 w 10000"/>
                <a:gd name="connsiteY340" fmla="*/ 7884 h 10126"/>
                <a:gd name="connsiteX341" fmla="*/ 4561 w 10000"/>
                <a:gd name="connsiteY341" fmla="*/ 7945 h 10126"/>
                <a:gd name="connsiteX342" fmla="*/ 4573 w 10000"/>
                <a:gd name="connsiteY342" fmla="*/ 7999 h 10126"/>
                <a:gd name="connsiteX343" fmla="*/ 4586 w 10000"/>
                <a:gd name="connsiteY343" fmla="*/ 8047 h 10126"/>
                <a:gd name="connsiteX344" fmla="*/ 4611 w 10000"/>
                <a:gd name="connsiteY344" fmla="*/ 8089 h 10126"/>
                <a:gd name="connsiteX345" fmla="*/ 4636 w 10000"/>
                <a:gd name="connsiteY345" fmla="*/ 8132 h 10126"/>
                <a:gd name="connsiteX346" fmla="*/ 4668 w 10000"/>
                <a:gd name="connsiteY346" fmla="*/ 8162 h 10126"/>
                <a:gd name="connsiteX347" fmla="*/ 4705 w 10000"/>
                <a:gd name="connsiteY347" fmla="*/ 8186 h 10126"/>
                <a:gd name="connsiteX348" fmla="*/ 4749 w 10000"/>
                <a:gd name="connsiteY348" fmla="*/ 8198 h 10126"/>
                <a:gd name="connsiteX349" fmla="*/ 4711 w 10000"/>
                <a:gd name="connsiteY349" fmla="*/ 8294 h 10126"/>
                <a:gd name="connsiteX350" fmla="*/ 4668 w 10000"/>
                <a:gd name="connsiteY350" fmla="*/ 8379 h 10126"/>
                <a:gd name="connsiteX351" fmla="*/ 4617 w 10000"/>
                <a:gd name="connsiteY351" fmla="*/ 8457 h 10126"/>
                <a:gd name="connsiteX352" fmla="*/ 4573 w 10000"/>
                <a:gd name="connsiteY352" fmla="*/ 8529 h 10126"/>
                <a:gd name="connsiteX353" fmla="*/ 4523 w 10000"/>
                <a:gd name="connsiteY353" fmla="*/ 8614 h 10126"/>
                <a:gd name="connsiteX354" fmla="*/ 4492 w 10000"/>
                <a:gd name="connsiteY354" fmla="*/ 8692 h 10126"/>
                <a:gd name="connsiteX355" fmla="*/ 4473 w 10000"/>
                <a:gd name="connsiteY355" fmla="*/ 8728 h 10126"/>
                <a:gd name="connsiteX356" fmla="*/ 4467 w 10000"/>
                <a:gd name="connsiteY356" fmla="*/ 8771 h 10126"/>
                <a:gd name="connsiteX357" fmla="*/ 4460 w 10000"/>
                <a:gd name="connsiteY357" fmla="*/ 8819 h 10126"/>
                <a:gd name="connsiteX358" fmla="*/ 4454 w 10000"/>
                <a:gd name="connsiteY358" fmla="*/ 8861 h 10126"/>
                <a:gd name="connsiteX359" fmla="*/ 4460 w 10000"/>
                <a:gd name="connsiteY359" fmla="*/ 8878 h 10126"/>
                <a:gd name="connsiteX360" fmla="*/ 4467 w 10000"/>
                <a:gd name="connsiteY360" fmla="*/ 8890 h 10126"/>
                <a:gd name="connsiteX361" fmla="*/ 4479 w 10000"/>
                <a:gd name="connsiteY361" fmla="*/ 8902 h 10126"/>
                <a:gd name="connsiteX362" fmla="*/ 4504 w 10000"/>
                <a:gd name="connsiteY362" fmla="*/ 8914 h 10126"/>
                <a:gd name="connsiteX363" fmla="*/ 4542 w 10000"/>
                <a:gd name="connsiteY363" fmla="*/ 8938 h 10126"/>
                <a:gd name="connsiteX364" fmla="*/ 4580 w 10000"/>
                <a:gd name="connsiteY364" fmla="*/ 8944 h 10126"/>
                <a:gd name="connsiteX365" fmla="*/ 4580 w 10000"/>
                <a:gd name="connsiteY365" fmla="*/ 9162 h 10126"/>
                <a:gd name="connsiteX366" fmla="*/ 4529 w 10000"/>
                <a:gd name="connsiteY366" fmla="*/ 9247 h 10126"/>
                <a:gd name="connsiteX367" fmla="*/ 4492 w 10000"/>
                <a:gd name="connsiteY367" fmla="*/ 9337 h 10126"/>
                <a:gd name="connsiteX368" fmla="*/ 4460 w 10000"/>
                <a:gd name="connsiteY368" fmla="*/ 9372 h 10126"/>
                <a:gd name="connsiteX369" fmla="*/ 4429 w 10000"/>
                <a:gd name="connsiteY369" fmla="*/ 9397 h 10126"/>
                <a:gd name="connsiteX370" fmla="*/ 4404 w 10000"/>
                <a:gd name="connsiteY370" fmla="*/ 9409 h 10126"/>
                <a:gd name="connsiteX371" fmla="*/ 4385 w 10000"/>
                <a:gd name="connsiteY371" fmla="*/ 9415 h 10126"/>
                <a:gd name="connsiteX372" fmla="*/ 4360 w 10000"/>
                <a:gd name="connsiteY372" fmla="*/ 9421 h 10126"/>
                <a:gd name="connsiteX373" fmla="*/ 4329 w 10000"/>
                <a:gd name="connsiteY373" fmla="*/ 9421 h 10126"/>
                <a:gd name="connsiteX374" fmla="*/ 4329 w 10000"/>
                <a:gd name="connsiteY374" fmla="*/ 9469 h 10126"/>
                <a:gd name="connsiteX375" fmla="*/ 4335 w 10000"/>
                <a:gd name="connsiteY375" fmla="*/ 9529 h 10126"/>
                <a:gd name="connsiteX376" fmla="*/ 4348 w 10000"/>
                <a:gd name="connsiteY376" fmla="*/ 9559 h 10126"/>
                <a:gd name="connsiteX377" fmla="*/ 4354 w 10000"/>
                <a:gd name="connsiteY377" fmla="*/ 9583 h 10126"/>
                <a:gd name="connsiteX378" fmla="*/ 4360 w 10000"/>
                <a:gd name="connsiteY378" fmla="*/ 9602 h 10126"/>
                <a:gd name="connsiteX379" fmla="*/ 4373 w 10000"/>
                <a:gd name="connsiteY379" fmla="*/ 9608 h 10126"/>
                <a:gd name="connsiteX380" fmla="*/ 4210 w 10000"/>
                <a:gd name="connsiteY380" fmla="*/ 9734 h 10126"/>
                <a:gd name="connsiteX381" fmla="*/ 4072 w 10000"/>
                <a:gd name="connsiteY381" fmla="*/ 9838 h 10126"/>
                <a:gd name="connsiteX382" fmla="*/ 4009 w 10000"/>
                <a:gd name="connsiteY382" fmla="*/ 9897 h 10126"/>
                <a:gd name="connsiteX383" fmla="*/ 3952 w 10000"/>
                <a:gd name="connsiteY383" fmla="*/ 9963 h 10126"/>
                <a:gd name="connsiteX384" fmla="*/ 3890 w 10000"/>
                <a:gd name="connsiteY384" fmla="*/ 10042 h 10126"/>
                <a:gd name="connsiteX385" fmla="*/ 3833 w 10000"/>
                <a:gd name="connsiteY385" fmla="*/ 10126 h 10126"/>
                <a:gd name="connsiteX386" fmla="*/ 3733 w 10000"/>
                <a:gd name="connsiteY386" fmla="*/ 10084 h 10126"/>
                <a:gd name="connsiteX387" fmla="*/ 3664 w 10000"/>
                <a:gd name="connsiteY387" fmla="*/ 10042 h 10126"/>
                <a:gd name="connsiteX388" fmla="*/ 3607 w 10000"/>
                <a:gd name="connsiteY388" fmla="*/ 9999 h 10126"/>
                <a:gd name="connsiteX389" fmla="*/ 3563 w 10000"/>
                <a:gd name="connsiteY389" fmla="*/ 9951 h 10126"/>
                <a:gd name="connsiteX390" fmla="*/ 3532 w 10000"/>
                <a:gd name="connsiteY390" fmla="*/ 9891 h 10126"/>
                <a:gd name="connsiteX391" fmla="*/ 3513 w 10000"/>
                <a:gd name="connsiteY391" fmla="*/ 9832 h 10126"/>
                <a:gd name="connsiteX392" fmla="*/ 3482 w 10000"/>
                <a:gd name="connsiteY392" fmla="*/ 9758 h 10126"/>
                <a:gd name="connsiteX393" fmla="*/ 3457 w 10000"/>
                <a:gd name="connsiteY393" fmla="*/ 9686 h 10126"/>
                <a:gd name="connsiteX394" fmla="*/ 3400 w 10000"/>
                <a:gd name="connsiteY394" fmla="*/ 9547 h 10126"/>
                <a:gd name="connsiteX395" fmla="*/ 3325 w 10000"/>
                <a:gd name="connsiteY395" fmla="*/ 9415 h 10126"/>
                <a:gd name="connsiteX396" fmla="*/ 3237 w 10000"/>
                <a:gd name="connsiteY396" fmla="*/ 9277 h 10126"/>
                <a:gd name="connsiteX397" fmla="*/ 3143 w 10000"/>
                <a:gd name="connsiteY397" fmla="*/ 9132 h 10126"/>
                <a:gd name="connsiteX398" fmla="*/ 3049 w 10000"/>
                <a:gd name="connsiteY398" fmla="*/ 8999 h 10126"/>
                <a:gd name="connsiteX399" fmla="*/ 2967 w 10000"/>
                <a:gd name="connsiteY399" fmla="*/ 8867 h 10126"/>
                <a:gd name="connsiteX400" fmla="*/ 2892 w 10000"/>
                <a:gd name="connsiteY400" fmla="*/ 8747 h 10126"/>
                <a:gd name="connsiteX401" fmla="*/ 2829 w 10000"/>
                <a:gd name="connsiteY401" fmla="*/ 8644 h 10126"/>
                <a:gd name="connsiteX402" fmla="*/ 2773 w 10000"/>
                <a:gd name="connsiteY402" fmla="*/ 8529 h 10126"/>
                <a:gd name="connsiteX403" fmla="*/ 2735 w 10000"/>
                <a:gd name="connsiteY403" fmla="*/ 8427 h 10126"/>
                <a:gd name="connsiteX404" fmla="*/ 2698 w 10000"/>
                <a:gd name="connsiteY404" fmla="*/ 8319 h 10126"/>
                <a:gd name="connsiteX405" fmla="*/ 2666 w 10000"/>
                <a:gd name="connsiteY405" fmla="*/ 8210 h 10126"/>
                <a:gd name="connsiteX406" fmla="*/ 2629 w 10000"/>
                <a:gd name="connsiteY406" fmla="*/ 8101 h 10126"/>
                <a:gd name="connsiteX407" fmla="*/ 2597 w 10000"/>
                <a:gd name="connsiteY407" fmla="*/ 7993 h 10126"/>
                <a:gd name="connsiteX408" fmla="*/ 2553 w 10000"/>
                <a:gd name="connsiteY408" fmla="*/ 7872 h 10126"/>
                <a:gd name="connsiteX409" fmla="*/ 2497 w 10000"/>
                <a:gd name="connsiteY409" fmla="*/ 7753 h 10126"/>
                <a:gd name="connsiteX410" fmla="*/ 2359 w 10000"/>
                <a:gd name="connsiteY410" fmla="*/ 7559 h 10126"/>
                <a:gd name="connsiteX411" fmla="*/ 2208 w 10000"/>
                <a:gd name="connsiteY411" fmla="*/ 7378 h 10126"/>
                <a:gd name="connsiteX412" fmla="*/ 2139 w 10000"/>
                <a:gd name="connsiteY412" fmla="*/ 7295 h 10126"/>
                <a:gd name="connsiteX413" fmla="*/ 2070 w 10000"/>
                <a:gd name="connsiteY413" fmla="*/ 7198 h 10126"/>
                <a:gd name="connsiteX414" fmla="*/ 2008 w 10000"/>
                <a:gd name="connsiteY414" fmla="*/ 7108 h 10126"/>
                <a:gd name="connsiteX415" fmla="*/ 1957 w 10000"/>
                <a:gd name="connsiteY415" fmla="*/ 7011 h 10126"/>
                <a:gd name="connsiteX416" fmla="*/ 1888 w 10000"/>
                <a:gd name="connsiteY416" fmla="*/ 6776 h 10126"/>
                <a:gd name="connsiteX417" fmla="*/ 1832 w 10000"/>
                <a:gd name="connsiteY417" fmla="*/ 6559 h 10126"/>
                <a:gd name="connsiteX418" fmla="*/ 1782 w 10000"/>
                <a:gd name="connsiteY418" fmla="*/ 6349 h 10126"/>
                <a:gd name="connsiteX419" fmla="*/ 1757 w 10000"/>
                <a:gd name="connsiteY419" fmla="*/ 6137 h 10126"/>
                <a:gd name="connsiteX420" fmla="*/ 1725 w 10000"/>
                <a:gd name="connsiteY420" fmla="*/ 5932 h 10126"/>
                <a:gd name="connsiteX421" fmla="*/ 1713 w 10000"/>
                <a:gd name="connsiteY421" fmla="*/ 5716 h 10126"/>
                <a:gd name="connsiteX422" fmla="*/ 1706 w 10000"/>
                <a:gd name="connsiteY422" fmla="*/ 5493 h 10126"/>
                <a:gd name="connsiteX423" fmla="*/ 1706 w 10000"/>
                <a:gd name="connsiteY423" fmla="*/ 5270 h 10126"/>
                <a:gd name="connsiteX424" fmla="*/ 1681 w 10000"/>
                <a:gd name="connsiteY424" fmla="*/ 5264 h 10126"/>
                <a:gd name="connsiteX425" fmla="*/ 1650 w 10000"/>
                <a:gd name="connsiteY425" fmla="*/ 5258 h 10126"/>
                <a:gd name="connsiteX426" fmla="*/ 1625 w 10000"/>
                <a:gd name="connsiteY426" fmla="*/ 5252 h 10126"/>
                <a:gd name="connsiteX427" fmla="*/ 1606 w 10000"/>
                <a:gd name="connsiteY427" fmla="*/ 5228 h 10126"/>
                <a:gd name="connsiteX428" fmla="*/ 1581 w 10000"/>
                <a:gd name="connsiteY428" fmla="*/ 5216 h 10126"/>
                <a:gd name="connsiteX429" fmla="*/ 1568 w 10000"/>
                <a:gd name="connsiteY429" fmla="*/ 5198 h 10126"/>
                <a:gd name="connsiteX430" fmla="*/ 1550 w 10000"/>
                <a:gd name="connsiteY430" fmla="*/ 5174 h 10126"/>
                <a:gd name="connsiteX431" fmla="*/ 1543 w 10000"/>
                <a:gd name="connsiteY431" fmla="*/ 5150 h 10126"/>
                <a:gd name="connsiteX432" fmla="*/ 1518 w 10000"/>
                <a:gd name="connsiteY432" fmla="*/ 5101 h 10126"/>
                <a:gd name="connsiteX433" fmla="*/ 1506 w 10000"/>
                <a:gd name="connsiteY433" fmla="*/ 5047 h 10126"/>
                <a:gd name="connsiteX434" fmla="*/ 1499 w 10000"/>
                <a:gd name="connsiteY434" fmla="*/ 4987 h 10126"/>
                <a:gd name="connsiteX435" fmla="*/ 1499 w 10000"/>
                <a:gd name="connsiteY435" fmla="*/ 4933 h 10126"/>
                <a:gd name="connsiteX436" fmla="*/ 1443 w 10000"/>
                <a:gd name="connsiteY436" fmla="*/ 4969 h 10126"/>
                <a:gd name="connsiteX437" fmla="*/ 1405 w 10000"/>
                <a:gd name="connsiteY437" fmla="*/ 5011 h 10126"/>
                <a:gd name="connsiteX438" fmla="*/ 1361 w 10000"/>
                <a:gd name="connsiteY438" fmla="*/ 5053 h 10126"/>
                <a:gd name="connsiteX439" fmla="*/ 1317 w 10000"/>
                <a:gd name="connsiteY439" fmla="*/ 5101 h 10126"/>
                <a:gd name="connsiteX440" fmla="*/ 1261 w 10000"/>
                <a:gd name="connsiteY440" fmla="*/ 5198 h 10126"/>
                <a:gd name="connsiteX441" fmla="*/ 1205 w 10000"/>
                <a:gd name="connsiteY441" fmla="*/ 5300 h 10126"/>
                <a:gd name="connsiteX442" fmla="*/ 1167 w 10000"/>
                <a:gd name="connsiteY442" fmla="*/ 5343 h 10126"/>
                <a:gd name="connsiteX443" fmla="*/ 1142 w 10000"/>
                <a:gd name="connsiteY443" fmla="*/ 5384 h 10126"/>
                <a:gd name="connsiteX444" fmla="*/ 1104 w 10000"/>
                <a:gd name="connsiteY444" fmla="*/ 5426 h 10126"/>
                <a:gd name="connsiteX445" fmla="*/ 1073 w 10000"/>
                <a:gd name="connsiteY445" fmla="*/ 5456 h 10126"/>
                <a:gd name="connsiteX446" fmla="*/ 1029 w 10000"/>
                <a:gd name="connsiteY446" fmla="*/ 5487 h 10126"/>
                <a:gd name="connsiteX447" fmla="*/ 985 w 10000"/>
                <a:gd name="connsiteY447" fmla="*/ 5505 h 10126"/>
                <a:gd name="connsiteX448" fmla="*/ 928 w 10000"/>
                <a:gd name="connsiteY448" fmla="*/ 5517 h 10126"/>
                <a:gd name="connsiteX449" fmla="*/ 872 w 10000"/>
                <a:gd name="connsiteY449" fmla="*/ 5523 h 10126"/>
                <a:gd name="connsiteX450" fmla="*/ 841 w 10000"/>
                <a:gd name="connsiteY450" fmla="*/ 5517 h 10126"/>
                <a:gd name="connsiteX451" fmla="*/ 797 w 10000"/>
                <a:gd name="connsiteY451" fmla="*/ 5505 h 10126"/>
                <a:gd name="connsiteX452" fmla="*/ 753 w 10000"/>
                <a:gd name="connsiteY452" fmla="*/ 5487 h 10126"/>
                <a:gd name="connsiteX453" fmla="*/ 709 w 10000"/>
                <a:gd name="connsiteY453" fmla="*/ 5456 h 10126"/>
                <a:gd name="connsiteX454" fmla="*/ 659 w 10000"/>
                <a:gd name="connsiteY454" fmla="*/ 5420 h 10126"/>
                <a:gd name="connsiteX455" fmla="*/ 609 w 10000"/>
                <a:gd name="connsiteY455" fmla="*/ 5384 h 10126"/>
                <a:gd name="connsiteX456" fmla="*/ 565 w 10000"/>
                <a:gd name="connsiteY456" fmla="*/ 5343 h 10126"/>
                <a:gd name="connsiteX457" fmla="*/ 514 w 10000"/>
                <a:gd name="connsiteY457" fmla="*/ 5294 h 10126"/>
                <a:gd name="connsiteX458" fmla="*/ 471 w 10000"/>
                <a:gd name="connsiteY458" fmla="*/ 5246 h 10126"/>
                <a:gd name="connsiteX459" fmla="*/ 433 w 10000"/>
                <a:gd name="connsiteY459" fmla="*/ 5192 h 10126"/>
                <a:gd name="connsiteX460" fmla="*/ 389 w 10000"/>
                <a:gd name="connsiteY460" fmla="*/ 5138 h 10126"/>
                <a:gd name="connsiteX461" fmla="*/ 358 w 10000"/>
                <a:gd name="connsiteY461" fmla="*/ 5083 h 10126"/>
                <a:gd name="connsiteX462" fmla="*/ 326 w 10000"/>
                <a:gd name="connsiteY462" fmla="*/ 5035 h 10126"/>
                <a:gd name="connsiteX463" fmla="*/ 307 w 10000"/>
                <a:gd name="connsiteY463" fmla="*/ 4987 h 10126"/>
                <a:gd name="connsiteX464" fmla="*/ 295 w 10000"/>
                <a:gd name="connsiteY464" fmla="*/ 4939 h 10126"/>
                <a:gd name="connsiteX465" fmla="*/ 289 w 10000"/>
                <a:gd name="connsiteY465" fmla="*/ 4890 h 10126"/>
                <a:gd name="connsiteX466" fmla="*/ 320 w 10000"/>
                <a:gd name="connsiteY466" fmla="*/ 4872 h 10126"/>
                <a:gd name="connsiteX467" fmla="*/ 395 w 10000"/>
                <a:gd name="connsiteY467" fmla="*/ 4837 h 10126"/>
                <a:gd name="connsiteX468" fmla="*/ 483 w 10000"/>
                <a:gd name="connsiteY468" fmla="*/ 4801 h 10126"/>
                <a:gd name="connsiteX469" fmla="*/ 533 w 10000"/>
                <a:gd name="connsiteY469" fmla="*/ 4783 h 10126"/>
                <a:gd name="connsiteX470" fmla="*/ 483 w 10000"/>
                <a:gd name="connsiteY470" fmla="*/ 4783 h 10126"/>
                <a:gd name="connsiteX471" fmla="*/ 420 w 10000"/>
                <a:gd name="connsiteY471" fmla="*/ 4777 h 10126"/>
                <a:gd name="connsiteX472" fmla="*/ 370 w 10000"/>
                <a:gd name="connsiteY472" fmla="*/ 4765 h 10126"/>
                <a:gd name="connsiteX473" fmla="*/ 320 w 10000"/>
                <a:gd name="connsiteY473" fmla="*/ 4759 h 10126"/>
                <a:gd name="connsiteX474" fmla="*/ 276 w 10000"/>
                <a:gd name="connsiteY474" fmla="*/ 4740 h 10126"/>
                <a:gd name="connsiteX475" fmla="*/ 232 w 10000"/>
                <a:gd name="connsiteY475" fmla="*/ 4728 h 10126"/>
                <a:gd name="connsiteX476" fmla="*/ 188 w 10000"/>
                <a:gd name="connsiteY476" fmla="*/ 4710 h 10126"/>
                <a:gd name="connsiteX477" fmla="*/ 157 w 10000"/>
                <a:gd name="connsiteY477" fmla="*/ 4685 h 10126"/>
                <a:gd name="connsiteX478" fmla="*/ 132 w 10000"/>
                <a:gd name="connsiteY478" fmla="*/ 4661 h 10126"/>
                <a:gd name="connsiteX479" fmla="*/ 100 w 10000"/>
                <a:gd name="connsiteY479" fmla="*/ 4637 h 10126"/>
                <a:gd name="connsiteX480" fmla="*/ 75 w 10000"/>
                <a:gd name="connsiteY480" fmla="*/ 4607 h 10126"/>
                <a:gd name="connsiteX481" fmla="*/ 50 w 10000"/>
                <a:gd name="connsiteY481" fmla="*/ 4583 h 10126"/>
                <a:gd name="connsiteX482" fmla="*/ 19 w 10000"/>
                <a:gd name="connsiteY482" fmla="*/ 4511 h 10126"/>
                <a:gd name="connsiteX483" fmla="*/ 0 w 10000"/>
                <a:gd name="connsiteY483" fmla="*/ 4444 h 10126"/>
                <a:gd name="connsiteX484" fmla="*/ 63 w 10000"/>
                <a:gd name="connsiteY484" fmla="*/ 4396 h 10126"/>
                <a:gd name="connsiteX485" fmla="*/ 132 w 10000"/>
                <a:gd name="connsiteY485" fmla="*/ 4360 h 10126"/>
                <a:gd name="connsiteX486" fmla="*/ 201 w 10000"/>
                <a:gd name="connsiteY486" fmla="*/ 4331 h 10126"/>
                <a:gd name="connsiteX487" fmla="*/ 276 w 10000"/>
                <a:gd name="connsiteY487" fmla="*/ 4307 h 10126"/>
                <a:gd name="connsiteX488" fmla="*/ 420 w 10000"/>
                <a:gd name="connsiteY488" fmla="*/ 4277 h 10126"/>
                <a:gd name="connsiteX489" fmla="*/ 565 w 10000"/>
                <a:gd name="connsiteY489" fmla="*/ 4252 h 10126"/>
                <a:gd name="connsiteX490" fmla="*/ 640 w 10000"/>
                <a:gd name="connsiteY490" fmla="*/ 4240 h 10126"/>
                <a:gd name="connsiteX491" fmla="*/ 709 w 10000"/>
                <a:gd name="connsiteY491" fmla="*/ 4216 h 10126"/>
                <a:gd name="connsiteX492" fmla="*/ 772 w 10000"/>
                <a:gd name="connsiteY492" fmla="*/ 4198 h 10126"/>
                <a:gd name="connsiteX493" fmla="*/ 834 w 10000"/>
                <a:gd name="connsiteY493" fmla="*/ 4168 h 10126"/>
                <a:gd name="connsiteX494" fmla="*/ 891 w 10000"/>
                <a:gd name="connsiteY494" fmla="*/ 4138 h 10126"/>
                <a:gd name="connsiteX495" fmla="*/ 947 w 10000"/>
                <a:gd name="connsiteY495" fmla="*/ 4090 h 10126"/>
                <a:gd name="connsiteX496" fmla="*/ 997 w 10000"/>
                <a:gd name="connsiteY496" fmla="*/ 4035 h 10126"/>
                <a:gd name="connsiteX497" fmla="*/ 1035 w 10000"/>
                <a:gd name="connsiteY497" fmla="*/ 3968 h 10126"/>
                <a:gd name="connsiteX498" fmla="*/ 1010 w 10000"/>
                <a:gd name="connsiteY498" fmla="*/ 3956 h 10126"/>
                <a:gd name="connsiteX499" fmla="*/ 985 w 10000"/>
                <a:gd name="connsiteY499" fmla="*/ 3938 h 10126"/>
                <a:gd name="connsiteX500" fmla="*/ 947 w 10000"/>
                <a:gd name="connsiteY500" fmla="*/ 3914 h 10126"/>
                <a:gd name="connsiteX501" fmla="*/ 910 w 10000"/>
                <a:gd name="connsiteY501" fmla="*/ 3878 h 10126"/>
                <a:gd name="connsiteX502" fmla="*/ 822 w 10000"/>
                <a:gd name="connsiteY502" fmla="*/ 3806 h 10126"/>
                <a:gd name="connsiteX503" fmla="*/ 740 w 10000"/>
                <a:gd name="connsiteY503" fmla="*/ 3722 h 10126"/>
                <a:gd name="connsiteX504" fmla="*/ 665 w 10000"/>
                <a:gd name="connsiteY504" fmla="*/ 3631 h 10126"/>
                <a:gd name="connsiteX505" fmla="*/ 596 w 10000"/>
                <a:gd name="connsiteY505" fmla="*/ 3535 h 10126"/>
                <a:gd name="connsiteX506" fmla="*/ 577 w 10000"/>
                <a:gd name="connsiteY506" fmla="*/ 3493 h 10126"/>
                <a:gd name="connsiteX507" fmla="*/ 558 w 10000"/>
                <a:gd name="connsiteY507" fmla="*/ 3451 h 10126"/>
                <a:gd name="connsiteX508" fmla="*/ 540 w 10000"/>
                <a:gd name="connsiteY508" fmla="*/ 3408 h 10126"/>
                <a:gd name="connsiteX509" fmla="*/ 533 w 10000"/>
                <a:gd name="connsiteY509" fmla="*/ 3372 h 10126"/>
                <a:gd name="connsiteX510" fmla="*/ 508 w 10000"/>
                <a:gd name="connsiteY510" fmla="*/ 3366 h 10126"/>
                <a:gd name="connsiteX511" fmla="*/ 483 w 10000"/>
                <a:gd name="connsiteY511" fmla="*/ 3360 h 10126"/>
                <a:gd name="connsiteX512" fmla="*/ 458 w 10000"/>
                <a:gd name="connsiteY512" fmla="*/ 3348 h 10126"/>
                <a:gd name="connsiteX513" fmla="*/ 439 w 10000"/>
                <a:gd name="connsiteY513" fmla="*/ 3325 h 10126"/>
                <a:gd name="connsiteX514" fmla="*/ 402 w 10000"/>
                <a:gd name="connsiteY514" fmla="*/ 3282 h 10126"/>
                <a:gd name="connsiteX515" fmla="*/ 370 w 10000"/>
                <a:gd name="connsiteY515" fmla="*/ 3222 h 10126"/>
                <a:gd name="connsiteX516" fmla="*/ 370 w 10000"/>
                <a:gd name="connsiteY516" fmla="*/ 3077 h 10126"/>
                <a:gd name="connsiteX517" fmla="*/ 458 w 10000"/>
                <a:gd name="connsiteY517" fmla="*/ 3071 h 10126"/>
                <a:gd name="connsiteX518" fmla="*/ 540 w 10000"/>
                <a:gd name="connsiteY518" fmla="*/ 3065 h 10126"/>
                <a:gd name="connsiteX519" fmla="*/ 615 w 10000"/>
                <a:gd name="connsiteY519" fmla="*/ 3053 h 10126"/>
                <a:gd name="connsiteX520" fmla="*/ 684 w 10000"/>
                <a:gd name="connsiteY520" fmla="*/ 3029 h 10126"/>
                <a:gd name="connsiteX521" fmla="*/ 747 w 10000"/>
                <a:gd name="connsiteY521" fmla="*/ 3011 h 10126"/>
                <a:gd name="connsiteX522" fmla="*/ 809 w 10000"/>
                <a:gd name="connsiteY522" fmla="*/ 2980 h 10126"/>
                <a:gd name="connsiteX523" fmla="*/ 866 w 10000"/>
                <a:gd name="connsiteY523" fmla="*/ 2950 h 10126"/>
                <a:gd name="connsiteX524" fmla="*/ 922 w 10000"/>
                <a:gd name="connsiteY524" fmla="*/ 2914 h 10126"/>
                <a:gd name="connsiteX525" fmla="*/ 966 w 10000"/>
                <a:gd name="connsiteY525" fmla="*/ 2872 h 10126"/>
                <a:gd name="connsiteX526" fmla="*/ 1016 w 10000"/>
                <a:gd name="connsiteY526" fmla="*/ 2831 h 10126"/>
                <a:gd name="connsiteX527" fmla="*/ 1060 w 10000"/>
                <a:gd name="connsiteY527" fmla="*/ 2789 h 10126"/>
                <a:gd name="connsiteX528" fmla="*/ 1098 w 10000"/>
                <a:gd name="connsiteY528" fmla="*/ 2740 h 10126"/>
                <a:gd name="connsiteX529" fmla="*/ 1167 w 10000"/>
                <a:gd name="connsiteY529" fmla="*/ 2644 h 10126"/>
                <a:gd name="connsiteX530" fmla="*/ 1236 w 10000"/>
                <a:gd name="connsiteY530" fmla="*/ 2534 h 10126"/>
                <a:gd name="connsiteX531" fmla="*/ 1355 w 10000"/>
                <a:gd name="connsiteY531" fmla="*/ 2318 h 10126"/>
                <a:gd name="connsiteX532" fmla="*/ 1474 w 10000"/>
                <a:gd name="connsiteY532" fmla="*/ 2101 h 10126"/>
                <a:gd name="connsiteX533" fmla="*/ 1543 w 10000"/>
                <a:gd name="connsiteY533" fmla="*/ 2005 h 10126"/>
                <a:gd name="connsiteX534" fmla="*/ 1612 w 10000"/>
                <a:gd name="connsiteY534" fmla="*/ 1920 h 10126"/>
                <a:gd name="connsiteX535" fmla="*/ 1650 w 10000"/>
                <a:gd name="connsiteY535" fmla="*/ 1871 h 10126"/>
                <a:gd name="connsiteX536" fmla="*/ 1694 w 10000"/>
                <a:gd name="connsiteY536" fmla="*/ 1835 h 10126"/>
                <a:gd name="connsiteX537" fmla="*/ 1738 w 10000"/>
                <a:gd name="connsiteY537" fmla="*/ 1806 h 10126"/>
                <a:gd name="connsiteX538" fmla="*/ 1788 w 10000"/>
                <a:gd name="connsiteY538" fmla="*/ 1776 h 10126"/>
                <a:gd name="connsiteX539" fmla="*/ 1750 w 10000"/>
                <a:gd name="connsiteY539" fmla="*/ 1703 h 10126"/>
                <a:gd name="connsiteX540" fmla="*/ 1719 w 10000"/>
                <a:gd name="connsiteY540" fmla="*/ 1637 h 10126"/>
                <a:gd name="connsiteX541" fmla="*/ 1713 w 10000"/>
                <a:gd name="connsiteY541" fmla="*/ 1607 h 10126"/>
                <a:gd name="connsiteX542" fmla="*/ 1706 w 10000"/>
                <a:gd name="connsiteY542" fmla="*/ 1577 h 10126"/>
                <a:gd name="connsiteX543" fmla="*/ 1706 w 10000"/>
                <a:gd name="connsiteY543" fmla="*/ 1541 h 10126"/>
                <a:gd name="connsiteX544" fmla="*/ 1706 w 10000"/>
                <a:gd name="connsiteY544" fmla="*/ 1511 h 10126"/>
                <a:gd name="connsiteX545" fmla="*/ 1713 w 10000"/>
                <a:gd name="connsiteY545" fmla="*/ 1480 h 10126"/>
                <a:gd name="connsiteX546" fmla="*/ 1719 w 10000"/>
                <a:gd name="connsiteY546" fmla="*/ 1450 h 10126"/>
                <a:gd name="connsiteX547" fmla="*/ 1731 w 10000"/>
                <a:gd name="connsiteY547" fmla="*/ 1426 h 10126"/>
                <a:gd name="connsiteX548" fmla="*/ 1757 w 10000"/>
                <a:gd name="connsiteY548" fmla="*/ 1402 h 10126"/>
                <a:gd name="connsiteX549" fmla="*/ 1775 w 10000"/>
                <a:gd name="connsiteY549" fmla="*/ 1384 h 10126"/>
                <a:gd name="connsiteX550" fmla="*/ 1801 w 10000"/>
                <a:gd name="connsiteY550" fmla="*/ 1366 h 10126"/>
                <a:gd name="connsiteX551" fmla="*/ 1838 w 10000"/>
                <a:gd name="connsiteY551" fmla="*/ 1348 h 10126"/>
                <a:gd name="connsiteX552" fmla="*/ 1870 w 10000"/>
                <a:gd name="connsiteY552" fmla="*/ 1330 h 10126"/>
                <a:gd name="connsiteX553" fmla="*/ 1788 w 10000"/>
                <a:gd name="connsiteY553" fmla="*/ 1240 h 10126"/>
                <a:gd name="connsiteX554" fmla="*/ 1688 w 10000"/>
                <a:gd name="connsiteY554" fmla="*/ 1168 h 10126"/>
                <a:gd name="connsiteX555" fmla="*/ 1550 w 10000"/>
                <a:gd name="connsiteY555" fmla="*/ 1046 h 10126"/>
                <a:gd name="connsiteX556" fmla="*/ 1487 w 10000"/>
                <a:gd name="connsiteY556" fmla="*/ 986 h 10126"/>
                <a:gd name="connsiteX557" fmla="*/ 1383 w 10000"/>
                <a:gd name="connsiteY557" fmla="*/ 868 h 10126"/>
                <a:gd name="connsiteX558" fmla="*/ 1426 w 10000"/>
                <a:gd name="connsiteY558" fmla="*/ 764 h 10126"/>
                <a:gd name="connsiteX559" fmla="*/ 1603 w 10000"/>
                <a:gd name="connsiteY559" fmla="*/ 650 h 10126"/>
                <a:gd name="connsiteX560" fmla="*/ 1708 w 10000"/>
                <a:gd name="connsiteY560" fmla="*/ 605 h 10126"/>
                <a:gd name="connsiteX561" fmla="*/ 1673 w 10000"/>
                <a:gd name="connsiteY561" fmla="*/ 540 h 10126"/>
                <a:gd name="connsiteX562" fmla="*/ 1606 w 10000"/>
                <a:gd name="connsiteY562" fmla="*/ 463 h 10126"/>
                <a:gd name="connsiteX563" fmla="*/ 1539 w 10000"/>
                <a:gd name="connsiteY563" fmla="*/ 431 h 10126"/>
                <a:gd name="connsiteX564" fmla="*/ 1539 w 10000"/>
                <a:gd name="connsiteY564" fmla="*/ 366 h 10126"/>
                <a:gd name="connsiteX565" fmla="*/ 1473 w 10000"/>
                <a:gd name="connsiteY565" fmla="*/ 296 h 10126"/>
                <a:gd name="connsiteX566" fmla="*/ 1341 w 10000"/>
                <a:gd name="connsiteY566" fmla="*/ 236 h 10126"/>
                <a:gd name="connsiteX567" fmla="*/ 1490 w 10000"/>
                <a:gd name="connsiteY567" fmla="*/ 123 h 10126"/>
                <a:gd name="connsiteX568" fmla="*/ 1654 w 10000"/>
                <a:gd name="connsiteY568" fmla="*/ 0 h 10126"/>
                <a:gd name="connsiteX569" fmla="*/ 1895 w 10000"/>
                <a:gd name="connsiteY569" fmla="*/ 61 h 10126"/>
                <a:gd name="connsiteX570" fmla="*/ 1925 w 10000"/>
                <a:gd name="connsiteY570" fmla="*/ 57 h 10126"/>
                <a:gd name="connsiteX571" fmla="*/ 2151 w 10000"/>
                <a:gd name="connsiteY571" fmla="*/ 94 h 10126"/>
                <a:gd name="connsiteX572" fmla="*/ 2280 w 10000"/>
                <a:gd name="connsiteY572" fmla="*/ 123 h 10126"/>
                <a:gd name="connsiteX573" fmla="*/ 2385 w 10000"/>
                <a:gd name="connsiteY573" fmla="*/ 131 h 10126"/>
                <a:gd name="connsiteX574" fmla="*/ 2517 w 10000"/>
                <a:gd name="connsiteY574" fmla="*/ 225 h 10126"/>
                <a:gd name="connsiteX0" fmla="*/ 2525 w 10000"/>
                <a:gd name="connsiteY0" fmla="*/ 225 h 10126"/>
                <a:gd name="connsiteX1" fmla="*/ 2880 w 10000"/>
                <a:gd name="connsiteY1" fmla="*/ 115 h 10126"/>
                <a:gd name="connsiteX2" fmla="*/ 3155 w 10000"/>
                <a:gd name="connsiteY2" fmla="*/ 192 h 10126"/>
                <a:gd name="connsiteX3" fmla="*/ 3120 w 10000"/>
                <a:gd name="connsiteY3" fmla="*/ 471 h 10126"/>
                <a:gd name="connsiteX4" fmla="*/ 3152 w 10000"/>
                <a:gd name="connsiteY4" fmla="*/ 534 h 10126"/>
                <a:gd name="connsiteX5" fmla="*/ 3093 w 10000"/>
                <a:gd name="connsiteY5" fmla="*/ 619 h 10126"/>
                <a:gd name="connsiteX6" fmla="*/ 2992 w 10000"/>
                <a:gd name="connsiteY6" fmla="*/ 710 h 10126"/>
                <a:gd name="connsiteX7" fmla="*/ 3043 w 10000"/>
                <a:gd name="connsiteY7" fmla="*/ 734 h 10126"/>
                <a:gd name="connsiteX8" fmla="*/ 3087 w 10000"/>
                <a:gd name="connsiteY8" fmla="*/ 776 h 10126"/>
                <a:gd name="connsiteX9" fmla="*/ 3130 w 10000"/>
                <a:gd name="connsiteY9" fmla="*/ 823 h 10126"/>
                <a:gd name="connsiteX10" fmla="*/ 3174 w 10000"/>
                <a:gd name="connsiteY10" fmla="*/ 872 h 10126"/>
                <a:gd name="connsiteX11" fmla="*/ 3212 w 10000"/>
                <a:gd name="connsiteY11" fmla="*/ 932 h 10126"/>
                <a:gd name="connsiteX12" fmla="*/ 3256 w 10000"/>
                <a:gd name="connsiteY12" fmla="*/ 986 h 10126"/>
                <a:gd name="connsiteX13" fmla="*/ 3281 w 10000"/>
                <a:gd name="connsiteY13" fmla="*/ 1046 h 10126"/>
                <a:gd name="connsiteX14" fmla="*/ 3312 w 10000"/>
                <a:gd name="connsiteY14" fmla="*/ 1113 h 10126"/>
                <a:gd name="connsiteX15" fmla="*/ 3331 w 10000"/>
                <a:gd name="connsiteY15" fmla="*/ 1180 h 10126"/>
                <a:gd name="connsiteX16" fmla="*/ 3043 w 10000"/>
                <a:gd name="connsiteY16" fmla="*/ 1180 h 10126"/>
                <a:gd name="connsiteX17" fmla="*/ 3043 w 10000"/>
                <a:gd name="connsiteY17" fmla="*/ 1366 h 10126"/>
                <a:gd name="connsiteX18" fmla="*/ 3074 w 10000"/>
                <a:gd name="connsiteY18" fmla="*/ 1444 h 10126"/>
                <a:gd name="connsiteX19" fmla="*/ 3118 w 10000"/>
                <a:gd name="connsiteY19" fmla="*/ 1511 h 10126"/>
                <a:gd name="connsiteX20" fmla="*/ 3168 w 10000"/>
                <a:gd name="connsiteY20" fmla="*/ 1571 h 10126"/>
                <a:gd name="connsiteX21" fmla="*/ 3225 w 10000"/>
                <a:gd name="connsiteY21" fmla="*/ 1613 h 10126"/>
                <a:gd name="connsiteX22" fmla="*/ 3281 w 10000"/>
                <a:gd name="connsiteY22" fmla="*/ 1655 h 10126"/>
                <a:gd name="connsiteX23" fmla="*/ 3350 w 10000"/>
                <a:gd name="connsiteY23" fmla="*/ 1685 h 10126"/>
                <a:gd name="connsiteX24" fmla="*/ 3413 w 10000"/>
                <a:gd name="connsiteY24" fmla="*/ 1715 h 10126"/>
                <a:gd name="connsiteX25" fmla="*/ 3488 w 10000"/>
                <a:gd name="connsiteY25" fmla="*/ 1740 h 10126"/>
                <a:gd name="connsiteX26" fmla="*/ 3626 w 10000"/>
                <a:gd name="connsiteY26" fmla="*/ 1794 h 10126"/>
                <a:gd name="connsiteX27" fmla="*/ 3764 w 10000"/>
                <a:gd name="connsiteY27" fmla="*/ 1847 h 10126"/>
                <a:gd name="connsiteX28" fmla="*/ 3827 w 10000"/>
                <a:gd name="connsiteY28" fmla="*/ 1884 h 10126"/>
                <a:gd name="connsiteX29" fmla="*/ 3890 w 10000"/>
                <a:gd name="connsiteY29" fmla="*/ 1932 h 10126"/>
                <a:gd name="connsiteX30" fmla="*/ 3946 w 10000"/>
                <a:gd name="connsiteY30" fmla="*/ 1981 h 10126"/>
                <a:gd name="connsiteX31" fmla="*/ 4003 w 10000"/>
                <a:gd name="connsiteY31" fmla="*/ 2035 h 10126"/>
                <a:gd name="connsiteX32" fmla="*/ 3959 w 10000"/>
                <a:gd name="connsiteY32" fmla="*/ 2596 h 10126"/>
                <a:gd name="connsiteX33" fmla="*/ 4034 w 10000"/>
                <a:gd name="connsiteY33" fmla="*/ 2650 h 10126"/>
                <a:gd name="connsiteX34" fmla="*/ 4141 w 10000"/>
                <a:gd name="connsiteY34" fmla="*/ 2716 h 10126"/>
                <a:gd name="connsiteX35" fmla="*/ 4260 w 10000"/>
                <a:gd name="connsiteY35" fmla="*/ 2776 h 10126"/>
                <a:gd name="connsiteX36" fmla="*/ 4398 w 10000"/>
                <a:gd name="connsiteY36" fmla="*/ 2831 h 10126"/>
                <a:gd name="connsiteX37" fmla="*/ 4536 w 10000"/>
                <a:gd name="connsiteY37" fmla="*/ 2884 h 10126"/>
                <a:gd name="connsiteX38" fmla="*/ 4668 w 10000"/>
                <a:gd name="connsiteY38" fmla="*/ 2926 h 10126"/>
                <a:gd name="connsiteX39" fmla="*/ 4724 w 10000"/>
                <a:gd name="connsiteY39" fmla="*/ 2944 h 10126"/>
                <a:gd name="connsiteX40" fmla="*/ 4780 w 10000"/>
                <a:gd name="connsiteY40" fmla="*/ 2956 h 10126"/>
                <a:gd name="connsiteX41" fmla="*/ 4831 w 10000"/>
                <a:gd name="connsiteY41" fmla="*/ 2962 h 10126"/>
                <a:gd name="connsiteX42" fmla="*/ 4875 w 10000"/>
                <a:gd name="connsiteY42" fmla="*/ 2962 h 10126"/>
                <a:gd name="connsiteX43" fmla="*/ 4887 w 10000"/>
                <a:gd name="connsiteY43" fmla="*/ 3005 h 10126"/>
                <a:gd name="connsiteX44" fmla="*/ 4918 w 10000"/>
                <a:gd name="connsiteY44" fmla="*/ 3041 h 10126"/>
                <a:gd name="connsiteX45" fmla="*/ 4950 w 10000"/>
                <a:gd name="connsiteY45" fmla="*/ 3059 h 10126"/>
                <a:gd name="connsiteX46" fmla="*/ 4987 w 10000"/>
                <a:gd name="connsiteY46" fmla="*/ 3071 h 10126"/>
                <a:gd name="connsiteX47" fmla="*/ 5019 w 10000"/>
                <a:gd name="connsiteY47" fmla="*/ 3083 h 10126"/>
                <a:gd name="connsiteX48" fmla="*/ 5063 w 10000"/>
                <a:gd name="connsiteY48" fmla="*/ 3083 h 10126"/>
                <a:gd name="connsiteX49" fmla="*/ 5107 w 10000"/>
                <a:gd name="connsiteY49" fmla="*/ 3077 h 10126"/>
                <a:gd name="connsiteX50" fmla="*/ 5157 w 10000"/>
                <a:gd name="connsiteY50" fmla="*/ 3071 h 10126"/>
                <a:gd name="connsiteX51" fmla="*/ 5245 w 10000"/>
                <a:gd name="connsiteY51" fmla="*/ 3053 h 10126"/>
                <a:gd name="connsiteX52" fmla="*/ 5345 w 10000"/>
                <a:gd name="connsiteY52" fmla="*/ 3029 h 10126"/>
                <a:gd name="connsiteX53" fmla="*/ 5383 w 10000"/>
                <a:gd name="connsiteY53" fmla="*/ 3029 h 10126"/>
                <a:gd name="connsiteX54" fmla="*/ 5427 w 10000"/>
                <a:gd name="connsiteY54" fmla="*/ 3023 h 10126"/>
                <a:gd name="connsiteX55" fmla="*/ 5464 w 10000"/>
                <a:gd name="connsiteY55" fmla="*/ 3029 h 10126"/>
                <a:gd name="connsiteX56" fmla="*/ 5502 w 10000"/>
                <a:gd name="connsiteY56" fmla="*/ 3035 h 10126"/>
                <a:gd name="connsiteX57" fmla="*/ 5558 w 10000"/>
                <a:gd name="connsiteY57" fmla="*/ 3071 h 10126"/>
                <a:gd name="connsiteX58" fmla="*/ 5596 w 10000"/>
                <a:gd name="connsiteY58" fmla="*/ 3101 h 10126"/>
                <a:gd name="connsiteX59" fmla="*/ 5634 w 10000"/>
                <a:gd name="connsiteY59" fmla="*/ 3143 h 10126"/>
                <a:gd name="connsiteX60" fmla="*/ 5665 w 10000"/>
                <a:gd name="connsiteY60" fmla="*/ 3179 h 10126"/>
                <a:gd name="connsiteX61" fmla="*/ 5696 w 10000"/>
                <a:gd name="connsiteY61" fmla="*/ 3216 h 10126"/>
                <a:gd name="connsiteX62" fmla="*/ 5734 w 10000"/>
                <a:gd name="connsiteY62" fmla="*/ 3252 h 10126"/>
                <a:gd name="connsiteX63" fmla="*/ 5759 w 10000"/>
                <a:gd name="connsiteY63" fmla="*/ 3270 h 10126"/>
                <a:gd name="connsiteX64" fmla="*/ 5778 w 10000"/>
                <a:gd name="connsiteY64" fmla="*/ 3282 h 10126"/>
                <a:gd name="connsiteX65" fmla="*/ 5803 w 10000"/>
                <a:gd name="connsiteY65" fmla="*/ 3294 h 10126"/>
                <a:gd name="connsiteX66" fmla="*/ 5834 w 10000"/>
                <a:gd name="connsiteY66" fmla="*/ 3300 h 10126"/>
                <a:gd name="connsiteX67" fmla="*/ 5935 w 10000"/>
                <a:gd name="connsiteY67" fmla="*/ 3319 h 10126"/>
                <a:gd name="connsiteX68" fmla="*/ 6073 w 10000"/>
                <a:gd name="connsiteY68" fmla="*/ 3354 h 10126"/>
                <a:gd name="connsiteX69" fmla="*/ 6230 w 10000"/>
                <a:gd name="connsiteY69" fmla="*/ 3390 h 10126"/>
                <a:gd name="connsiteX70" fmla="*/ 6405 w 10000"/>
                <a:gd name="connsiteY70" fmla="*/ 3433 h 10126"/>
                <a:gd name="connsiteX71" fmla="*/ 6568 w 10000"/>
                <a:gd name="connsiteY71" fmla="*/ 3463 h 10126"/>
                <a:gd name="connsiteX72" fmla="*/ 6719 w 10000"/>
                <a:gd name="connsiteY72" fmla="*/ 3487 h 10126"/>
                <a:gd name="connsiteX73" fmla="*/ 6788 w 10000"/>
                <a:gd name="connsiteY73" fmla="*/ 3493 h 10126"/>
                <a:gd name="connsiteX74" fmla="*/ 6838 w 10000"/>
                <a:gd name="connsiteY74" fmla="*/ 3499 h 10126"/>
                <a:gd name="connsiteX75" fmla="*/ 6888 w 10000"/>
                <a:gd name="connsiteY75" fmla="*/ 3493 h 10126"/>
                <a:gd name="connsiteX76" fmla="*/ 6913 w 10000"/>
                <a:gd name="connsiteY76" fmla="*/ 3481 h 10126"/>
                <a:gd name="connsiteX77" fmla="*/ 6888 w 10000"/>
                <a:gd name="connsiteY77" fmla="*/ 3439 h 10126"/>
                <a:gd name="connsiteX78" fmla="*/ 6857 w 10000"/>
                <a:gd name="connsiteY78" fmla="*/ 3390 h 10126"/>
                <a:gd name="connsiteX79" fmla="*/ 6838 w 10000"/>
                <a:gd name="connsiteY79" fmla="*/ 3342 h 10126"/>
                <a:gd name="connsiteX80" fmla="*/ 6826 w 10000"/>
                <a:gd name="connsiteY80" fmla="*/ 3288 h 10126"/>
                <a:gd name="connsiteX81" fmla="*/ 6794 w 10000"/>
                <a:gd name="connsiteY81" fmla="*/ 3197 h 10126"/>
                <a:gd name="connsiteX82" fmla="*/ 6788 w 10000"/>
                <a:gd name="connsiteY82" fmla="*/ 3149 h 10126"/>
                <a:gd name="connsiteX83" fmla="*/ 6788 w 10000"/>
                <a:gd name="connsiteY83" fmla="*/ 2962 h 10126"/>
                <a:gd name="connsiteX84" fmla="*/ 6788 w 10000"/>
                <a:gd name="connsiteY84" fmla="*/ 2776 h 10126"/>
                <a:gd name="connsiteX85" fmla="*/ 6995 w 10000"/>
                <a:gd name="connsiteY85" fmla="*/ 2776 h 10126"/>
                <a:gd name="connsiteX86" fmla="*/ 7033 w 10000"/>
                <a:gd name="connsiteY86" fmla="*/ 2842 h 10126"/>
                <a:gd name="connsiteX87" fmla="*/ 7058 w 10000"/>
                <a:gd name="connsiteY87" fmla="*/ 2884 h 10126"/>
                <a:gd name="connsiteX88" fmla="*/ 7095 w 10000"/>
                <a:gd name="connsiteY88" fmla="*/ 2920 h 10126"/>
                <a:gd name="connsiteX89" fmla="*/ 7127 w 10000"/>
                <a:gd name="connsiteY89" fmla="*/ 2962 h 10126"/>
                <a:gd name="connsiteX90" fmla="*/ 7120 w 10000"/>
                <a:gd name="connsiteY90" fmla="*/ 3059 h 10126"/>
                <a:gd name="connsiteX91" fmla="*/ 7102 w 10000"/>
                <a:gd name="connsiteY91" fmla="*/ 3119 h 10126"/>
                <a:gd name="connsiteX92" fmla="*/ 7089 w 10000"/>
                <a:gd name="connsiteY92" fmla="*/ 3167 h 10126"/>
                <a:gd name="connsiteX93" fmla="*/ 7077 w 10000"/>
                <a:gd name="connsiteY93" fmla="*/ 3222 h 10126"/>
                <a:gd name="connsiteX94" fmla="*/ 7208 w 10000"/>
                <a:gd name="connsiteY94" fmla="*/ 3258 h 10126"/>
                <a:gd name="connsiteX95" fmla="*/ 7334 w 10000"/>
                <a:gd name="connsiteY95" fmla="*/ 3294 h 10126"/>
                <a:gd name="connsiteX96" fmla="*/ 7396 w 10000"/>
                <a:gd name="connsiteY96" fmla="*/ 3313 h 10126"/>
                <a:gd name="connsiteX97" fmla="*/ 7459 w 10000"/>
                <a:gd name="connsiteY97" fmla="*/ 3325 h 10126"/>
                <a:gd name="connsiteX98" fmla="*/ 7522 w 10000"/>
                <a:gd name="connsiteY98" fmla="*/ 3331 h 10126"/>
                <a:gd name="connsiteX99" fmla="*/ 7585 w 10000"/>
                <a:gd name="connsiteY99" fmla="*/ 3336 h 10126"/>
                <a:gd name="connsiteX100" fmla="*/ 7591 w 10000"/>
                <a:gd name="connsiteY100" fmla="*/ 3360 h 10126"/>
                <a:gd name="connsiteX101" fmla="*/ 7604 w 10000"/>
                <a:gd name="connsiteY101" fmla="*/ 3384 h 10126"/>
                <a:gd name="connsiteX102" fmla="*/ 7622 w 10000"/>
                <a:gd name="connsiteY102" fmla="*/ 3402 h 10126"/>
                <a:gd name="connsiteX103" fmla="*/ 7654 w 10000"/>
                <a:gd name="connsiteY103" fmla="*/ 3420 h 10126"/>
                <a:gd name="connsiteX104" fmla="*/ 7704 w 10000"/>
                <a:gd name="connsiteY104" fmla="*/ 3439 h 10126"/>
                <a:gd name="connsiteX105" fmla="*/ 7748 w 10000"/>
                <a:gd name="connsiteY105" fmla="*/ 3445 h 10126"/>
                <a:gd name="connsiteX106" fmla="*/ 7798 w 10000"/>
                <a:gd name="connsiteY106" fmla="*/ 3445 h 10126"/>
                <a:gd name="connsiteX107" fmla="*/ 7836 w 10000"/>
                <a:gd name="connsiteY107" fmla="*/ 3433 h 10126"/>
                <a:gd name="connsiteX108" fmla="*/ 7880 w 10000"/>
                <a:gd name="connsiteY108" fmla="*/ 3414 h 10126"/>
                <a:gd name="connsiteX109" fmla="*/ 7911 w 10000"/>
                <a:gd name="connsiteY109" fmla="*/ 3396 h 10126"/>
                <a:gd name="connsiteX110" fmla="*/ 7949 w 10000"/>
                <a:gd name="connsiteY110" fmla="*/ 3372 h 10126"/>
                <a:gd name="connsiteX111" fmla="*/ 7980 w 10000"/>
                <a:gd name="connsiteY111" fmla="*/ 3342 h 10126"/>
                <a:gd name="connsiteX112" fmla="*/ 8011 w 10000"/>
                <a:gd name="connsiteY112" fmla="*/ 3313 h 10126"/>
                <a:gd name="connsiteX113" fmla="*/ 8036 w 10000"/>
                <a:gd name="connsiteY113" fmla="*/ 3282 h 10126"/>
                <a:gd name="connsiteX114" fmla="*/ 8087 w 10000"/>
                <a:gd name="connsiteY114" fmla="*/ 3203 h 10126"/>
                <a:gd name="connsiteX115" fmla="*/ 8118 w 10000"/>
                <a:gd name="connsiteY115" fmla="*/ 3131 h 10126"/>
                <a:gd name="connsiteX116" fmla="*/ 8149 w 10000"/>
                <a:gd name="connsiteY116" fmla="*/ 3065 h 10126"/>
                <a:gd name="connsiteX117" fmla="*/ 8168 w 10000"/>
                <a:gd name="connsiteY117" fmla="*/ 2999 h 10126"/>
                <a:gd name="connsiteX118" fmla="*/ 8231 w 10000"/>
                <a:gd name="connsiteY118" fmla="*/ 2932 h 10126"/>
                <a:gd name="connsiteX119" fmla="*/ 8294 w 10000"/>
                <a:gd name="connsiteY119" fmla="*/ 2866 h 10126"/>
                <a:gd name="connsiteX120" fmla="*/ 8363 w 10000"/>
                <a:gd name="connsiteY120" fmla="*/ 2813 h 10126"/>
                <a:gd name="connsiteX121" fmla="*/ 8432 w 10000"/>
                <a:gd name="connsiteY121" fmla="*/ 2752 h 10126"/>
                <a:gd name="connsiteX122" fmla="*/ 8507 w 10000"/>
                <a:gd name="connsiteY122" fmla="*/ 2704 h 10126"/>
                <a:gd name="connsiteX123" fmla="*/ 8576 w 10000"/>
                <a:gd name="connsiteY123" fmla="*/ 2656 h 10126"/>
                <a:gd name="connsiteX124" fmla="*/ 8651 w 10000"/>
                <a:gd name="connsiteY124" fmla="*/ 2614 h 10126"/>
                <a:gd name="connsiteX125" fmla="*/ 8726 w 10000"/>
                <a:gd name="connsiteY125" fmla="*/ 2570 h 10126"/>
                <a:gd name="connsiteX126" fmla="*/ 8808 w 10000"/>
                <a:gd name="connsiteY126" fmla="*/ 2528 h 10126"/>
                <a:gd name="connsiteX127" fmla="*/ 8890 w 10000"/>
                <a:gd name="connsiteY127" fmla="*/ 2492 h 10126"/>
                <a:gd name="connsiteX128" fmla="*/ 8971 w 10000"/>
                <a:gd name="connsiteY128" fmla="*/ 2462 h 10126"/>
                <a:gd name="connsiteX129" fmla="*/ 9059 w 10000"/>
                <a:gd name="connsiteY129" fmla="*/ 2432 h 10126"/>
                <a:gd name="connsiteX130" fmla="*/ 9235 w 10000"/>
                <a:gd name="connsiteY130" fmla="*/ 2378 h 10126"/>
                <a:gd name="connsiteX131" fmla="*/ 9417 w 10000"/>
                <a:gd name="connsiteY131" fmla="*/ 2335 h 10126"/>
                <a:gd name="connsiteX132" fmla="*/ 9454 w 10000"/>
                <a:gd name="connsiteY132" fmla="*/ 2384 h 10126"/>
                <a:gd name="connsiteX133" fmla="*/ 9504 w 10000"/>
                <a:gd name="connsiteY133" fmla="*/ 2444 h 10126"/>
                <a:gd name="connsiteX134" fmla="*/ 9573 w 10000"/>
                <a:gd name="connsiteY134" fmla="*/ 2510 h 10126"/>
                <a:gd name="connsiteX135" fmla="*/ 9642 w 10000"/>
                <a:gd name="connsiteY135" fmla="*/ 2583 h 10126"/>
                <a:gd name="connsiteX136" fmla="*/ 9718 w 10000"/>
                <a:gd name="connsiteY136" fmla="*/ 2644 h 10126"/>
                <a:gd name="connsiteX137" fmla="*/ 9799 w 10000"/>
                <a:gd name="connsiteY137" fmla="*/ 2692 h 10126"/>
                <a:gd name="connsiteX138" fmla="*/ 9837 w 10000"/>
                <a:gd name="connsiteY138" fmla="*/ 2716 h 10126"/>
                <a:gd name="connsiteX139" fmla="*/ 9875 w 10000"/>
                <a:gd name="connsiteY139" fmla="*/ 2728 h 10126"/>
                <a:gd name="connsiteX140" fmla="*/ 9918 w 10000"/>
                <a:gd name="connsiteY140" fmla="*/ 2740 h 10126"/>
                <a:gd name="connsiteX141" fmla="*/ 9956 w 10000"/>
                <a:gd name="connsiteY141" fmla="*/ 2740 h 10126"/>
                <a:gd name="connsiteX142" fmla="*/ 10000 w 10000"/>
                <a:gd name="connsiteY142" fmla="*/ 2668 h 10126"/>
                <a:gd name="connsiteX143" fmla="*/ 9975 w 10000"/>
                <a:gd name="connsiteY143" fmla="*/ 2795 h 10126"/>
                <a:gd name="connsiteX144" fmla="*/ 9944 w 10000"/>
                <a:gd name="connsiteY144" fmla="*/ 2938 h 10126"/>
                <a:gd name="connsiteX145" fmla="*/ 9931 w 10000"/>
                <a:gd name="connsiteY145" fmla="*/ 3005 h 10126"/>
                <a:gd name="connsiteX146" fmla="*/ 9906 w 10000"/>
                <a:gd name="connsiteY146" fmla="*/ 3065 h 10126"/>
                <a:gd name="connsiteX147" fmla="*/ 9887 w 10000"/>
                <a:gd name="connsiteY147" fmla="*/ 3089 h 10126"/>
                <a:gd name="connsiteX148" fmla="*/ 9875 w 10000"/>
                <a:gd name="connsiteY148" fmla="*/ 3113 h 10126"/>
                <a:gd name="connsiteX149" fmla="*/ 9856 w 10000"/>
                <a:gd name="connsiteY149" fmla="*/ 3131 h 10126"/>
                <a:gd name="connsiteX150" fmla="*/ 9837 w 10000"/>
                <a:gd name="connsiteY150" fmla="*/ 3149 h 10126"/>
                <a:gd name="connsiteX151" fmla="*/ 9749 w 10000"/>
                <a:gd name="connsiteY151" fmla="*/ 3167 h 10126"/>
                <a:gd name="connsiteX152" fmla="*/ 9605 w 10000"/>
                <a:gd name="connsiteY152" fmla="*/ 3216 h 10126"/>
                <a:gd name="connsiteX153" fmla="*/ 9536 w 10000"/>
                <a:gd name="connsiteY153" fmla="*/ 3258 h 10126"/>
                <a:gd name="connsiteX154" fmla="*/ 9479 w 10000"/>
                <a:gd name="connsiteY154" fmla="*/ 3294 h 10126"/>
                <a:gd name="connsiteX155" fmla="*/ 9448 w 10000"/>
                <a:gd name="connsiteY155" fmla="*/ 3313 h 10126"/>
                <a:gd name="connsiteX156" fmla="*/ 9435 w 10000"/>
                <a:gd name="connsiteY156" fmla="*/ 3331 h 10126"/>
                <a:gd name="connsiteX157" fmla="*/ 9423 w 10000"/>
                <a:gd name="connsiteY157" fmla="*/ 3354 h 10126"/>
                <a:gd name="connsiteX158" fmla="*/ 9417 w 10000"/>
                <a:gd name="connsiteY158" fmla="*/ 3372 h 10126"/>
                <a:gd name="connsiteX159" fmla="*/ 9423 w 10000"/>
                <a:gd name="connsiteY159" fmla="*/ 3583 h 10126"/>
                <a:gd name="connsiteX160" fmla="*/ 9417 w 10000"/>
                <a:gd name="connsiteY160" fmla="*/ 3824 h 10126"/>
                <a:gd name="connsiteX161" fmla="*/ 9398 w 10000"/>
                <a:gd name="connsiteY161" fmla="*/ 3884 h 10126"/>
                <a:gd name="connsiteX162" fmla="*/ 9391 w 10000"/>
                <a:gd name="connsiteY162" fmla="*/ 3950 h 10126"/>
                <a:gd name="connsiteX163" fmla="*/ 9379 w 10000"/>
                <a:gd name="connsiteY163" fmla="*/ 4004 h 10126"/>
                <a:gd name="connsiteX164" fmla="*/ 9366 w 10000"/>
                <a:gd name="connsiteY164" fmla="*/ 4059 h 10126"/>
                <a:gd name="connsiteX165" fmla="*/ 9348 w 10000"/>
                <a:gd name="connsiteY165" fmla="*/ 4108 h 10126"/>
                <a:gd name="connsiteX166" fmla="*/ 9316 w 10000"/>
                <a:gd name="connsiteY166" fmla="*/ 4156 h 10126"/>
                <a:gd name="connsiteX167" fmla="*/ 9285 w 10000"/>
                <a:gd name="connsiteY167" fmla="*/ 4192 h 10126"/>
                <a:gd name="connsiteX168" fmla="*/ 9247 w 10000"/>
                <a:gd name="connsiteY168" fmla="*/ 4222 h 10126"/>
                <a:gd name="connsiteX169" fmla="*/ 9228 w 10000"/>
                <a:gd name="connsiteY169" fmla="*/ 4240 h 10126"/>
                <a:gd name="connsiteX170" fmla="*/ 9184 w 10000"/>
                <a:gd name="connsiteY170" fmla="*/ 4246 h 10126"/>
                <a:gd name="connsiteX171" fmla="*/ 9141 w 10000"/>
                <a:gd name="connsiteY171" fmla="*/ 4252 h 10126"/>
                <a:gd name="connsiteX172" fmla="*/ 9090 w 10000"/>
                <a:gd name="connsiteY172" fmla="*/ 4258 h 10126"/>
                <a:gd name="connsiteX173" fmla="*/ 9040 w 10000"/>
                <a:gd name="connsiteY173" fmla="*/ 4264 h 10126"/>
                <a:gd name="connsiteX174" fmla="*/ 8996 w 10000"/>
                <a:gd name="connsiteY174" fmla="*/ 4283 h 10126"/>
                <a:gd name="connsiteX175" fmla="*/ 8977 w 10000"/>
                <a:gd name="connsiteY175" fmla="*/ 4289 h 10126"/>
                <a:gd name="connsiteX176" fmla="*/ 8965 w 10000"/>
                <a:gd name="connsiteY176" fmla="*/ 4307 h 10126"/>
                <a:gd name="connsiteX177" fmla="*/ 8959 w 10000"/>
                <a:gd name="connsiteY177" fmla="*/ 4319 h 10126"/>
                <a:gd name="connsiteX178" fmla="*/ 8959 w 10000"/>
                <a:gd name="connsiteY178" fmla="*/ 4337 h 10126"/>
                <a:gd name="connsiteX179" fmla="*/ 8952 w 10000"/>
                <a:gd name="connsiteY179" fmla="*/ 4408 h 10126"/>
                <a:gd name="connsiteX180" fmla="*/ 8952 w 10000"/>
                <a:gd name="connsiteY180" fmla="*/ 4493 h 10126"/>
                <a:gd name="connsiteX181" fmla="*/ 8940 w 10000"/>
                <a:gd name="connsiteY181" fmla="*/ 4583 h 10126"/>
                <a:gd name="connsiteX182" fmla="*/ 8927 w 10000"/>
                <a:gd name="connsiteY182" fmla="*/ 4667 h 10126"/>
                <a:gd name="connsiteX183" fmla="*/ 8908 w 10000"/>
                <a:gd name="connsiteY183" fmla="*/ 4753 h 10126"/>
                <a:gd name="connsiteX184" fmla="*/ 8890 w 10000"/>
                <a:gd name="connsiteY184" fmla="*/ 4831 h 10126"/>
                <a:gd name="connsiteX185" fmla="*/ 8864 w 10000"/>
                <a:gd name="connsiteY185" fmla="*/ 4902 h 10126"/>
                <a:gd name="connsiteX186" fmla="*/ 8833 w 10000"/>
                <a:gd name="connsiteY186" fmla="*/ 4969 h 10126"/>
                <a:gd name="connsiteX187" fmla="*/ 8538 w 10000"/>
                <a:gd name="connsiteY187" fmla="*/ 4480 h 10126"/>
                <a:gd name="connsiteX188" fmla="*/ 8526 w 10000"/>
                <a:gd name="connsiteY188" fmla="*/ 4505 h 10126"/>
                <a:gd name="connsiteX189" fmla="*/ 8494 w 10000"/>
                <a:gd name="connsiteY189" fmla="*/ 4559 h 10126"/>
                <a:gd name="connsiteX190" fmla="*/ 8463 w 10000"/>
                <a:gd name="connsiteY190" fmla="*/ 4589 h 10126"/>
                <a:gd name="connsiteX191" fmla="*/ 8438 w 10000"/>
                <a:gd name="connsiteY191" fmla="*/ 4613 h 10126"/>
                <a:gd name="connsiteX192" fmla="*/ 8407 w 10000"/>
                <a:gd name="connsiteY192" fmla="*/ 4631 h 10126"/>
                <a:gd name="connsiteX193" fmla="*/ 8375 w 10000"/>
                <a:gd name="connsiteY193" fmla="*/ 4637 h 10126"/>
                <a:gd name="connsiteX194" fmla="*/ 8338 w 10000"/>
                <a:gd name="connsiteY194" fmla="*/ 4631 h 10126"/>
                <a:gd name="connsiteX195" fmla="*/ 8312 w 10000"/>
                <a:gd name="connsiteY195" fmla="*/ 4625 h 10126"/>
                <a:gd name="connsiteX196" fmla="*/ 8287 w 10000"/>
                <a:gd name="connsiteY196" fmla="*/ 4607 h 10126"/>
                <a:gd name="connsiteX197" fmla="*/ 8256 w 10000"/>
                <a:gd name="connsiteY197" fmla="*/ 4589 h 10126"/>
                <a:gd name="connsiteX198" fmla="*/ 8237 w 10000"/>
                <a:gd name="connsiteY198" fmla="*/ 4559 h 10126"/>
                <a:gd name="connsiteX199" fmla="*/ 8225 w 10000"/>
                <a:gd name="connsiteY199" fmla="*/ 4535 h 10126"/>
                <a:gd name="connsiteX200" fmla="*/ 8206 w 10000"/>
                <a:gd name="connsiteY200" fmla="*/ 4511 h 10126"/>
                <a:gd name="connsiteX201" fmla="*/ 8206 w 10000"/>
                <a:gd name="connsiteY201" fmla="*/ 4480 h 10126"/>
                <a:gd name="connsiteX202" fmla="*/ 8206 w 10000"/>
                <a:gd name="connsiteY202" fmla="*/ 4444 h 10126"/>
                <a:gd name="connsiteX203" fmla="*/ 8225 w 10000"/>
                <a:gd name="connsiteY203" fmla="*/ 4408 h 10126"/>
                <a:gd name="connsiteX204" fmla="*/ 8237 w 10000"/>
                <a:gd name="connsiteY204" fmla="*/ 4372 h 10126"/>
                <a:gd name="connsiteX205" fmla="*/ 8250 w 10000"/>
                <a:gd name="connsiteY205" fmla="*/ 4337 h 10126"/>
                <a:gd name="connsiteX206" fmla="*/ 8300 w 10000"/>
                <a:gd name="connsiteY206" fmla="*/ 4270 h 10126"/>
                <a:gd name="connsiteX207" fmla="*/ 8356 w 10000"/>
                <a:gd name="connsiteY207" fmla="*/ 4204 h 10126"/>
                <a:gd name="connsiteX208" fmla="*/ 8407 w 10000"/>
                <a:gd name="connsiteY208" fmla="*/ 4144 h 10126"/>
                <a:gd name="connsiteX209" fmla="*/ 8457 w 10000"/>
                <a:gd name="connsiteY209" fmla="*/ 4078 h 10126"/>
                <a:gd name="connsiteX210" fmla="*/ 8469 w 10000"/>
                <a:gd name="connsiteY210" fmla="*/ 4041 h 10126"/>
                <a:gd name="connsiteX211" fmla="*/ 8482 w 10000"/>
                <a:gd name="connsiteY211" fmla="*/ 4010 h 10126"/>
                <a:gd name="connsiteX212" fmla="*/ 8501 w 10000"/>
                <a:gd name="connsiteY212" fmla="*/ 3968 h 10126"/>
                <a:gd name="connsiteX213" fmla="*/ 8501 w 10000"/>
                <a:gd name="connsiteY213" fmla="*/ 3932 h 10126"/>
                <a:gd name="connsiteX214" fmla="*/ 7748 w 10000"/>
                <a:gd name="connsiteY214" fmla="*/ 3932 h 10126"/>
                <a:gd name="connsiteX215" fmla="*/ 7723 w 10000"/>
                <a:gd name="connsiteY215" fmla="*/ 3926 h 10126"/>
                <a:gd name="connsiteX216" fmla="*/ 7685 w 10000"/>
                <a:gd name="connsiteY216" fmla="*/ 3908 h 10126"/>
                <a:gd name="connsiteX217" fmla="*/ 7660 w 10000"/>
                <a:gd name="connsiteY217" fmla="*/ 3872 h 10126"/>
                <a:gd name="connsiteX218" fmla="*/ 7635 w 10000"/>
                <a:gd name="connsiteY218" fmla="*/ 3836 h 10126"/>
                <a:gd name="connsiteX219" fmla="*/ 7616 w 10000"/>
                <a:gd name="connsiteY219" fmla="*/ 3788 h 10126"/>
                <a:gd name="connsiteX220" fmla="*/ 7597 w 10000"/>
                <a:gd name="connsiteY220" fmla="*/ 3740 h 10126"/>
                <a:gd name="connsiteX221" fmla="*/ 7591 w 10000"/>
                <a:gd name="connsiteY221" fmla="*/ 3686 h 10126"/>
                <a:gd name="connsiteX222" fmla="*/ 7585 w 10000"/>
                <a:gd name="connsiteY222" fmla="*/ 3631 h 10126"/>
                <a:gd name="connsiteX223" fmla="*/ 7547 w 10000"/>
                <a:gd name="connsiteY223" fmla="*/ 3631 h 10126"/>
                <a:gd name="connsiteX224" fmla="*/ 7516 w 10000"/>
                <a:gd name="connsiteY224" fmla="*/ 3625 h 10126"/>
                <a:gd name="connsiteX225" fmla="*/ 7478 w 10000"/>
                <a:gd name="connsiteY225" fmla="*/ 3619 h 10126"/>
                <a:gd name="connsiteX226" fmla="*/ 7447 w 10000"/>
                <a:gd name="connsiteY226" fmla="*/ 3607 h 10126"/>
                <a:gd name="connsiteX227" fmla="*/ 7415 w 10000"/>
                <a:gd name="connsiteY227" fmla="*/ 3589 h 10126"/>
                <a:gd name="connsiteX228" fmla="*/ 7396 w 10000"/>
                <a:gd name="connsiteY228" fmla="*/ 3571 h 10126"/>
                <a:gd name="connsiteX229" fmla="*/ 7384 w 10000"/>
                <a:gd name="connsiteY229" fmla="*/ 3541 h 10126"/>
                <a:gd name="connsiteX230" fmla="*/ 7378 w 10000"/>
                <a:gd name="connsiteY230" fmla="*/ 3517 h 10126"/>
                <a:gd name="connsiteX231" fmla="*/ 7321 w 10000"/>
                <a:gd name="connsiteY231" fmla="*/ 3517 h 10126"/>
                <a:gd name="connsiteX232" fmla="*/ 7271 w 10000"/>
                <a:gd name="connsiteY232" fmla="*/ 3517 h 10126"/>
                <a:gd name="connsiteX233" fmla="*/ 7221 w 10000"/>
                <a:gd name="connsiteY233" fmla="*/ 3517 h 10126"/>
                <a:gd name="connsiteX234" fmla="*/ 7171 w 10000"/>
                <a:gd name="connsiteY234" fmla="*/ 3517 h 10126"/>
                <a:gd name="connsiteX235" fmla="*/ 7127 w 10000"/>
                <a:gd name="connsiteY235" fmla="*/ 3523 h 10126"/>
                <a:gd name="connsiteX236" fmla="*/ 7095 w 10000"/>
                <a:gd name="connsiteY236" fmla="*/ 3529 h 10126"/>
                <a:gd name="connsiteX237" fmla="*/ 7051 w 10000"/>
                <a:gd name="connsiteY237" fmla="*/ 3547 h 10126"/>
                <a:gd name="connsiteX238" fmla="*/ 7008 w 10000"/>
                <a:gd name="connsiteY238" fmla="*/ 3571 h 10126"/>
                <a:gd name="connsiteX239" fmla="*/ 6976 w 10000"/>
                <a:gd name="connsiteY239" fmla="*/ 3601 h 10126"/>
                <a:gd name="connsiteX240" fmla="*/ 6939 w 10000"/>
                <a:gd name="connsiteY240" fmla="*/ 3631 h 10126"/>
                <a:gd name="connsiteX241" fmla="*/ 6920 w 10000"/>
                <a:gd name="connsiteY241" fmla="*/ 3668 h 10126"/>
                <a:gd name="connsiteX242" fmla="*/ 6913 w 10000"/>
                <a:gd name="connsiteY242" fmla="*/ 3704 h 10126"/>
                <a:gd name="connsiteX243" fmla="*/ 6926 w 10000"/>
                <a:gd name="connsiteY243" fmla="*/ 3728 h 10126"/>
                <a:gd name="connsiteX244" fmla="*/ 6964 w 10000"/>
                <a:gd name="connsiteY244" fmla="*/ 3758 h 10126"/>
                <a:gd name="connsiteX245" fmla="*/ 7008 w 10000"/>
                <a:gd name="connsiteY245" fmla="*/ 3794 h 10126"/>
                <a:gd name="connsiteX246" fmla="*/ 7070 w 10000"/>
                <a:gd name="connsiteY246" fmla="*/ 3830 h 10126"/>
                <a:gd name="connsiteX247" fmla="*/ 7133 w 10000"/>
                <a:gd name="connsiteY247" fmla="*/ 3866 h 10126"/>
                <a:gd name="connsiteX248" fmla="*/ 7196 w 10000"/>
                <a:gd name="connsiteY248" fmla="*/ 3896 h 10126"/>
                <a:gd name="connsiteX249" fmla="*/ 7252 w 10000"/>
                <a:gd name="connsiteY249" fmla="*/ 3920 h 10126"/>
                <a:gd name="connsiteX250" fmla="*/ 7290 w 10000"/>
                <a:gd name="connsiteY250" fmla="*/ 3932 h 10126"/>
                <a:gd name="connsiteX251" fmla="*/ 7208 w 10000"/>
                <a:gd name="connsiteY251" fmla="*/ 3992 h 10126"/>
                <a:gd name="connsiteX252" fmla="*/ 7114 w 10000"/>
                <a:gd name="connsiteY252" fmla="*/ 4066 h 10126"/>
                <a:gd name="connsiteX253" fmla="*/ 7070 w 10000"/>
                <a:gd name="connsiteY253" fmla="*/ 4102 h 10126"/>
                <a:gd name="connsiteX254" fmla="*/ 7033 w 10000"/>
                <a:gd name="connsiteY254" fmla="*/ 4144 h 10126"/>
                <a:gd name="connsiteX255" fmla="*/ 7020 w 10000"/>
                <a:gd name="connsiteY255" fmla="*/ 4162 h 10126"/>
                <a:gd name="connsiteX256" fmla="*/ 7008 w 10000"/>
                <a:gd name="connsiteY256" fmla="*/ 4180 h 10126"/>
                <a:gd name="connsiteX257" fmla="*/ 7001 w 10000"/>
                <a:gd name="connsiteY257" fmla="*/ 4204 h 10126"/>
                <a:gd name="connsiteX258" fmla="*/ 6995 w 10000"/>
                <a:gd name="connsiteY258" fmla="*/ 4222 h 10126"/>
                <a:gd name="connsiteX259" fmla="*/ 7001 w 10000"/>
                <a:gd name="connsiteY259" fmla="*/ 4252 h 10126"/>
                <a:gd name="connsiteX260" fmla="*/ 7008 w 10000"/>
                <a:gd name="connsiteY260" fmla="*/ 4270 h 10126"/>
                <a:gd name="connsiteX261" fmla="*/ 7026 w 10000"/>
                <a:gd name="connsiteY261" fmla="*/ 4295 h 10126"/>
                <a:gd name="connsiteX262" fmla="*/ 7039 w 10000"/>
                <a:gd name="connsiteY262" fmla="*/ 4319 h 10126"/>
                <a:gd name="connsiteX263" fmla="*/ 7089 w 10000"/>
                <a:gd name="connsiteY263" fmla="*/ 4366 h 10126"/>
                <a:gd name="connsiteX264" fmla="*/ 7146 w 10000"/>
                <a:gd name="connsiteY264" fmla="*/ 4414 h 10126"/>
                <a:gd name="connsiteX265" fmla="*/ 7208 w 10000"/>
                <a:gd name="connsiteY265" fmla="*/ 4456 h 10126"/>
                <a:gd name="connsiteX266" fmla="*/ 7277 w 10000"/>
                <a:gd name="connsiteY266" fmla="*/ 4493 h 10126"/>
                <a:gd name="connsiteX267" fmla="*/ 7315 w 10000"/>
                <a:gd name="connsiteY267" fmla="*/ 4505 h 10126"/>
                <a:gd name="connsiteX268" fmla="*/ 7346 w 10000"/>
                <a:gd name="connsiteY268" fmla="*/ 4511 h 10126"/>
                <a:gd name="connsiteX269" fmla="*/ 7384 w 10000"/>
                <a:gd name="connsiteY269" fmla="*/ 4517 h 10126"/>
                <a:gd name="connsiteX270" fmla="*/ 7415 w 10000"/>
                <a:gd name="connsiteY270" fmla="*/ 4523 h 10126"/>
                <a:gd name="connsiteX271" fmla="*/ 7585 w 10000"/>
                <a:gd name="connsiteY271" fmla="*/ 5150 h 10126"/>
                <a:gd name="connsiteX272" fmla="*/ 7491 w 10000"/>
                <a:gd name="connsiteY272" fmla="*/ 5150 h 10126"/>
                <a:gd name="connsiteX273" fmla="*/ 7403 w 10000"/>
                <a:gd name="connsiteY273" fmla="*/ 5150 h 10126"/>
                <a:gd name="connsiteX274" fmla="*/ 7321 w 10000"/>
                <a:gd name="connsiteY274" fmla="*/ 5150 h 10126"/>
                <a:gd name="connsiteX275" fmla="*/ 7252 w 10000"/>
                <a:gd name="connsiteY275" fmla="*/ 5150 h 10126"/>
                <a:gd name="connsiteX276" fmla="*/ 7208 w 10000"/>
                <a:gd name="connsiteY276" fmla="*/ 5144 h 10126"/>
                <a:gd name="connsiteX277" fmla="*/ 7164 w 10000"/>
                <a:gd name="connsiteY277" fmla="*/ 5113 h 10126"/>
                <a:gd name="connsiteX278" fmla="*/ 7133 w 10000"/>
                <a:gd name="connsiteY278" fmla="*/ 5101 h 10126"/>
                <a:gd name="connsiteX279" fmla="*/ 7102 w 10000"/>
                <a:gd name="connsiteY279" fmla="*/ 5089 h 10126"/>
                <a:gd name="connsiteX280" fmla="*/ 7070 w 10000"/>
                <a:gd name="connsiteY280" fmla="*/ 5083 h 10126"/>
                <a:gd name="connsiteX281" fmla="*/ 7039 w 10000"/>
                <a:gd name="connsiteY281" fmla="*/ 5077 h 10126"/>
                <a:gd name="connsiteX282" fmla="*/ 7008 w 10000"/>
                <a:gd name="connsiteY282" fmla="*/ 5089 h 10126"/>
                <a:gd name="connsiteX283" fmla="*/ 6957 w 10000"/>
                <a:gd name="connsiteY283" fmla="*/ 5119 h 10126"/>
                <a:gd name="connsiteX284" fmla="*/ 6895 w 10000"/>
                <a:gd name="connsiteY284" fmla="*/ 5162 h 10126"/>
                <a:gd name="connsiteX285" fmla="*/ 6819 w 10000"/>
                <a:gd name="connsiteY285" fmla="*/ 5210 h 10126"/>
                <a:gd name="connsiteX286" fmla="*/ 6744 w 10000"/>
                <a:gd name="connsiteY286" fmla="*/ 5270 h 10126"/>
                <a:gd name="connsiteX287" fmla="*/ 6681 w 10000"/>
                <a:gd name="connsiteY287" fmla="*/ 5318 h 10126"/>
                <a:gd name="connsiteX288" fmla="*/ 6637 w 10000"/>
                <a:gd name="connsiteY288" fmla="*/ 5354 h 10126"/>
                <a:gd name="connsiteX289" fmla="*/ 6625 w 10000"/>
                <a:gd name="connsiteY289" fmla="*/ 5378 h 10126"/>
                <a:gd name="connsiteX290" fmla="*/ 6750 w 10000"/>
                <a:gd name="connsiteY290" fmla="*/ 5450 h 10126"/>
                <a:gd name="connsiteX291" fmla="*/ 6744 w 10000"/>
                <a:gd name="connsiteY291" fmla="*/ 5487 h 10126"/>
                <a:gd name="connsiteX292" fmla="*/ 6725 w 10000"/>
                <a:gd name="connsiteY292" fmla="*/ 5529 h 10126"/>
                <a:gd name="connsiteX293" fmla="*/ 6706 w 10000"/>
                <a:gd name="connsiteY293" fmla="*/ 5560 h 10126"/>
                <a:gd name="connsiteX294" fmla="*/ 6688 w 10000"/>
                <a:gd name="connsiteY294" fmla="*/ 5602 h 10126"/>
                <a:gd name="connsiteX295" fmla="*/ 6637 w 10000"/>
                <a:gd name="connsiteY295" fmla="*/ 5656 h 10126"/>
                <a:gd name="connsiteX296" fmla="*/ 6581 w 10000"/>
                <a:gd name="connsiteY296" fmla="*/ 5710 h 10126"/>
                <a:gd name="connsiteX297" fmla="*/ 6518 w 10000"/>
                <a:gd name="connsiteY297" fmla="*/ 5758 h 10126"/>
                <a:gd name="connsiteX298" fmla="*/ 6443 w 10000"/>
                <a:gd name="connsiteY298" fmla="*/ 5801 h 10126"/>
                <a:gd name="connsiteX299" fmla="*/ 6374 w 10000"/>
                <a:gd name="connsiteY299" fmla="*/ 5837 h 10126"/>
                <a:gd name="connsiteX300" fmla="*/ 6299 w 10000"/>
                <a:gd name="connsiteY300" fmla="*/ 5872 h 10126"/>
                <a:gd name="connsiteX301" fmla="*/ 6223 w 10000"/>
                <a:gd name="connsiteY301" fmla="*/ 5920 h 10126"/>
                <a:gd name="connsiteX302" fmla="*/ 6154 w 10000"/>
                <a:gd name="connsiteY302" fmla="*/ 5956 h 10126"/>
                <a:gd name="connsiteX303" fmla="*/ 6092 w 10000"/>
                <a:gd name="connsiteY303" fmla="*/ 5999 h 10126"/>
                <a:gd name="connsiteX304" fmla="*/ 6035 w 10000"/>
                <a:gd name="connsiteY304" fmla="*/ 6047 h 10126"/>
                <a:gd name="connsiteX305" fmla="*/ 6004 w 10000"/>
                <a:gd name="connsiteY305" fmla="*/ 6071 h 10126"/>
                <a:gd name="connsiteX306" fmla="*/ 5985 w 10000"/>
                <a:gd name="connsiteY306" fmla="*/ 6095 h 10126"/>
                <a:gd name="connsiteX307" fmla="*/ 5966 w 10000"/>
                <a:gd name="connsiteY307" fmla="*/ 6125 h 10126"/>
                <a:gd name="connsiteX308" fmla="*/ 5947 w 10000"/>
                <a:gd name="connsiteY308" fmla="*/ 6155 h 10126"/>
                <a:gd name="connsiteX309" fmla="*/ 5935 w 10000"/>
                <a:gd name="connsiteY309" fmla="*/ 6193 h 10126"/>
                <a:gd name="connsiteX310" fmla="*/ 5922 w 10000"/>
                <a:gd name="connsiteY310" fmla="*/ 6223 h 10126"/>
                <a:gd name="connsiteX311" fmla="*/ 5916 w 10000"/>
                <a:gd name="connsiteY311" fmla="*/ 6265 h 10126"/>
                <a:gd name="connsiteX312" fmla="*/ 5916 w 10000"/>
                <a:gd name="connsiteY312" fmla="*/ 6307 h 10126"/>
                <a:gd name="connsiteX313" fmla="*/ 5859 w 10000"/>
                <a:gd name="connsiteY313" fmla="*/ 6325 h 10126"/>
                <a:gd name="connsiteX314" fmla="*/ 5809 w 10000"/>
                <a:gd name="connsiteY314" fmla="*/ 6343 h 10126"/>
                <a:gd name="connsiteX315" fmla="*/ 5765 w 10000"/>
                <a:gd name="connsiteY315" fmla="*/ 6366 h 10126"/>
                <a:gd name="connsiteX316" fmla="*/ 5721 w 10000"/>
                <a:gd name="connsiteY316" fmla="*/ 6390 h 10126"/>
                <a:gd name="connsiteX317" fmla="*/ 5634 w 10000"/>
                <a:gd name="connsiteY317" fmla="*/ 6451 h 10126"/>
                <a:gd name="connsiteX318" fmla="*/ 5558 w 10000"/>
                <a:gd name="connsiteY318" fmla="*/ 6523 h 10126"/>
                <a:gd name="connsiteX319" fmla="*/ 5420 w 10000"/>
                <a:gd name="connsiteY319" fmla="*/ 6686 h 10126"/>
                <a:gd name="connsiteX320" fmla="*/ 5289 w 10000"/>
                <a:gd name="connsiteY320" fmla="*/ 6860 h 10126"/>
                <a:gd name="connsiteX321" fmla="*/ 5220 w 10000"/>
                <a:gd name="connsiteY321" fmla="*/ 6951 h 10126"/>
                <a:gd name="connsiteX322" fmla="*/ 5151 w 10000"/>
                <a:gd name="connsiteY322" fmla="*/ 7029 h 10126"/>
                <a:gd name="connsiteX323" fmla="*/ 5075 w 10000"/>
                <a:gd name="connsiteY323" fmla="*/ 7102 h 10126"/>
                <a:gd name="connsiteX324" fmla="*/ 4994 w 10000"/>
                <a:gd name="connsiteY324" fmla="*/ 7168 h 10126"/>
                <a:gd name="connsiteX325" fmla="*/ 4944 w 10000"/>
                <a:gd name="connsiteY325" fmla="*/ 7198 h 10126"/>
                <a:gd name="connsiteX326" fmla="*/ 4893 w 10000"/>
                <a:gd name="connsiteY326" fmla="*/ 7222 h 10126"/>
                <a:gd name="connsiteX327" fmla="*/ 4849 w 10000"/>
                <a:gd name="connsiteY327" fmla="*/ 7246 h 10126"/>
                <a:gd name="connsiteX328" fmla="*/ 4793 w 10000"/>
                <a:gd name="connsiteY328" fmla="*/ 7271 h 10126"/>
                <a:gd name="connsiteX329" fmla="*/ 4730 w 10000"/>
                <a:gd name="connsiteY329" fmla="*/ 7289 h 10126"/>
                <a:gd name="connsiteX330" fmla="*/ 4674 w 10000"/>
                <a:gd name="connsiteY330" fmla="*/ 7301 h 10126"/>
                <a:gd name="connsiteX331" fmla="*/ 4605 w 10000"/>
                <a:gd name="connsiteY331" fmla="*/ 7307 h 10126"/>
                <a:gd name="connsiteX332" fmla="*/ 4536 w 10000"/>
                <a:gd name="connsiteY332" fmla="*/ 7307 h 10126"/>
                <a:gd name="connsiteX333" fmla="*/ 4536 w 10000"/>
                <a:gd name="connsiteY333" fmla="*/ 7360 h 10126"/>
                <a:gd name="connsiteX334" fmla="*/ 4536 w 10000"/>
                <a:gd name="connsiteY334" fmla="*/ 7414 h 10126"/>
                <a:gd name="connsiteX335" fmla="*/ 4536 w 10000"/>
                <a:gd name="connsiteY335" fmla="*/ 7456 h 10126"/>
                <a:gd name="connsiteX336" fmla="*/ 4536 w 10000"/>
                <a:gd name="connsiteY336" fmla="*/ 7493 h 10126"/>
                <a:gd name="connsiteX337" fmla="*/ 4536 w 10000"/>
                <a:gd name="connsiteY337" fmla="*/ 7559 h 10126"/>
                <a:gd name="connsiteX338" fmla="*/ 4536 w 10000"/>
                <a:gd name="connsiteY338" fmla="*/ 7662 h 10126"/>
                <a:gd name="connsiteX339" fmla="*/ 4536 w 10000"/>
                <a:gd name="connsiteY339" fmla="*/ 7771 h 10126"/>
                <a:gd name="connsiteX340" fmla="*/ 4548 w 10000"/>
                <a:gd name="connsiteY340" fmla="*/ 7884 h 10126"/>
                <a:gd name="connsiteX341" fmla="*/ 4561 w 10000"/>
                <a:gd name="connsiteY341" fmla="*/ 7945 h 10126"/>
                <a:gd name="connsiteX342" fmla="*/ 4573 w 10000"/>
                <a:gd name="connsiteY342" fmla="*/ 7999 h 10126"/>
                <a:gd name="connsiteX343" fmla="*/ 4586 w 10000"/>
                <a:gd name="connsiteY343" fmla="*/ 8047 h 10126"/>
                <a:gd name="connsiteX344" fmla="*/ 4611 w 10000"/>
                <a:gd name="connsiteY344" fmla="*/ 8089 h 10126"/>
                <a:gd name="connsiteX345" fmla="*/ 4636 w 10000"/>
                <a:gd name="connsiteY345" fmla="*/ 8132 h 10126"/>
                <a:gd name="connsiteX346" fmla="*/ 4668 w 10000"/>
                <a:gd name="connsiteY346" fmla="*/ 8162 h 10126"/>
                <a:gd name="connsiteX347" fmla="*/ 4705 w 10000"/>
                <a:gd name="connsiteY347" fmla="*/ 8186 h 10126"/>
                <a:gd name="connsiteX348" fmla="*/ 4749 w 10000"/>
                <a:gd name="connsiteY348" fmla="*/ 8198 h 10126"/>
                <a:gd name="connsiteX349" fmla="*/ 4711 w 10000"/>
                <a:gd name="connsiteY349" fmla="*/ 8294 h 10126"/>
                <a:gd name="connsiteX350" fmla="*/ 4668 w 10000"/>
                <a:gd name="connsiteY350" fmla="*/ 8379 h 10126"/>
                <a:gd name="connsiteX351" fmla="*/ 4617 w 10000"/>
                <a:gd name="connsiteY351" fmla="*/ 8457 h 10126"/>
                <a:gd name="connsiteX352" fmla="*/ 4573 w 10000"/>
                <a:gd name="connsiteY352" fmla="*/ 8529 h 10126"/>
                <a:gd name="connsiteX353" fmla="*/ 4523 w 10000"/>
                <a:gd name="connsiteY353" fmla="*/ 8614 h 10126"/>
                <a:gd name="connsiteX354" fmla="*/ 4492 w 10000"/>
                <a:gd name="connsiteY354" fmla="*/ 8692 h 10126"/>
                <a:gd name="connsiteX355" fmla="*/ 4473 w 10000"/>
                <a:gd name="connsiteY355" fmla="*/ 8728 h 10126"/>
                <a:gd name="connsiteX356" fmla="*/ 4467 w 10000"/>
                <a:gd name="connsiteY356" fmla="*/ 8771 h 10126"/>
                <a:gd name="connsiteX357" fmla="*/ 4460 w 10000"/>
                <a:gd name="connsiteY357" fmla="*/ 8819 h 10126"/>
                <a:gd name="connsiteX358" fmla="*/ 4454 w 10000"/>
                <a:gd name="connsiteY358" fmla="*/ 8861 h 10126"/>
                <a:gd name="connsiteX359" fmla="*/ 4460 w 10000"/>
                <a:gd name="connsiteY359" fmla="*/ 8878 h 10126"/>
                <a:gd name="connsiteX360" fmla="*/ 4467 w 10000"/>
                <a:gd name="connsiteY360" fmla="*/ 8890 h 10126"/>
                <a:gd name="connsiteX361" fmla="*/ 4479 w 10000"/>
                <a:gd name="connsiteY361" fmla="*/ 8902 h 10126"/>
                <a:gd name="connsiteX362" fmla="*/ 4504 w 10000"/>
                <a:gd name="connsiteY362" fmla="*/ 8914 h 10126"/>
                <a:gd name="connsiteX363" fmla="*/ 4542 w 10000"/>
                <a:gd name="connsiteY363" fmla="*/ 8938 h 10126"/>
                <a:gd name="connsiteX364" fmla="*/ 4580 w 10000"/>
                <a:gd name="connsiteY364" fmla="*/ 8944 h 10126"/>
                <a:gd name="connsiteX365" fmla="*/ 4580 w 10000"/>
                <a:gd name="connsiteY365" fmla="*/ 9162 h 10126"/>
                <a:gd name="connsiteX366" fmla="*/ 4529 w 10000"/>
                <a:gd name="connsiteY366" fmla="*/ 9247 h 10126"/>
                <a:gd name="connsiteX367" fmla="*/ 4492 w 10000"/>
                <a:gd name="connsiteY367" fmla="*/ 9337 h 10126"/>
                <a:gd name="connsiteX368" fmla="*/ 4460 w 10000"/>
                <a:gd name="connsiteY368" fmla="*/ 9372 h 10126"/>
                <a:gd name="connsiteX369" fmla="*/ 4429 w 10000"/>
                <a:gd name="connsiteY369" fmla="*/ 9397 h 10126"/>
                <a:gd name="connsiteX370" fmla="*/ 4404 w 10000"/>
                <a:gd name="connsiteY370" fmla="*/ 9409 h 10126"/>
                <a:gd name="connsiteX371" fmla="*/ 4385 w 10000"/>
                <a:gd name="connsiteY371" fmla="*/ 9415 h 10126"/>
                <a:gd name="connsiteX372" fmla="*/ 4360 w 10000"/>
                <a:gd name="connsiteY372" fmla="*/ 9421 h 10126"/>
                <a:gd name="connsiteX373" fmla="*/ 4329 w 10000"/>
                <a:gd name="connsiteY373" fmla="*/ 9421 h 10126"/>
                <a:gd name="connsiteX374" fmla="*/ 4329 w 10000"/>
                <a:gd name="connsiteY374" fmla="*/ 9469 h 10126"/>
                <a:gd name="connsiteX375" fmla="*/ 4335 w 10000"/>
                <a:gd name="connsiteY375" fmla="*/ 9529 h 10126"/>
                <a:gd name="connsiteX376" fmla="*/ 4348 w 10000"/>
                <a:gd name="connsiteY376" fmla="*/ 9559 h 10126"/>
                <a:gd name="connsiteX377" fmla="*/ 4354 w 10000"/>
                <a:gd name="connsiteY377" fmla="*/ 9583 h 10126"/>
                <a:gd name="connsiteX378" fmla="*/ 4360 w 10000"/>
                <a:gd name="connsiteY378" fmla="*/ 9602 h 10126"/>
                <a:gd name="connsiteX379" fmla="*/ 4373 w 10000"/>
                <a:gd name="connsiteY379" fmla="*/ 9608 h 10126"/>
                <a:gd name="connsiteX380" fmla="*/ 4210 w 10000"/>
                <a:gd name="connsiteY380" fmla="*/ 9734 h 10126"/>
                <a:gd name="connsiteX381" fmla="*/ 4072 w 10000"/>
                <a:gd name="connsiteY381" fmla="*/ 9838 h 10126"/>
                <a:gd name="connsiteX382" fmla="*/ 4009 w 10000"/>
                <a:gd name="connsiteY382" fmla="*/ 9897 h 10126"/>
                <a:gd name="connsiteX383" fmla="*/ 3952 w 10000"/>
                <a:gd name="connsiteY383" fmla="*/ 9963 h 10126"/>
                <a:gd name="connsiteX384" fmla="*/ 3890 w 10000"/>
                <a:gd name="connsiteY384" fmla="*/ 10042 h 10126"/>
                <a:gd name="connsiteX385" fmla="*/ 3833 w 10000"/>
                <a:gd name="connsiteY385" fmla="*/ 10126 h 10126"/>
                <a:gd name="connsiteX386" fmla="*/ 3733 w 10000"/>
                <a:gd name="connsiteY386" fmla="*/ 10084 h 10126"/>
                <a:gd name="connsiteX387" fmla="*/ 3664 w 10000"/>
                <a:gd name="connsiteY387" fmla="*/ 10042 h 10126"/>
                <a:gd name="connsiteX388" fmla="*/ 3607 w 10000"/>
                <a:gd name="connsiteY388" fmla="*/ 9999 h 10126"/>
                <a:gd name="connsiteX389" fmla="*/ 3563 w 10000"/>
                <a:gd name="connsiteY389" fmla="*/ 9951 h 10126"/>
                <a:gd name="connsiteX390" fmla="*/ 3532 w 10000"/>
                <a:gd name="connsiteY390" fmla="*/ 9891 h 10126"/>
                <a:gd name="connsiteX391" fmla="*/ 3513 w 10000"/>
                <a:gd name="connsiteY391" fmla="*/ 9832 h 10126"/>
                <a:gd name="connsiteX392" fmla="*/ 3482 w 10000"/>
                <a:gd name="connsiteY392" fmla="*/ 9758 h 10126"/>
                <a:gd name="connsiteX393" fmla="*/ 3457 w 10000"/>
                <a:gd name="connsiteY393" fmla="*/ 9686 h 10126"/>
                <a:gd name="connsiteX394" fmla="*/ 3400 w 10000"/>
                <a:gd name="connsiteY394" fmla="*/ 9547 h 10126"/>
                <a:gd name="connsiteX395" fmla="*/ 3325 w 10000"/>
                <a:gd name="connsiteY395" fmla="*/ 9415 h 10126"/>
                <a:gd name="connsiteX396" fmla="*/ 3237 w 10000"/>
                <a:gd name="connsiteY396" fmla="*/ 9277 h 10126"/>
                <a:gd name="connsiteX397" fmla="*/ 3143 w 10000"/>
                <a:gd name="connsiteY397" fmla="*/ 9132 h 10126"/>
                <a:gd name="connsiteX398" fmla="*/ 3049 w 10000"/>
                <a:gd name="connsiteY398" fmla="*/ 8999 h 10126"/>
                <a:gd name="connsiteX399" fmla="*/ 2967 w 10000"/>
                <a:gd name="connsiteY399" fmla="*/ 8867 h 10126"/>
                <a:gd name="connsiteX400" fmla="*/ 2892 w 10000"/>
                <a:gd name="connsiteY400" fmla="*/ 8747 h 10126"/>
                <a:gd name="connsiteX401" fmla="*/ 2829 w 10000"/>
                <a:gd name="connsiteY401" fmla="*/ 8644 h 10126"/>
                <a:gd name="connsiteX402" fmla="*/ 2773 w 10000"/>
                <a:gd name="connsiteY402" fmla="*/ 8529 h 10126"/>
                <a:gd name="connsiteX403" fmla="*/ 2735 w 10000"/>
                <a:gd name="connsiteY403" fmla="*/ 8427 h 10126"/>
                <a:gd name="connsiteX404" fmla="*/ 2698 w 10000"/>
                <a:gd name="connsiteY404" fmla="*/ 8319 h 10126"/>
                <a:gd name="connsiteX405" fmla="*/ 2666 w 10000"/>
                <a:gd name="connsiteY405" fmla="*/ 8210 h 10126"/>
                <a:gd name="connsiteX406" fmla="*/ 2629 w 10000"/>
                <a:gd name="connsiteY406" fmla="*/ 8101 h 10126"/>
                <a:gd name="connsiteX407" fmla="*/ 2597 w 10000"/>
                <a:gd name="connsiteY407" fmla="*/ 7993 h 10126"/>
                <a:gd name="connsiteX408" fmla="*/ 2553 w 10000"/>
                <a:gd name="connsiteY408" fmla="*/ 7872 h 10126"/>
                <a:gd name="connsiteX409" fmla="*/ 2497 w 10000"/>
                <a:gd name="connsiteY409" fmla="*/ 7753 h 10126"/>
                <a:gd name="connsiteX410" fmla="*/ 2359 w 10000"/>
                <a:gd name="connsiteY410" fmla="*/ 7559 h 10126"/>
                <a:gd name="connsiteX411" fmla="*/ 2208 w 10000"/>
                <a:gd name="connsiteY411" fmla="*/ 7378 h 10126"/>
                <a:gd name="connsiteX412" fmla="*/ 2139 w 10000"/>
                <a:gd name="connsiteY412" fmla="*/ 7295 h 10126"/>
                <a:gd name="connsiteX413" fmla="*/ 2070 w 10000"/>
                <a:gd name="connsiteY413" fmla="*/ 7198 h 10126"/>
                <a:gd name="connsiteX414" fmla="*/ 2008 w 10000"/>
                <a:gd name="connsiteY414" fmla="*/ 7108 h 10126"/>
                <a:gd name="connsiteX415" fmla="*/ 1957 w 10000"/>
                <a:gd name="connsiteY415" fmla="*/ 7011 h 10126"/>
                <a:gd name="connsiteX416" fmla="*/ 1888 w 10000"/>
                <a:gd name="connsiteY416" fmla="*/ 6776 h 10126"/>
                <a:gd name="connsiteX417" fmla="*/ 1832 w 10000"/>
                <a:gd name="connsiteY417" fmla="*/ 6559 h 10126"/>
                <a:gd name="connsiteX418" fmla="*/ 1782 w 10000"/>
                <a:gd name="connsiteY418" fmla="*/ 6349 h 10126"/>
                <a:gd name="connsiteX419" fmla="*/ 1757 w 10000"/>
                <a:gd name="connsiteY419" fmla="*/ 6137 h 10126"/>
                <a:gd name="connsiteX420" fmla="*/ 1725 w 10000"/>
                <a:gd name="connsiteY420" fmla="*/ 5932 h 10126"/>
                <a:gd name="connsiteX421" fmla="*/ 1713 w 10000"/>
                <a:gd name="connsiteY421" fmla="*/ 5716 h 10126"/>
                <a:gd name="connsiteX422" fmla="*/ 1706 w 10000"/>
                <a:gd name="connsiteY422" fmla="*/ 5493 h 10126"/>
                <a:gd name="connsiteX423" fmla="*/ 1706 w 10000"/>
                <a:gd name="connsiteY423" fmla="*/ 5270 h 10126"/>
                <a:gd name="connsiteX424" fmla="*/ 1681 w 10000"/>
                <a:gd name="connsiteY424" fmla="*/ 5264 h 10126"/>
                <a:gd name="connsiteX425" fmla="*/ 1650 w 10000"/>
                <a:gd name="connsiteY425" fmla="*/ 5258 h 10126"/>
                <a:gd name="connsiteX426" fmla="*/ 1625 w 10000"/>
                <a:gd name="connsiteY426" fmla="*/ 5252 h 10126"/>
                <a:gd name="connsiteX427" fmla="*/ 1606 w 10000"/>
                <a:gd name="connsiteY427" fmla="*/ 5228 h 10126"/>
                <a:gd name="connsiteX428" fmla="*/ 1581 w 10000"/>
                <a:gd name="connsiteY428" fmla="*/ 5216 h 10126"/>
                <a:gd name="connsiteX429" fmla="*/ 1568 w 10000"/>
                <a:gd name="connsiteY429" fmla="*/ 5198 h 10126"/>
                <a:gd name="connsiteX430" fmla="*/ 1550 w 10000"/>
                <a:gd name="connsiteY430" fmla="*/ 5174 h 10126"/>
                <a:gd name="connsiteX431" fmla="*/ 1543 w 10000"/>
                <a:gd name="connsiteY431" fmla="*/ 5150 h 10126"/>
                <a:gd name="connsiteX432" fmla="*/ 1518 w 10000"/>
                <a:gd name="connsiteY432" fmla="*/ 5101 h 10126"/>
                <a:gd name="connsiteX433" fmla="*/ 1506 w 10000"/>
                <a:gd name="connsiteY433" fmla="*/ 5047 h 10126"/>
                <a:gd name="connsiteX434" fmla="*/ 1499 w 10000"/>
                <a:gd name="connsiteY434" fmla="*/ 4987 h 10126"/>
                <a:gd name="connsiteX435" fmla="*/ 1499 w 10000"/>
                <a:gd name="connsiteY435" fmla="*/ 4933 h 10126"/>
                <a:gd name="connsiteX436" fmla="*/ 1443 w 10000"/>
                <a:gd name="connsiteY436" fmla="*/ 4969 h 10126"/>
                <a:gd name="connsiteX437" fmla="*/ 1405 w 10000"/>
                <a:gd name="connsiteY437" fmla="*/ 5011 h 10126"/>
                <a:gd name="connsiteX438" fmla="*/ 1361 w 10000"/>
                <a:gd name="connsiteY438" fmla="*/ 5053 h 10126"/>
                <a:gd name="connsiteX439" fmla="*/ 1317 w 10000"/>
                <a:gd name="connsiteY439" fmla="*/ 5101 h 10126"/>
                <a:gd name="connsiteX440" fmla="*/ 1261 w 10000"/>
                <a:gd name="connsiteY440" fmla="*/ 5198 h 10126"/>
                <a:gd name="connsiteX441" fmla="*/ 1205 w 10000"/>
                <a:gd name="connsiteY441" fmla="*/ 5300 h 10126"/>
                <a:gd name="connsiteX442" fmla="*/ 1167 w 10000"/>
                <a:gd name="connsiteY442" fmla="*/ 5343 h 10126"/>
                <a:gd name="connsiteX443" fmla="*/ 1142 w 10000"/>
                <a:gd name="connsiteY443" fmla="*/ 5384 h 10126"/>
                <a:gd name="connsiteX444" fmla="*/ 1104 w 10000"/>
                <a:gd name="connsiteY444" fmla="*/ 5426 h 10126"/>
                <a:gd name="connsiteX445" fmla="*/ 1073 w 10000"/>
                <a:gd name="connsiteY445" fmla="*/ 5456 h 10126"/>
                <a:gd name="connsiteX446" fmla="*/ 1029 w 10000"/>
                <a:gd name="connsiteY446" fmla="*/ 5487 h 10126"/>
                <a:gd name="connsiteX447" fmla="*/ 985 w 10000"/>
                <a:gd name="connsiteY447" fmla="*/ 5505 h 10126"/>
                <a:gd name="connsiteX448" fmla="*/ 928 w 10000"/>
                <a:gd name="connsiteY448" fmla="*/ 5517 h 10126"/>
                <a:gd name="connsiteX449" fmla="*/ 872 w 10000"/>
                <a:gd name="connsiteY449" fmla="*/ 5523 h 10126"/>
                <a:gd name="connsiteX450" fmla="*/ 841 w 10000"/>
                <a:gd name="connsiteY450" fmla="*/ 5517 h 10126"/>
                <a:gd name="connsiteX451" fmla="*/ 797 w 10000"/>
                <a:gd name="connsiteY451" fmla="*/ 5505 h 10126"/>
                <a:gd name="connsiteX452" fmla="*/ 753 w 10000"/>
                <a:gd name="connsiteY452" fmla="*/ 5487 h 10126"/>
                <a:gd name="connsiteX453" fmla="*/ 709 w 10000"/>
                <a:gd name="connsiteY453" fmla="*/ 5456 h 10126"/>
                <a:gd name="connsiteX454" fmla="*/ 659 w 10000"/>
                <a:gd name="connsiteY454" fmla="*/ 5420 h 10126"/>
                <a:gd name="connsiteX455" fmla="*/ 609 w 10000"/>
                <a:gd name="connsiteY455" fmla="*/ 5384 h 10126"/>
                <a:gd name="connsiteX456" fmla="*/ 565 w 10000"/>
                <a:gd name="connsiteY456" fmla="*/ 5343 h 10126"/>
                <a:gd name="connsiteX457" fmla="*/ 514 w 10000"/>
                <a:gd name="connsiteY457" fmla="*/ 5294 h 10126"/>
                <a:gd name="connsiteX458" fmla="*/ 471 w 10000"/>
                <a:gd name="connsiteY458" fmla="*/ 5246 h 10126"/>
                <a:gd name="connsiteX459" fmla="*/ 433 w 10000"/>
                <a:gd name="connsiteY459" fmla="*/ 5192 h 10126"/>
                <a:gd name="connsiteX460" fmla="*/ 389 w 10000"/>
                <a:gd name="connsiteY460" fmla="*/ 5138 h 10126"/>
                <a:gd name="connsiteX461" fmla="*/ 358 w 10000"/>
                <a:gd name="connsiteY461" fmla="*/ 5083 h 10126"/>
                <a:gd name="connsiteX462" fmla="*/ 326 w 10000"/>
                <a:gd name="connsiteY462" fmla="*/ 5035 h 10126"/>
                <a:gd name="connsiteX463" fmla="*/ 307 w 10000"/>
                <a:gd name="connsiteY463" fmla="*/ 4987 h 10126"/>
                <a:gd name="connsiteX464" fmla="*/ 295 w 10000"/>
                <a:gd name="connsiteY464" fmla="*/ 4939 h 10126"/>
                <a:gd name="connsiteX465" fmla="*/ 289 w 10000"/>
                <a:gd name="connsiteY465" fmla="*/ 4890 h 10126"/>
                <a:gd name="connsiteX466" fmla="*/ 320 w 10000"/>
                <a:gd name="connsiteY466" fmla="*/ 4872 h 10126"/>
                <a:gd name="connsiteX467" fmla="*/ 395 w 10000"/>
                <a:gd name="connsiteY467" fmla="*/ 4837 h 10126"/>
                <a:gd name="connsiteX468" fmla="*/ 483 w 10000"/>
                <a:gd name="connsiteY468" fmla="*/ 4801 h 10126"/>
                <a:gd name="connsiteX469" fmla="*/ 533 w 10000"/>
                <a:gd name="connsiteY469" fmla="*/ 4783 h 10126"/>
                <a:gd name="connsiteX470" fmla="*/ 483 w 10000"/>
                <a:gd name="connsiteY470" fmla="*/ 4783 h 10126"/>
                <a:gd name="connsiteX471" fmla="*/ 420 w 10000"/>
                <a:gd name="connsiteY471" fmla="*/ 4777 h 10126"/>
                <a:gd name="connsiteX472" fmla="*/ 370 w 10000"/>
                <a:gd name="connsiteY472" fmla="*/ 4765 h 10126"/>
                <a:gd name="connsiteX473" fmla="*/ 320 w 10000"/>
                <a:gd name="connsiteY473" fmla="*/ 4759 h 10126"/>
                <a:gd name="connsiteX474" fmla="*/ 276 w 10000"/>
                <a:gd name="connsiteY474" fmla="*/ 4740 h 10126"/>
                <a:gd name="connsiteX475" fmla="*/ 232 w 10000"/>
                <a:gd name="connsiteY475" fmla="*/ 4728 h 10126"/>
                <a:gd name="connsiteX476" fmla="*/ 188 w 10000"/>
                <a:gd name="connsiteY476" fmla="*/ 4710 h 10126"/>
                <a:gd name="connsiteX477" fmla="*/ 157 w 10000"/>
                <a:gd name="connsiteY477" fmla="*/ 4685 h 10126"/>
                <a:gd name="connsiteX478" fmla="*/ 132 w 10000"/>
                <a:gd name="connsiteY478" fmla="*/ 4661 h 10126"/>
                <a:gd name="connsiteX479" fmla="*/ 100 w 10000"/>
                <a:gd name="connsiteY479" fmla="*/ 4637 h 10126"/>
                <a:gd name="connsiteX480" fmla="*/ 75 w 10000"/>
                <a:gd name="connsiteY480" fmla="*/ 4607 h 10126"/>
                <a:gd name="connsiteX481" fmla="*/ 50 w 10000"/>
                <a:gd name="connsiteY481" fmla="*/ 4583 h 10126"/>
                <a:gd name="connsiteX482" fmla="*/ 19 w 10000"/>
                <a:gd name="connsiteY482" fmla="*/ 4511 h 10126"/>
                <a:gd name="connsiteX483" fmla="*/ 0 w 10000"/>
                <a:gd name="connsiteY483" fmla="*/ 4444 h 10126"/>
                <a:gd name="connsiteX484" fmla="*/ 63 w 10000"/>
                <a:gd name="connsiteY484" fmla="*/ 4396 h 10126"/>
                <a:gd name="connsiteX485" fmla="*/ 132 w 10000"/>
                <a:gd name="connsiteY485" fmla="*/ 4360 h 10126"/>
                <a:gd name="connsiteX486" fmla="*/ 201 w 10000"/>
                <a:gd name="connsiteY486" fmla="*/ 4331 h 10126"/>
                <a:gd name="connsiteX487" fmla="*/ 276 w 10000"/>
                <a:gd name="connsiteY487" fmla="*/ 4307 h 10126"/>
                <a:gd name="connsiteX488" fmla="*/ 420 w 10000"/>
                <a:gd name="connsiteY488" fmla="*/ 4277 h 10126"/>
                <a:gd name="connsiteX489" fmla="*/ 565 w 10000"/>
                <a:gd name="connsiteY489" fmla="*/ 4252 h 10126"/>
                <a:gd name="connsiteX490" fmla="*/ 640 w 10000"/>
                <a:gd name="connsiteY490" fmla="*/ 4240 h 10126"/>
                <a:gd name="connsiteX491" fmla="*/ 709 w 10000"/>
                <a:gd name="connsiteY491" fmla="*/ 4216 h 10126"/>
                <a:gd name="connsiteX492" fmla="*/ 772 w 10000"/>
                <a:gd name="connsiteY492" fmla="*/ 4198 h 10126"/>
                <a:gd name="connsiteX493" fmla="*/ 834 w 10000"/>
                <a:gd name="connsiteY493" fmla="*/ 4168 h 10126"/>
                <a:gd name="connsiteX494" fmla="*/ 891 w 10000"/>
                <a:gd name="connsiteY494" fmla="*/ 4138 h 10126"/>
                <a:gd name="connsiteX495" fmla="*/ 947 w 10000"/>
                <a:gd name="connsiteY495" fmla="*/ 4090 h 10126"/>
                <a:gd name="connsiteX496" fmla="*/ 997 w 10000"/>
                <a:gd name="connsiteY496" fmla="*/ 4035 h 10126"/>
                <a:gd name="connsiteX497" fmla="*/ 1035 w 10000"/>
                <a:gd name="connsiteY497" fmla="*/ 3968 h 10126"/>
                <a:gd name="connsiteX498" fmla="*/ 1010 w 10000"/>
                <a:gd name="connsiteY498" fmla="*/ 3956 h 10126"/>
                <a:gd name="connsiteX499" fmla="*/ 985 w 10000"/>
                <a:gd name="connsiteY499" fmla="*/ 3938 h 10126"/>
                <a:gd name="connsiteX500" fmla="*/ 947 w 10000"/>
                <a:gd name="connsiteY500" fmla="*/ 3914 h 10126"/>
                <a:gd name="connsiteX501" fmla="*/ 910 w 10000"/>
                <a:gd name="connsiteY501" fmla="*/ 3878 h 10126"/>
                <a:gd name="connsiteX502" fmla="*/ 822 w 10000"/>
                <a:gd name="connsiteY502" fmla="*/ 3806 h 10126"/>
                <a:gd name="connsiteX503" fmla="*/ 740 w 10000"/>
                <a:gd name="connsiteY503" fmla="*/ 3722 h 10126"/>
                <a:gd name="connsiteX504" fmla="*/ 665 w 10000"/>
                <a:gd name="connsiteY504" fmla="*/ 3631 h 10126"/>
                <a:gd name="connsiteX505" fmla="*/ 596 w 10000"/>
                <a:gd name="connsiteY505" fmla="*/ 3535 h 10126"/>
                <a:gd name="connsiteX506" fmla="*/ 577 w 10000"/>
                <a:gd name="connsiteY506" fmla="*/ 3493 h 10126"/>
                <a:gd name="connsiteX507" fmla="*/ 558 w 10000"/>
                <a:gd name="connsiteY507" fmla="*/ 3451 h 10126"/>
                <a:gd name="connsiteX508" fmla="*/ 540 w 10000"/>
                <a:gd name="connsiteY508" fmla="*/ 3408 h 10126"/>
                <a:gd name="connsiteX509" fmla="*/ 533 w 10000"/>
                <a:gd name="connsiteY509" fmla="*/ 3372 h 10126"/>
                <a:gd name="connsiteX510" fmla="*/ 508 w 10000"/>
                <a:gd name="connsiteY510" fmla="*/ 3366 h 10126"/>
                <a:gd name="connsiteX511" fmla="*/ 483 w 10000"/>
                <a:gd name="connsiteY511" fmla="*/ 3360 h 10126"/>
                <a:gd name="connsiteX512" fmla="*/ 458 w 10000"/>
                <a:gd name="connsiteY512" fmla="*/ 3348 h 10126"/>
                <a:gd name="connsiteX513" fmla="*/ 439 w 10000"/>
                <a:gd name="connsiteY513" fmla="*/ 3325 h 10126"/>
                <a:gd name="connsiteX514" fmla="*/ 402 w 10000"/>
                <a:gd name="connsiteY514" fmla="*/ 3282 h 10126"/>
                <a:gd name="connsiteX515" fmla="*/ 370 w 10000"/>
                <a:gd name="connsiteY515" fmla="*/ 3222 h 10126"/>
                <a:gd name="connsiteX516" fmla="*/ 370 w 10000"/>
                <a:gd name="connsiteY516" fmla="*/ 3077 h 10126"/>
                <a:gd name="connsiteX517" fmla="*/ 458 w 10000"/>
                <a:gd name="connsiteY517" fmla="*/ 3071 h 10126"/>
                <a:gd name="connsiteX518" fmla="*/ 540 w 10000"/>
                <a:gd name="connsiteY518" fmla="*/ 3065 h 10126"/>
                <a:gd name="connsiteX519" fmla="*/ 615 w 10000"/>
                <a:gd name="connsiteY519" fmla="*/ 3053 h 10126"/>
                <a:gd name="connsiteX520" fmla="*/ 684 w 10000"/>
                <a:gd name="connsiteY520" fmla="*/ 3029 h 10126"/>
                <a:gd name="connsiteX521" fmla="*/ 747 w 10000"/>
                <a:gd name="connsiteY521" fmla="*/ 3011 h 10126"/>
                <a:gd name="connsiteX522" fmla="*/ 809 w 10000"/>
                <a:gd name="connsiteY522" fmla="*/ 2980 h 10126"/>
                <a:gd name="connsiteX523" fmla="*/ 866 w 10000"/>
                <a:gd name="connsiteY523" fmla="*/ 2950 h 10126"/>
                <a:gd name="connsiteX524" fmla="*/ 922 w 10000"/>
                <a:gd name="connsiteY524" fmla="*/ 2914 h 10126"/>
                <a:gd name="connsiteX525" fmla="*/ 966 w 10000"/>
                <a:gd name="connsiteY525" fmla="*/ 2872 h 10126"/>
                <a:gd name="connsiteX526" fmla="*/ 1016 w 10000"/>
                <a:gd name="connsiteY526" fmla="*/ 2831 h 10126"/>
                <a:gd name="connsiteX527" fmla="*/ 1060 w 10000"/>
                <a:gd name="connsiteY527" fmla="*/ 2789 h 10126"/>
                <a:gd name="connsiteX528" fmla="*/ 1098 w 10000"/>
                <a:gd name="connsiteY528" fmla="*/ 2740 h 10126"/>
                <a:gd name="connsiteX529" fmla="*/ 1167 w 10000"/>
                <a:gd name="connsiteY529" fmla="*/ 2644 h 10126"/>
                <a:gd name="connsiteX530" fmla="*/ 1236 w 10000"/>
                <a:gd name="connsiteY530" fmla="*/ 2534 h 10126"/>
                <a:gd name="connsiteX531" fmla="*/ 1355 w 10000"/>
                <a:gd name="connsiteY531" fmla="*/ 2318 h 10126"/>
                <a:gd name="connsiteX532" fmla="*/ 1474 w 10000"/>
                <a:gd name="connsiteY532" fmla="*/ 2101 h 10126"/>
                <a:gd name="connsiteX533" fmla="*/ 1543 w 10000"/>
                <a:gd name="connsiteY533" fmla="*/ 2005 h 10126"/>
                <a:gd name="connsiteX534" fmla="*/ 1612 w 10000"/>
                <a:gd name="connsiteY534" fmla="*/ 1920 h 10126"/>
                <a:gd name="connsiteX535" fmla="*/ 1650 w 10000"/>
                <a:gd name="connsiteY535" fmla="*/ 1871 h 10126"/>
                <a:gd name="connsiteX536" fmla="*/ 1694 w 10000"/>
                <a:gd name="connsiteY536" fmla="*/ 1835 h 10126"/>
                <a:gd name="connsiteX537" fmla="*/ 1738 w 10000"/>
                <a:gd name="connsiteY537" fmla="*/ 1806 h 10126"/>
                <a:gd name="connsiteX538" fmla="*/ 1788 w 10000"/>
                <a:gd name="connsiteY538" fmla="*/ 1776 h 10126"/>
                <a:gd name="connsiteX539" fmla="*/ 1750 w 10000"/>
                <a:gd name="connsiteY539" fmla="*/ 1703 h 10126"/>
                <a:gd name="connsiteX540" fmla="*/ 1719 w 10000"/>
                <a:gd name="connsiteY540" fmla="*/ 1637 h 10126"/>
                <a:gd name="connsiteX541" fmla="*/ 1713 w 10000"/>
                <a:gd name="connsiteY541" fmla="*/ 1607 h 10126"/>
                <a:gd name="connsiteX542" fmla="*/ 1706 w 10000"/>
                <a:gd name="connsiteY542" fmla="*/ 1577 h 10126"/>
                <a:gd name="connsiteX543" fmla="*/ 1706 w 10000"/>
                <a:gd name="connsiteY543" fmla="*/ 1541 h 10126"/>
                <a:gd name="connsiteX544" fmla="*/ 1706 w 10000"/>
                <a:gd name="connsiteY544" fmla="*/ 1511 h 10126"/>
                <a:gd name="connsiteX545" fmla="*/ 1713 w 10000"/>
                <a:gd name="connsiteY545" fmla="*/ 1480 h 10126"/>
                <a:gd name="connsiteX546" fmla="*/ 1719 w 10000"/>
                <a:gd name="connsiteY546" fmla="*/ 1450 h 10126"/>
                <a:gd name="connsiteX547" fmla="*/ 1731 w 10000"/>
                <a:gd name="connsiteY547" fmla="*/ 1426 h 10126"/>
                <a:gd name="connsiteX548" fmla="*/ 1757 w 10000"/>
                <a:gd name="connsiteY548" fmla="*/ 1402 h 10126"/>
                <a:gd name="connsiteX549" fmla="*/ 1775 w 10000"/>
                <a:gd name="connsiteY549" fmla="*/ 1384 h 10126"/>
                <a:gd name="connsiteX550" fmla="*/ 1801 w 10000"/>
                <a:gd name="connsiteY550" fmla="*/ 1366 h 10126"/>
                <a:gd name="connsiteX551" fmla="*/ 1838 w 10000"/>
                <a:gd name="connsiteY551" fmla="*/ 1348 h 10126"/>
                <a:gd name="connsiteX552" fmla="*/ 1870 w 10000"/>
                <a:gd name="connsiteY552" fmla="*/ 1330 h 10126"/>
                <a:gd name="connsiteX553" fmla="*/ 1788 w 10000"/>
                <a:gd name="connsiteY553" fmla="*/ 1240 h 10126"/>
                <a:gd name="connsiteX554" fmla="*/ 1688 w 10000"/>
                <a:gd name="connsiteY554" fmla="*/ 1168 h 10126"/>
                <a:gd name="connsiteX555" fmla="*/ 1550 w 10000"/>
                <a:gd name="connsiteY555" fmla="*/ 1046 h 10126"/>
                <a:gd name="connsiteX556" fmla="*/ 1487 w 10000"/>
                <a:gd name="connsiteY556" fmla="*/ 986 h 10126"/>
                <a:gd name="connsiteX557" fmla="*/ 1383 w 10000"/>
                <a:gd name="connsiteY557" fmla="*/ 868 h 10126"/>
                <a:gd name="connsiteX558" fmla="*/ 1426 w 10000"/>
                <a:gd name="connsiteY558" fmla="*/ 764 h 10126"/>
                <a:gd name="connsiteX559" fmla="*/ 1603 w 10000"/>
                <a:gd name="connsiteY559" fmla="*/ 650 h 10126"/>
                <a:gd name="connsiteX560" fmla="*/ 1708 w 10000"/>
                <a:gd name="connsiteY560" fmla="*/ 605 h 10126"/>
                <a:gd name="connsiteX561" fmla="*/ 1673 w 10000"/>
                <a:gd name="connsiteY561" fmla="*/ 540 h 10126"/>
                <a:gd name="connsiteX562" fmla="*/ 1606 w 10000"/>
                <a:gd name="connsiteY562" fmla="*/ 463 h 10126"/>
                <a:gd name="connsiteX563" fmla="*/ 1539 w 10000"/>
                <a:gd name="connsiteY563" fmla="*/ 431 h 10126"/>
                <a:gd name="connsiteX564" fmla="*/ 1539 w 10000"/>
                <a:gd name="connsiteY564" fmla="*/ 366 h 10126"/>
                <a:gd name="connsiteX565" fmla="*/ 1473 w 10000"/>
                <a:gd name="connsiteY565" fmla="*/ 296 h 10126"/>
                <a:gd name="connsiteX566" fmla="*/ 1341 w 10000"/>
                <a:gd name="connsiteY566" fmla="*/ 236 h 10126"/>
                <a:gd name="connsiteX567" fmla="*/ 1490 w 10000"/>
                <a:gd name="connsiteY567" fmla="*/ 123 h 10126"/>
                <a:gd name="connsiteX568" fmla="*/ 1654 w 10000"/>
                <a:gd name="connsiteY568" fmla="*/ 0 h 10126"/>
                <a:gd name="connsiteX569" fmla="*/ 1895 w 10000"/>
                <a:gd name="connsiteY569" fmla="*/ 61 h 10126"/>
                <a:gd name="connsiteX570" fmla="*/ 1925 w 10000"/>
                <a:gd name="connsiteY570" fmla="*/ 57 h 10126"/>
                <a:gd name="connsiteX571" fmla="*/ 2151 w 10000"/>
                <a:gd name="connsiteY571" fmla="*/ 94 h 10126"/>
                <a:gd name="connsiteX572" fmla="*/ 2280 w 10000"/>
                <a:gd name="connsiteY572" fmla="*/ 123 h 10126"/>
                <a:gd name="connsiteX573" fmla="*/ 2385 w 10000"/>
                <a:gd name="connsiteY573" fmla="*/ 131 h 10126"/>
                <a:gd name="connsiteX574" fmla="*/ 2517 w 10000"/>
                <a:gd name="connsiteY574" fmla="*/ 225 h 10126"/>
                <a:gd name="connsiteX0" fmla="*/ 2525 w 10000"/>
                <a:gd name="connsiteY0" fmla="*/ 225 h 10126"/>
                <a:gd name="connsiteX1" fmla="*/ 2880 w 10000"/>
                <a:gd name="connsiteY1" fmla="*/ 115 h 10126"/>
                <a:gd name="connsiteX2" fmla="*/ 3155 w 10000"/>
                <a:gd name="connsiteY2" fmla="*/ 192 h 10126"/>
                <a:gd name="connsiteX3" fmla="*/ 3120 w 10000"/>
                <a:gd name="connsiteY3" fmla="*/ 471 h 10126"/>
                <a:gd name="connsiteX4" fmla="*/ 3152 w 10000"/>
                <a:gd name="connsiteY4" fmla="*/ 534 h 10126"/>
                <a:gd name="connsiteX5" fmla="*/ 3093 w 10000"/>
                <a:gd name="connsiteY5" fmla="*/ 619 h 10126"/>
                <a:gd name="connsiteX6" fmla="*/ 2992 w 10000"/>
                <a:gd name="connsiteY6" fmla="*/ 710 h 10126"/>
                <a:gd name="connsiteX7" fmla="*/ 3043 w 10000"/>
                <a:gd name="connsiteY7" fmla="*/ 734 h 10126"/>
                <a:gd name="connsiteX8" fmla="*/ 3087 w 10000"/>
                <a:gd name="connsiteY8" fmla="*/ 776 h 10126"/>
                <a:gd name="connsiteX9" fmla="*/ 3130 w 10000"/>
                <a:gd name="connsiteY9" fmla="*/ 823 h 10126"/>
                <a:gd name="connsiteX10" fmla="*/ 3174 w 10000"/>
                <a:gd name="connsiteY10" fmla="*/ 872 h 10126"/>
                <a:gd name="connsiteX11" fmla="*/ 3212 w 10000"/>
                <a:gd name="connsiteY11" fmla="*/ 932 h 10126"/>
                <a:gd name="connsiteX12" fmla="*/ 3256 w 10000"/>
                <a:gd name="connsiteY12" fmla="*/ 986 h 10126"/>
                <a:gd name="connsiteX13" fmla="*/ 3281 w 10000"/>
                <a:gd name="connsiteY13" fmla="*/ 1046 h 10126"/>
                <a:gd name="connsiteX14" fmla="*/ 3312 w 10000"/>
                <a:gd name="connsiteY14" fmla="*/ 1113 h 10126"/>
                <a:gd name="connsiteX15" fmla="*/ 3331 w 10000"/>
                <a:gd name="connsiteY15" fmla="*/ 1180 h 10126"/>
                <a:gd name="connsiteX16" fmla="*/ 3043 w 10000"/>
                <a:gd name="connsiteY16" fmla="*/ 1180 h 10126"/>
                <a:gd name="connsiteX17" fmla="*/ 3043 w 10000"/>
                <a:gd name="connsiteY17" fmla="*/ 1366 h 10126"/>
                <a:gd name="connsiteX18" fmla="*/ 3074 w 10000"/>
                <a:gd name="connsiteY18" fmla="*/ 1444 h 10126"/>
                <a:gd name="connsiteX19" fmla="*/ 3118 w 10000"/>
                <a:gd name="connsiteY19" fmla="*/ 1511 h 10126"/>
                <a:gd name="connsiteX20" fmla="*/ 3168 w 10000"/>
                <a:gd name="connsiteY20" fmla="*/ 1571 h 10126"/>
                <a:gd name="connsiteX21" fmla="*/ 3225 w 10000"/>
                <a:gd name="connsiteY21" fmla="*/ 1613 h 10126"/>
                <a:gd name="connsiteX22" fmla="*/ 3281 w 10000"/>
                <a:gd name="connsiteY22" fmla="*/ 1655 h 10126"/>
                <a:gd name="connsiteX23" fmla="*/ 3350 w 10000"/>
                <a:gd name="connsiteY23" fmla="*/ 1685 h 10126"/>
                <a:gd name="connsiteX24" fmla="*/ 3413 w 10000"/>
                <a:gd name="connsiteY24" fmla="*/ 1715 h 10126"/>
                <a:gd name="connsiteX25" fmla="*/ 3488 w 10000"/>
                <a:gd name="connsiteY25" fmla="*/ 1740 h 10126"/>
                <a:gd name="connsiteX26" fmla="*/ 3626 w 10000"/>
                <a:gd name="connsiteY26" fmla="*/ 1794 h 10126"/>
                <a:gd name="connsiteX27" fmla="*/ 3764 w 10000"/>
                <a:gd name="connsiteY27" fmla="*/ 1847 h 10126"/>
                <a:gd name="connsiteX28" fmla="*/ 3827 w 10000"/>
                <a:gd name="connsiteY28" fmla="*/ 1884 h 10126"/>
                <a:gd name="connsiteX29" fmla="*/ 3890 w 10000"/>
                <a:gd name="connsiteY29" fmla="*/ 1932 h 10126"/>
                <a:gd name="connsiteX30" fmla="*/ 3946 w 10000"/>
                <a:gd name="connsiteY30" fmla="*/ 1981 h 10126"/>
                <a:gd name="connsiteX31" fmla="*/ 4003 w 10000"/>
                <a:gd name="connsiteY31" fmla="*/ 2035 h 10126"/>
                <a:gd name="connsiteX32" fmla="*/ 3959 w 10000"/>
                <a:gd name="connsiteY32" fmla="*/ 2596 h 10126"/>
                <a:gd name="connsiteX33" fmla="*/ 4034 w 10000"/>
                <a:gd name="connsiteY33" fmla="*/ 2650 h 10126"/>
                <a:gd name="connsiteX34" fmla="*/ 4141 w 10000"/>
                <a:gd name="connsiteY34" fmla="*/ 2716 h 10126"/>
                <a:gd name="connsiteX35" fmla="*/ 4260 w 10000"/>
                <a:gd name="connsiteY35" fmla="*/ 2776 h 10126"/>
                <a:gd name="connsiteX36" fmla="*/ 4398 w 10000"/>
                <a:gd name="connsiteY36" fmla="*/ 2831 h 10126"/>
                <a:gd name="connsiteX37" fmla="*/ 4536 w 10000"/>
                <a:gd name="connsiteY37" fmla="*/ 2884 h 10126"/>
                <a:gd name="connsiteX38" fmla="*/ 4668 w 10000"/>
                <a:gd name="connsiteY38" fmla="*/ 2926 h 10126"/>
                <a:gd name="connsiteX39" fmla="*/ 4724 w 10000"/>
                <a:gd name="connsiteY39" fmla="*/ 2944 h 10126"/>
                <a:gd name="connsiteX40" fmla="*/ 4780 w 10000"/>
                <a:gd name="connsiteY40" fmla="*/ 2956 h 10126"/>
                <a:gd name="connsiteX41" fmla="*/ 4831 w 10000"/>
                <a:gd name="connsiteY41" fmla="*/ 2962 h 10126"/>
                <a:gd name="connsiteX42" fmla="*/ 4875 w 10000"/>
                <a:gd name="connsiteY42" fmla="*/ 2962 h 10126"/>
                <a:gd name="connsiteX43" fmla="*/ 4887 w 10000"/>
                <a:gd name="connsiteY43" fmla="*/ 3005 h 10126"/>
                <a:gd name="connsiteX44" fmla="*/ 4918 w 10000"/>
                <a:gd name="connsiteY44" fmla="*/ 3041 h 10126"/>
                <a:gd name="connsiteX45" fmla="*/ 4950 w 10000"/>
                <a:gd name="connsiteY45" fmla="*/ 3059 h 10126"/>
                <a:gd name="connsiteX46" fmla="*/ 4987 w 10000"/>
                <a:gd name="connsiteY46" fmla="*/ 3071 h 10126"/>
                <a:gd name="connsiteX47" fmla="*/ 5019 w 10000"/>
                <a:gd name="connsiteY47" fmla="*/ 3083 h 10126"/>
                <a:gd name="connsiteX48" fmla="*/ 5063 w 10000"/>
                <a:gd name="connsiteY48" fmla="*/ 3083 h 10126"/>
                <a:gd name="connsiteX49" fmla="*/ 5107 w 10000"/>
                <a:gd name="connsiteY49" fmla="*/ 3077 h 10126"/>
                <a:gd name="connsiteX50" fmla="*/ 5157 w 10000"/>
                <a:gd name="connsiteY50" fmla="*/ 3071 h 10126"/>
                <a:gd name="connsiteX51" fmla="*/ 5245 w 10000"/>
                <a:gd name="connsiteY51" fmla="*/ 3053 h 10126"/>
                <a:gd name="connsiteX52" fmla="*/ 5345 w 10000"/>
                <a:gd name="connsiteY52" fmla="*/ 3029 h 10126"/>
                <a:gd name="connsiteX53" fmla="*/ 5383 w 10000"/>
                <a:gd name="connsiteY53" fmla="*/ 3029 h 10126"/>
                <a:gd name="connsiteX54" fmla="*/ 5427 w 10000"/>
                <a:gd name="connsiteY54" fmla="*/ 3023 h 10126"/>
                <a:gd name="connsiteX55" fmla="*/ 5464 w 10000"/>
                <a:gd name="connsiteY55" fmla="*/ 3029 h 10126"/>
                <a:gd name="connsiteX56" fmla="*/ 5502 w 10000"/>
                <a:gd name="connsiteY56" fmla="*/ 3035 h 10126"/>
                <a:gd name="connsiteX57" fmla="*/ 5558 w 10000"/>
                <a:gd name="connsiteY57" fmla="*/ 3071 h 10126"/>
                <a:gd name="connsiteX58" fmla="*/ 5596 w 10000"/>
                <a:gd name="connsiteY58" fmla="*/ 3101 h 10126"/>
                <a:gd name="connsiteX59" fmla="*/ 5634 w 10000"/>
                <a:gd name="connsiteY59" fmla="*/ 3143 h 10126"/>
                <a:gd name="connsiteX60" fmla="*/ 5665 w 10000"/>
                <a:gd name="connsiteY60" fmla="*/ 3179 h 10126"/>
                <a:gd name="connsiteX61" fmla="*/ 5696 w 10000"/>
                <a:gd name="connsiteY61" fmla="*/ 3216 h 10126"/>
                <a:gd name="connsiteX62" fmla="*/ 5734 w 10000"/>
                <a:gd name="connsiteY62" fmla="*/ 3252 h 10126"/>
                <a:gd name="connsiteX63" fmla="*/ 5759 w 10000"/>
                <a:gd name="connsiteY63" fmla="*/ 3270 h 10126"/>
                <a:gd name="connsiteX64" fmla="*/ 5778 w 10000"/>
                <a:gd name="connsiteY64" fmla="*/ 3282 h 10126"/>
                <a:gd name="connsiteX65" fmla="*/ 5803 w 10000"/>
                <a:gd name="connsiteY65" fmla="*/ 3294 h 10126"/>
                <a:gd name="connsiteX66" fmla="*/ 5834 w 10000"/>
                <a:gd name="connsiteY66" fmla="*/ 3300 h 10126"/>
                <a:gd name="connsiteX67" fmla="*/ 5935 w 10000"/>
                <a:gd name="connsiteY67" fmla="*/ 3319 h 10126"/>
                <a:gd name="connsiteX68" fmla="*/ 6073 w 10000"/>
                <a:gd name="connsiteY68" fmla="*/ 3354 h 10126"/>
                <a:gd name="connsiteX69" fmla="*/ 6230 w 10000"/>
                <a:gd name="connsiteY69" fmla="*/ 3390 h 10126"/>
                <a:gd name="connsiteX70" fmla="*/ 6405 w 10000"/>
                <a:gd name="connsiteY70" fmla="*/ 3433 h 10126"/>
                <a:gd name="connsiteX71" fmla="*/ 6568 w 10000"/>
                <a:gd name="connsiteY71" fmla="*/ 3463 h 10126"/>
                <a:gd name="connsiteX72" fmla="*/ 6719 w 10000"/>
                <a:gd name="connsiteY72" fmla="*/ 3487 h 10126"/>
                <a:gd name="connsiteX73" fmla="*/ 6788 w 10000"/>
                <a:gd name="connsiteY73" fmla="*/ 3493 h 10126"/>
                <a:gd name="connsiteX74" fmla="*/ 6838 w 10000"/>
                <a:gd name="connsiteY74" fmla="*/ 3499 h 10126"/>
                <a:gd name="connsiteX75" fmla="*/ 6888 w 10000"/>
                <a:gd name="connsiteY75" fmla="*/ 3493 h 10126"/>
                <a:gd name="connsiteX76" fmla="*/ 6913 w 10000"/>
                <a:gd name="connsiteY76" fmla="*/ 3481 h 10126"/>
                <a:gd name="connsiteX77" fmla="*/ 6888 w 10000"/>
                <a:gd name="connsiteY77" fmla="*/ 3439 h 10126"/>
                <a:gd name="connsiteX78" fmla="*/ 6857 w 10000"/>
                <a:gd name="connsiteY78" fmla="*/ 3390 h 10126"/>
                <a:gd name="connsiteX79" fmla="*/ 6838 w 10000"/>
                <a:gd name="connsiteY79" fmla="*/ 3342 h 10126"/>
                <a:gd name="connsiteX80" fmla="*/ 6826 w 10000"/>
                <a:gd name="connsiteY80" fmla="*/ 3288 h 10126"/>
                <a:gd name="connsiteX81" fmla="*/ 6794 w 10000"/>
                <a:gd name="connsiteY81" fmla="*/ 3197 h 10126"/>
                <a:gd name="connsiteX82" fmla="*/ 6788 w 10000"/>
                <a:gd name="connsiteY82" fmla="*/ 3149 h 10126"/>
                <a:gd name="connsiteX83" fmla="*/ 6788 w 10000"/>
                <a:gd name="connsiteY83" fmla="*/ 2962 h 10126"/>
                <a:gd name="connsiteX84" fmla="*/ 6788 w 10000"/>
                <a:gd name="connsiteY84" fmla="*/ 2776 h 10126"/>
                <a:gd name="connsiteX85" fmla="*/ 6995 w 10000"/>
                <a:gd name="connsiteY85" fmla="*/ 2776 h 10126"/>
                <a:gd name="connsiteX86" fmla="*/ 7033 w 10000"/>
                <a:gd name="connsiteY86" fmla="*/ 2842 h 10126"/>
                <a:gd name="connsiteX87" fmla="*/ 7058 w 10000"/>
                <a:gd name="connsiteY87" fmla="*/ 2884 h 10126"/>
                <a:gd name="connsiteX88" fmla="*/ 7095 w 10000"/>
                <a:gd name="connsiteY88" fmla="*/ 2920 h 10126"/>
                <a:gd name="connsiteX89" fmla="*/ 7127 w 10000"/>
                <a:gd name="connsiteY89" fmla="*/ 2962 h 10126"/>
                <a:gd name="connsiteX90" fmla="*/ 7120 w 10000"/>
                <a:gd name="connsiteY90" fmla="*/ 3059 h 10126"/>
                <a:gd name="connsiteX91" fmla="*/ 7102 w 10000"/>
                <a:gd name="connsiteY91" fmla="*/ 3119 h 10126"/>
                <a:gd name="connsiteX92" fmla="*/ 7089 w 10000"/>
                <a:gd name="connsiteY92" fmla="*/ 3167 h 10126"/>
                <a:gd name="connsiteX93" fmla="*/ 7077 w 10000"/>
                <a:gd name="connsiteY93" fmla="*/ 3222 h 10126"/>
                <a:gd name="connsiteX94" fmla="*/ 7208 w 10000"/>
                <a:gd name="connsiteY94" fmla="*/ 3258 h 10126"/>
                <a:gd name="connsiteX95" fmla="*/ 7334 w 10000"/>
                <a:gd name="connsiteY95" fmla="*/ 3294 h 10126"/>
                <a:gd name="connsiteX96" fmla="*/ 7396 w 10000"/>
                <a:gd name="connsiteY96" fmla="*/ 3313 h 10126"/>
                <a:gd name="connsiteX97" fmla="*/ 7459 w 10000"/>
                <a:gd name="connsiteY97" fmla="*/ 3325 h 10126"/>
                <a:gd name="connsiteX98" fmla="*/ 7522 w 10000"/>
                <a:gd name="connsiteY98" fmla="*/ 3331 h 10126"/>
                <a:gd name="connsiteX99" fmla="*/ 7585 w 10000"/>
                <a:gd name="connsiteY99" fmla="*/ 3336 h 10126"/>
                <a:gd name="connsiteX100" fmla="*/ 7591 w 10000"/>
                <a:gd name="connsiteY100" fmla="*/ 3360 h 10126"/>
                <a:gd name="connsiteX101" fmla="*/ 7604 w 10000"/>
                <a:gd name="connsiteY101" fmla="*/ 3384 h 10126"/>
                <a:gd name="connsiteX102" fmla="*/ 7622 w 10000"/>
                <a:gd name="connsiteY102" fmla="*/ 3402 h 10126"/>
                <a:gd name="connsiteX103" fmla="*/ 7654 w 10000"/>
                <a:gd name="connsiteY103" fmla="*/ 3420 h 10126"/>
                <a:gd name="connsiteX104" fmla="*/ 7704 w 10000"/>
                <a:gd name="connsiteY104" fmla="*/ 3439 h 10126"/>
                <a:gd name="connsiteX105" fmla="*/ 7748 w 10000"/>
                <a:gd name="connsiteY105" fmla="*/ 3445 h 10126"/>
                <a:gd name="connsiteX106" fmla="*/ 7798 w 10000"/>
                <a:gd name="connsiteY106" fmla="*/ 3445 h 10126"/>
                <a:gd name="connsiteX107" fmla="*/ 7836 w 10000"/>
                <a:gd name="connsiteY107" fmla="*/ 3433 h 10126"/>
                <a:gd name="connsiteX108" fmla="*/ 7880 w 10000"/>
                <a:gd name="connsiteY108" fmla="*/ 3414 h 10126"/>
                <a:gd name="connsiteX109" fmla="*/ 7911 w 10000"/>
                <a:gd name="connsiteY109" fmla="*/ 3396 h 10126"/>
                <a:gd name="connsiteX110" fmla="*/ 7949 w 10000"/>
                <a:gd name="connsiteY110" fmla="*/ 3372 h 10126"/>
                <a:gd name="connsiteX111" fmla="*/ 7980 w 10000"/>
                <a:gd name="connsiteY111" fmla="*/ 3342 h 10126"/>
                <a:gd name="connsiteX112" fmla="*/ 8011 w 10000"/>
                <a:gd name="connsiteY112" fmla="*/ 3313 h 10126"/>
                <a:gd name="connsiteX113" fmla="*/ 8036 w 10000"/>
                <a:gd name="connsiteY113" fmla="*/ 3282 h 10126"/>
                <a:gd name="connsiteX114" fmla="*/ 8087 w 10000"/>
                <a:gd name="connsiteY114" fmla="*/ 3203 h 10126"/>
                <a:gd name="connsiteX115" fmla="*/ 8118 w 10000"/>
                <a:gd name="connsiteY115" fmla="*/ 3131 h 10126"/>
                <a:gd name="connsiteX116" fmla="*/ 8149 w 10000"/>
                <a:gd name="connsiteY116" fmla="*/ 3065 h 10126"/>
                <a:gd name="connsiteX117" fmla="*/ 8168 w 10000"/>
                <a:gd name="connsiteY117" fmla="*/ 2999 h 10126"/>
                <a:gd name="connsiteX118" fmla="*/ 8231 w 10000"/>
                <a:gd name="connsiteY118" fmla="*/ 2932 h 10126"/>
                <a:gd name="connsiteX119" fmla="*/ 8294 w 10000"/>
                <a:gd name="connsiteY119" fmla="*/ 2866 h 10126"/>
                <a:gd name="connsiteX120" fmla="*/ 8363 w 10000"/>
                <a:gd name="connsiteY120" fmla="*/ 2813 h 10126"/>
                <a:gd name="connsiteX121" fmla="*/ 8432 w 10000"/>
                <a:gd name="connsiteY121" fmla="*/ 2752 h 10126"/>
                <a:gd name="connsiteX122" fmla="*/ 8507 w 10000"/>
                <a:gd name="connsiteY122" fmla="*/ 2704 h 10126"/>
                <a:gd name="connsiteX123" fmla="*/ 8576 w 10000"/>
                <a:gd name="connsiteY123" fmla="*/ 2656 h 10126"/>
                <a:gd name="connsiteX124" fmla="*/ 8651 w 10000"/>
                <a:gd name="connsiteY124" fmla="*/ 2614 h 10126"/>
                <a:gd name="connsiteX125" fmla="*/ 8726 w 10000"/>
                <a:gd name="connsiteY125" fmla="*/ 2570 h 10126"/>
                <a:gd name="connsiteX126" fmla="*/ 8808 w 10000"/>
                <a:gd name="connsiteY126" fmla="*/ 2528 h 10126"/>
                <a:gd name="connsiteX127" fmla="*/ 8890 w 10000"/>
                <a:gd name="connsiteY127" fmla="*/ 2492 h 10126"/>
                <a:gd name="connsiteX128" fmla="*/ 8971 w 10000"/>
                <a:gd name="connsiteY128" fmla="*/ 2462 h 10126"/>
                <a:gd name="connsiteX129" fmla="*/ 9059 w 10000"/>
                <a:gd name="connsiteY129" fmla="*/ 2432 h 10126"/>
                <a:gd name="connsiteX130" fmla="*/ 9235 w 10000"/>
                <a:gd name="connsiteY130" fmla="*/ 2378 h 10126"/>
                <a:gd name="connsiteX131" fmla="*/ 9417 w 10000"/>
                <a:gd name="connsiteY131" fmla="*/ 2335 h 10126"/>
                <a:gd name="connsiteX132" fmla="*/ 9454 w 10000"/>
                <a:gd name="connsiteY132" fmla="*/ 2384 h 10126"/>
                <a:gd name="connsiteX133" fmla="*/ 9504 w 10000"/>
                <a:gd name="connsiteY133" fmla="*/ 2444 h 10126"/>
                <a:gd name="connsiteX134" fmla="*/ 9573 w 10000"/>
                <a:gd name="connsiteY134" fmla="*/ 2510 h 10126"/>
                <a:gd name="connsiteX135" fmla="*/ 9642 w 10000"/>
                <a:gd name="connsiteY135" fmla="*/ 2583 h 10126"/>
                <a:gd name="connsiteX136" fmla="*/ 9718 w 10000"/>
                <a:gd name="connsiteY136" fmla="*/ 2644 h 10126"/>
                <a:gd name="connsiteX137" fmla="*/ 9799 w 10000"/>
                <a:gd name="connsiteY137" fmla="*/ 2692 h 10126"/>
                <a:gd name="connsiteX138" fmla="*/ 9837 w 10000"/>
                <a:gd name="connsiteY138" fmla="*/ 2716 h 10126"/>
                <a:gd name="connsiteX139" fmla="*/ 9875 w 10000"/>
                <a:gd name="connsiteY139" fmla="*/ 2728 h 10126"/>
                <a:gd name="connsiteX140" fmla="*/ 9918 w 10000"/>
                <a:gd name="connsiteY140" fmla="*/ 2740 h 10126"/>
                <a:gd name="connsiteX141" fmla="*/ 9956 w 10000"/>
                <a:gd name="connsiteY141" fmla="*/ 2740 h 10126"/>
                <a:gd name="connsiteX142" fmla="*/ 10000 w 10000"/>
                <a:gd name="connsiteY142" fmla="*/ 2668 h 10126"/>
                <a:gd name="connsiteX143" fmla="*/ 9975 w 10000"/>
                <a:gd name="connsiteY143" fmla="*/ 2795 h 10126"/>
                <a:gd name="connsiteX144" fmla="*/ 9944 w 10000"/>
                <a:gd name="connsiteY144" fmla="*/ 2938 h 10126"/>
                <a:gd name="connsiteX145" fmla="*/ 9931 w 10000"/>
                <a:gd name="connsiteY145" fmla="*/ 3005 h 10126"/>
                <a:gd name="connsiteX146" fmla="*/ 9906 w 10000"/>
                <a:gd name="connsiteY146" fmla="*/ 3065 h 10126"/>
                <a:gd name="connsiteX147" fmla="*/ 9887 w 10000"/>
                <a:gd name="connsiteY147" fmla="*/ 3089 h 10126"/>
                <a:gd name="connsiteX148" fmla="*/ 9875 w 10000"/>
                <a:gd name="connsiteY148" fmla="*/ 3113 h 10126"/>
                <a:gd name="connsiteX149" fmla="*/ 9856 w 10000"/>
                <a:gd name="connsiteY149" fmla="*/ 3131 h 10126"/>
                <a:gd name="connsiteX150" fmla="*/ 9837 w 10000"/>
                <a:gd name="connsiteY150" fmla="*/ 3149 h 10126"/>
                <a:gd name="connsiteX151" fmla="*/ 9749 w 10000"/>
                <a:gd name="connsiteY151" fmla="*/ 3167 h 10126"/>
                <a:gd name="connsiteX152" fmla="*/ 9605 w 10000"/>
                <a:gd name="connsiteY152" fmla="*/ 3216 h 10126"/>
                <a:gd name="connsiteX153" fmla="*/ 9536 w 10000"/>
                <a:gd name="connsiteY153" fmla="*/ 3258 h 10126"/>
                <a:gd name="connsiteX154" fmla="*/ 9479 w 10000"/>
                <a:gd name="connsiteY154" fmla="*/ 3294 h 10126"/>
                <a:gd name="connsiteX155" fmla="*/ 9448 w 10000"/>
                <a:gd name="connsiteY155" fmla="*/ 3313 h 10126"/>
                <a:gd name="connsiteX156" fmla="*/ 9435 w 10000"/>
                <a:gd name="connsiteY156" fmla="*/ 3331 h 10126"/>
                <a:gd name="connsiteX157" fmla="*/ 9423 w 10000"/>
                <a:gd name="connsiteY157" fmla="*/ 3354 h 10126"/>
                <a:gd name="connsiteX158" fmla="*/ 9417 w 10000"/>
                <a:gd name="connsiteY158" fmla="*/ 3372 h 10126"/>
                <a:gd name="connsiteX159" fmla="*/ 9423 w 10000"/>
                <a:gd name="connsiteY159" fmla="*/ 3583 h 10126"/>
                <a:gd name="connsiteX160" fmla="*/ 9417 w 10000"/>
                <a:gd name="connsiteY160" fmla="*/ 3824 h 10126"/>
                <a:gd name="connsiteX161" fmla="*/ 9398 w 10000"/>
                <a:gd name="connsiteY161" fmla="*/ 3884 h 10126"/>
                <a:gd name="connsiteX162" fmla="*/ 9391 w 10000"/>
                <a:gd name="connsiteY162" fmla="*/ 3950 h 10126"/>
                <a:gd name="connsiteX163" fmla="*/ 9379 w 10000"/>
                <a:gd name="connsiteY163" fmla="*/ 4004 h 10126"/>
                <a:gd name="connsiteX164" fmla="*/ 9366 w 10000"/>
                <a:gd name="connsiteY164" fmla="*/ 4059 h 10126"/>
                <a:gd name="connsiteX165" fmla="*/ 9348 w 10000"/>
                <a:gd name="connsiteY165" fmla="*/ 4108 h 10126"/>
                <a:gd name="connsiteX166" fmla="*/ 9316 w 10000"/>
                <a:gd name="connsiteY166" fmla="*/ 4156 h 10126"/>
                <a:gd name="connsiteX167" fmla="*/ 9285 w 10000"/>
                <a:gd name="connsiteY167" fmla="*/ 4192 h 10126"/>
                <a:gd name="connsiteX168" fmla="*/ 9247 w 10000"/>
                <a:gd name="connsiteY168" fmla="*/ 4222 h 10126"/>
                <a:gd name="connsiteX169" fmla="*/ 9228 w 10000"/>
                <a:gd name="connsiteY169" fmla="*/ 4240 h 10126"/>
                <a:gd name="connsiteX170" fmla="*/ 9184 w 10000"/>
                <a:gd name="connsiteY170" fmla="*/ 4246 h 10126"/>
                <a:gd name="connsiteX171" fmla="*/ 9141 w 10000"/>
                <a:gd name="connsiteY171" fmla="*/ 4252 h 10126"/>
                <a:gd name="connsiteX172" fmla="*/ 9090 w 10000"/>
                <a:gd name="connsiteY172" fmla="*/ 4258 h 10126"/>
                <a:gd name="connsiteX173" fmla="*/ 9040 w 10000"/>
                <a:gd name="connsiteY173" fmla="*/ 4264 h 10126"/>
                <a:gd name="connsiteX174" fmla="*/ 8996 w 10000"/>
                <a:gd name="connsiteY174" fmla="*/ 4283 h 10126"/>
                <a:gd name="connsiteX175" fmla="*/ 8977 w 10000"/>
                <a:gd name="connsiteY175" fmla="*/ 4289 h 10126"/>
                <a:gd name="connsiteX176" fmla="*/ 8965 w 10000"/>
                <a:gd name="connsiteY176" fmla="*/ 4307 h 10126"/>
                <a:gd name="connsiteX177" fmla="*/ 8959 w 10000"/>
                <a:gd name="connsiteY177" fmla="*/ 4319 h 10126"/>
                <a:gd name="connsiteX178" fmla="*/ 8959 w 10000"/>
                <a:gd name="connsiteY178" fmla="*/ 4337 h 10126"/>
                <a:gd name="connsiteX179" fmla="*/ 8952 w 10000"/>
                <a:gd name="connsiteY179" fmla="*/ 4408 h 10126"/>
                <a:gd name="connsiteX180" fmla="*/ 8952 w 10000"/>
                <a:gd name="connsiteY180" fmla="*/ 4493 h 10126"/>
                <a:gd name="connsiteX181" fmla="*/ 8940 w 10000"/>
                <a:gd name="connsiteY181" fmla="*/ 4583 h 10126"/>
                <a:gd name="connsiteX182" fmla="*/ 8927 w 10000"/>
                <a:gd name="connsiteY182" fmla="*/ 4667 h 10126"/>
                <a:gd name="connsiteX183" fmla="*/ 8908 w 10000"/>
                <a:gd name="connsiteY183" fmla="*/ 4753 h 10126"/>
                <a:gd name="connsiteX184" fmla="*/ 8890 w 10000"/>
                <a:gd name="connsiteY184" fmla="*/ 4831 h 10126"/>
                <a:gd name="connsiteX185" fmla="*/ 8864 w 10000"/>
                <a:gd name="connsiteY185" fmla="*/ 4902 h 10126"/>
                <a:gd name="connsiteX186" fmla="*/ 8833 w 10000"/>
                <a:gd name="connsiteY186" fmla="*/ 4969 h 10126"/>
                <a:gd name="connsiteX187" fmla="*/ 8538 w 10000"/>
                <a:gd name="connsiteY187" fmla="*/ 4480 h 10126"/>
                <a:gd name="connsiteX188" fmla="*/ 8526 w 10000"/>
                <a:gd name="connsiteY188" fmla="*/ 4505 h 10126"/>
                <a:gd name="connsiteX189" fmla="*/ 8494 w 10000"/>
                <a:gd name="connsiteY189" fmla="*/ 4559 h 10126"/>
                <a:gd name="connsiteX190" fmla="*/ 8463 w 10000"/>
                <a:gd name="connsiteY190" fmla="*/ 4589 h 10126"/>
                <a:gd name="connsiteX191" fmla="*/ 8438 w 10000"/>
                <a:gd name="connsiteY191" fmla="*/ 4613 h 10126"/>
                <a:gd name="connsiteX192" fmla="*/ 8407 w 10000"/>
                <a:gd name="connsiteY192" fmla="*/ 4631 h 10126"/>
                <a:gd name="connsiteX193" fmla="*/ 8375 w 10000"/>
                <a:gd name="connsiteY193" fmla="*/ 4637 h 10126"/>
                <a:gd name="connsiteX194" fmla="*/ 8338 w 10000"/>
                <a:gd name="connsiteY194" fmla="*/ 4631 h 10126"/>
                <a:gd name="connsiteX195" fmla="*/ 8312 w 10000"/>
                <a:gd name="connsiteY195" fmla="*/ 4625 h 10126"/>
                <a:gd name="connsiteX196" fmla="*/ 8287 w 10000"/>
                <a:gd name="connsiteY196" fmla="*/ 4607 h 10126"/>
                <a:gd name="connsiteX197" fmla="*/ 8256 w 10000"/>
                <a:gd name="connsiteY197" fmla="*/ 4589 h 10126"/>
                <a:gd name="connsiteX198" fmla="*/ 8237 w 10000"/>
                <a:gd name="connsiteY198" fmla="*/ 4559 h 10126"/>
                <a:gd name="connsiteX199" fmla="*/ 8225 w 10000"/>
                <a:gd name="connsiteY199" fmla="*/ 4535 h 10126"/>
                <a:gd name="connsiteX200" fmla="*/ 8206 w 10000"/>
                <a:gd name="connsiteY200" fmla="*/ 4511 h 10126"/>
                <a:gd name="connsiteX201" fmla="*/ 8206 w 10000"/>
                <a:gd name="connsiteY201" fmla="*/ 4480 h 10126"/>
                <a:gd name="connsiteX202" fmla="*/ 8206 w 10000"/>
                <a:gd name="connsiteY202" fmla="*/ 4444 h 10126"/>
                <a:gd name="connsiteX203" fmla="*/ 8225 w 10000"/>
                <a:gd name="connsiteY203" fmla="*/ 4408 h 10126"/>
                <a:gd name="connsiteX204" fmla="*/ 8237 w 10000"/>
                <a:gd name="connsiteY204" fmla="*/ 4372 h 10126"/>
                <a:gd name="connsiteX205" fmla="*/ 8250 w 10000"/>
                <a:gd name="connsiteY205" fmla="*/ 4337 h 10126"/>
                <a:gd name="connsiteX206" fmla="*/ 8300 w 10000"/>
                <a:gd name="connsiteY206" fmla="*/ 4270 h 10126"/>
                <a:gd name="connsiteX207" fmla="*/ 8356 w 10000"/>
                <a:gd name="connsiteY207" fmla="*/ 4204 h 10126"/>
                <a:gd name="connsiteX208" fmla="*/ 8407 w 10000"/>
                <a:gd name="connsiteY208" fmla="*/ 4144 h 10126"/>
                <a:gd name="connsiteX209" fmla="*/ 8457 w 10000"/>
                <a:gd name="connsiteY209" fmla="*/ 4078 h 10126"/>
                <a:gd name="connsiteX210" fmla="*/ 8469 w 10000"/>
                <a:gd name="connsiteY210" fmla="*/ 4041 h 10126"/>
                <a:gd name="connsiteX211" fmla="*/ 8482 w 10000"/>
                <a:gd name="connsiteY211" fmla="*/ 4010 h 10126"/>
                <a:gd name="connsiteX212" fmla="*/ 8501 w 10000"/>
                <a:gd name="connsiteY212" fmla="*/ 3968 h 10126"/>
                <a:gd name="connsiteX213" fmla="*/ 8501 w 10000"/>
                <a:gd name="connsiteY213" fmla="*/ 3932 h 10126"/>
                <a:gd name="connsiteX214" fmla="*/ 7748 w 10000"/>
                <a:gd name="connsiteY214" fmla="*/ 3932 h 10126"/>
                <a:gd name="connsiteX215" fmla="*/ 7723 w 10000"/>
                <a:gd name="connsiteY215" fmla="*/ 3926 h 10126"/>
                <a:gd name="connsiteX216" fmla="*/ 7685 w 10000"/>
                <a:gd name="connsiteY216" fmla="*/ 3908 h 10126"/>
                <a:gd name="connsiteX217" fmla="*/ 7660 w 10000"/>
                <a:gd name="connsiteY217" fmla="*/ 3872 h 10126"/>
                <a:gd name="connsiteX218" fmla="*/ 7635 w 10000"/>
                <a:gd name="connsiteY218" fmla="*/ 3836 h 10126"/>
                <a:gd name="connsiteX219" fmla="*/ 7616 w 10000"/>
                <a:gd name="connsiteY219" fmla="*/ 3788 h 10126"/>
                <a:gd name="connsiteX220" fmla="*/ 7597 w 10000"/>
                <a:gd name="connsiteY220" fmla="*/ 3740 h 10126"/>
                <a:gd name="connsiteX221" fmla="*/ 7591 w 10000"/>
                <a:gd name="connsiteY221" fmla="*/ 3686 h 10126"/>
                <a:gd name="connsiteX222" fmla="*/ 7585 w 10000"/>
                <a:gd name="connsiteY222" fmla="*/ 3631 h 10126"/>
                <a:gd name="connsiteX223" fmla="*/ 7547 w 10000"/>
                <a:gd name="connsiteY223" fmla="*/ 3631 h 10126"/>
                <a:gd name="connsiteX224" fmla="*/ 7516 w 10000"/>
                <a:gd name="connsiteY224" fmla="*/ 3625 h 10126"/>
                <a:gd name="connsiteX225" fmla="*/ 7478 w 10000"/>
                <a:gd name="connsiteY225" fmla="*/ 3619 h 10126"/>
                <a:gd name="connsiteX226" fmla="*/ 7447 w 10000"/>
                <a:gd name="connsiteY226" fmla="*/ 3607 h 10126"/>
                <a:gd name="connsiteX227" fmla="*/ 7415 w 10000"/>
                <a:gd name="connsiteY227" fmla="*/ 3589 h 10126"/>
                <a:gd name="connsiteX228" fmla="*/ 7396 w 10000"/>
                <a:gd name="connsiteY228" fmla="*/ 3571 h 10126"/>
                <a:gd name="connsiteX229" fmla="*/ 7384 w 10000"/>
                <a:gd name="connsiteY229" fmla="*/ 3541 h 10126"/>
                <a:gd name="connsiteX230" fmla="*/ 7378 w 10000"/>
                <a:gd name="connsiteY230" fmla="*/ 3517 h 10126"/>
                <a:gd name="connsiteX231" fmla="*/ 7321 w 10000"/>
                <a:gd name="connsiteY231" fmla="*/ 3517 h 10126"/>
                <a:gd name="connsiteX232" fmla="*/ 7271 w 10000"/>
                <a:gd name="connsiteY232" fmla="*/ 3517 h 10126"/>
                <a:gd name="connsiteX233" fmla="*/ 7221 w 10000"/>
                <a:gd name="connsiteY233" fmla="*/ 3517 h 10126"/>
                <a:gd name="connsiteX234" fmla="*/ 7171 w 10000"/>
                <a:gd name="connsiteY234" fmla="*/ 3517 h 10126"/>
                <a:gd name="connsiteX235" fmla="*/ 7127 w 10000"/>
                <a:gd name="connsiteY235" fmla="*/ 3523 h 10126"/>
                <a:gd name="connsiteX236" fmla="*/ 7095 w 10000"/>
                <a:gd name="connsiteY236" fmla="*/ 3529 h 10126"/>
                <a:gd name="connsiteX237" fmla="*/ 7051 w 10000"/>
                <a:gd name="connsiteY237" fmla="*/ 3547 h 10126"/>
                <a:gd name="connsiteX238" fmla="*/ 7008 w 10000"/>
                <a:gd name="connsiteY238" fmla="*/ 3571 h 10126"/>
                <a:gd name="connsiteX239" fmla="*/ 6976 w 10000"/>
                <a:gd name="connsiteY239" fmla="*/ 3601 h 10126"/>
                <a:gd name="connsiteX240" fmla="*/ 6939 w 10000"/>
                <a:gd name="connsiteY240" fmla="*/ 3631 h 10126"/>
                <a:gd name="connsiteX241" fmla="*/ 6920 w 10000"/>
                <a:gd name="connsiteY241" fmla="*/ 3668 h 10126"/>
                <a:gd name="connsiteX242" fmla="*/ 6913 w 10000"/>
                <a:gd name="connsiteY242" fmla="*/ 3704 h 10126"/>
                <a:gd name="connsiteX243" fmla="*/ 6926 w 10000"/>
                <a:gd name="connsiteY243" fmla="*/ 3728 h 10126"/>
                <a:gd name="connsiteX244" fmla="*/ 6964 w 10000"/>
                <a:gd name="connsiteY244" fmla="*/ 3758 h 10126"/>
                <a:gd name="connsiteX245" fmla="*/ 7008 w 10000"/>
                <a:gd name="connsiteY245" fmla="*/ 3794 h 10126"/>
                <a:gd name="connsiteX246" fmla="*/ 7070 w 10000"/>
                <a:gd name="connsiteY246" fmla="*/ 3830 h 10126"/>
                <a:gd name="connsiteX247" fmla="*/ 7133 w 10000"/>
                <a:gd name="connsiteY247" fmla="*/ 3866 h 10126"/>
                <a:gd name="connsiteX248" fmla="*/ 7196 w 10000"/>
                <a:gd name="connsiteY248" fmla="*/ 3896 h 10126"/>
                <a:gd name="connsiteX249" fmla="*/ 7252 w 10000"/>
                <a:gd name="connsiteY249" fmla="*/ 3920 h 10126"/>
                <a:gd name="connsiteX250" fmla="*/ 7290 w 10000"/>
                <a:gd name="connsiteY250" fmla="*/ 3932 h 10126"/>
                <a:gd name="connsiteX251" fmla="*/ 7208 w 10000"/>
                <a:gd name="connsiteY251" fmla="*/ 3992 h 10126"/>
                <a:gd name="connsiteX252" fmla="*/ 7114 w 10000"/>
                <a:gd name="connsiteY252" fmla="*/ 4066 h 10126"/>
                <a:gd name="connsiteX253" fmla="*/ 7070 w 10000"/>
                <a:gd name="connsiteY253" fmla="*/ 4102 h 10126"/>
                <a:gd name="connsiteX254" fmla="*/ 7033 w 10000"/>
                <a:gd name="connsiteY254" fmla="*/ 4144 h 10126"/>
                <a:gd name="connsiteX255" fmla="*/ 7020 w 10000"/>
                <a:gd name="connsiteY255" fmla="*/ 4162 h 10126"/>
                <a:gd name="connsiteX256" fmla="*/ 7008 w 10000"/>
                <a:gd name="connsiteY256" fmla="*/ 4180 h 10126"/>
                <a:gd name="connsiteX257" fmla="*/ 7001 w 10000"/>
                <a:gd name="connsiteY257" fmla="*/ 4204 h 10126"/>
                <a:gd name="connsiteX258" fmla="*/ 6995 w 10000"/>
                <a:gd name="connsiteY258" fmla="*/ 4222 h 10126"/>
                <a:gd name="connsiteX259" fmla="*/ 7001 w 10000"/>
                <a:gd name="connsiteY259" fmla="*/ 4252 h 10126"/>
                <a:gd name="connsiteX260" fmla="*/ 7008 w 10000"/>
                <a:gd name="connsiteY260" fmla="*/ 4270 h 10126"/>
                <a:gd name="connsiteX261" fmla="*/ 7026 w 10000"/>
                <a:gd name="connsiteY261" fmla="*/ 4295 h 10126"/>
                <a:gd name="connsiteX262" fmla="*/ 7039 w 10000"/>
                <a:gd name="connsiteY262" fmla="*/ 4319 h 10126"/>
                <a:gd name="connsiteX263" fmla="*/ 7089 w 10000"/>
                <a:gd name="connsiteY263" fmla="*/ 4366 h 10126"/>
                <a:gd name="connsiteX264" fmla="*/ 7146 w 10000"/>
                <a:gd name="connsiteY264" fmla="*/ 4414 h 10126"/>
                <a:gd name="connsiteX265" fmla="*/ 7208 w 10000"/>
                <a:gd name="connsiteY265" fmla="*/ 4456 h 10126"/>
                <a:gd name="connsiteX266" fmla="*/ 7277 w 10000"/>
                <a:gd name="connsiteY266" fmla="*/ 4493 h 10126"/>
                <a:gd name="connsiteX267" fmla="*/ 7315 w 10000"/>
                <a:gd name="connsiteY267" fmla="*/ 4505 h 10126"/>
                <a:gd name="connsiteX268" fmla="*/ 7346 w 10000"/>
                <a:gd name="connsiteY268" fmla="*/ 4511 h 10126"/>
                <a:gd name="connsiteX269" fmla="*/ 7384 w 10000"/>
                <a:gd name="connsiteY269" fmla="*/ 4517 h 10126"/>
                <a:gd name="connsiteX270" fmla="*/ 7415 w 10000"/>
                <a:gd name="connsiteY270" fmla="*/ 4523 h 10126"/>
                <a:gd name="connsiteX271" fmla="*/ 7585 w 10000"/>
                <a:gd name="connsiteY271" fmla="*/ 5150 h 10126"/>
                <a:gd name="connsiteX272" fmla="*/ 7491 w 10000"/>
                <a:gd name="connsiteY272" fmla="*/ 5150 h 10126"/>
                <a:gd name="connsiteX273" fmla="*/ 7403 w 10000"/>
                <a:gd name="connsiteY273" fmla="*/ 5150 h 10126"/>
                <a:gd name="connsiteX274" fmla="*/ 7321 w 10000"/>
                <a:gd name="connsiteY274" fmla="*/ 5150 h 10126"/>
                <a:gd name="connsiteX275" fmla="*/ 7252 w 10000"/>
                <a:gd name="connsiteY275" fmla="*/ 5150 h 10126"/>
                <a:gd name="connsiteX276" fmla="*/ 7208 w 10000"/>
                <a:gd name="connsiteY276" fmla="*/ 5144 h 10126"/>
                <a:gd name="connsiteX277" fmla="*/ 7164 w 10000"/>
                <a:gd name="connsiteY277" fmla="*/ 5113 h 10126"/>
                <a:gd name="connsiteX278" fmla="*/ 7133 w 10000"/>
                <a:gd name="connsiteY278" fmla="*/ 5101 h 10126"/>
                <a:gd name="connsiteX279" fmla="*/ 7102 w 10000"/>
                <a:gd name="connsiteY279" fmla="*/ 5089 h 10126"/>
                <a:gd name="connsiteX280" fmla="*/ 7070 w 10000"/>
                <a:gd name="connsiteY280" fmla="*/ 5083 h 10126"/>
                <a:gd name="connsiteX281" fmla="*/ 7039 w 10000"/>
                <a:gd name="connsiteY281" fmla="*/ 5077 h 10126"/>
                <a:gd name="connsiteX282" fmla="*/ 7008 w 10000"/>
                <a:gd name="connsiteY282" fmla="*/ 5089 h 10126"/>
                <a:gd name="connsiteX283" fmla="*/ 6957 w 10000"/>
                <a:gd name="connsiteY283" fmla="*/ 5119 h 10126"/>
                <a:gd name="connsiteX284" fmla="*/ 6895 w 10000"/>
                <a:gd name="connsiteY284" fmla="*/ 5162 h 10126"/>
                <a:gd name="connsiteX285" fmla="*/ 6819 w 10000"/>
                <a:gd name="connsiteY285" fmla="*/ 5210 h 10126"/>
                <a:gd name="connsiteX286" fmla="*/ 6744 w 10000"/>
                <a:gd name="connsiteY286" fmla="*/ 5270 h 10126"/>
                <a:gd name="connsiteX287" fmla="*/ 6681 w 10000"/>
                <a:gd name="connsiteY287" fmla="*/ 5318 h 10126"/>
                <a:gd name="connsiteX288" fmla="*/ 6637 w 10000"/>
                <a:gd name="connsiteY288" fmla="*/ 5354 h 10126"/>
                <a:gd name="connsiteX289" fmla="*/ 6625 w 10000"/>
                <a:gd name="connsiteY289" fmla="*/ 5378 h 10126"/>
                <a:gd name="connsiteX290" fmla="*/ 6750 w 10000"/>
                <a:gd name="connsiteY290" fmla="*/ 5450 h 10126"/>
                <a:gd name="connsiteX291" fmla="*/ 6744 w 10000"/>
                <a:gd name="connsiteY291" fmla="*/ 5487 h 10126"/>
                <a:gd name="connsiteX292" fmla="*/ 6725 w 10000"/>
                <a:gd name="connsiteY292" fmla="*/ 5529 h 10126"/>
                <a:gd name="connsiteX293" fmla="*/ 6706 w 10000"/>
                <a:gd name="connsiteY293" fmla="*/ 5560 h 10126"/>
                <a:gd name="connsiteX294" fmla="*/ 6688 w 10000"/>
                <a:gd name="connsiteY294" fmla="*/ 5602 h 10126"/>
                <a:gd name="connsiteX295" fmla="*/ 6637 w 10000"/>
                <a:gd name="connsiteY295" fmla="*/ 5656 h 10126"/>
                <a:gd name="connsiteX296" fmla="*/ 6581 w 10000"/>
                <a:gd name="connsiteY296" fmla="*/ 5710 h 10126"/>
                <a:gd name="connsiteX297" fmla="*/ 6518 w 10000"/>
                <a:gd name="connsiteY297" fmla="*/ 5758 h 10126"/>
                <a:gd name="connsiteX298" fmla="*/ 6443 w 10000"/>
                <a:gd name="connsiteY298" fmla="*/ 5801 h 10126"/>
                <a:gd name="connsiteX299" fmla="*/ 6374 w 10000"/>
                <a:gd name="connsiteY299" fmla="*/ 5837 h 10126"/>
                <a:gd name="connsiteX300" fmla="*/ 6299 w 10000"/>
                <a:gd name="connsiteY300" fmla="*/ 5872 h 10126"/>
                <a:gd name="connsiteX301" fmla="*/ 6223 w 10000"/>
                <a:gd name="connsiteY301" fmla="*/ 5920 h 10126"/>
                <a:gd name="connsiteX302" fmla="*/ 6154 w 10000"/>
                <a:gd name="connsiteY302" fmla="*/ 5956 h 10126"/>
                <a:gd name="connsiteX303" fmla="*/ 6092 w 10000"/>
                <a:gd name="connsiteY303" fmla="*/ 5999 h 10126"/>
                <a:gd name="connsiteX304" fmla="*/ 6035 w 10000"/>
                <a:gd name="connsiteY304" fmla="*/ 6047 h 10126"/>
                <a:gd name="connsiteX305" fmla="*/ 6004 w 10000"/>
                <a:gd name="connsiteY305" fmla="*/ 6071 h 10126"/>
                <a:gd name="connsiteX306" fmla="*/ 5985 w 10000"/>
                <a:gd name="connsiteY306" fmla="*/ 6095 h 10126"/>
                <a:gd name="connsiteX307" fmla="*/ 5966 w 10000"/>
                <a:gd name="connsiteY307" fmla="*/ 6125 h 10126"/>
                <a:gd name="connsiteX308" fmla="*/ 5947 w 10000"/>
                <a:gd name="connsiteY308" fmla="*/ 6155 h 10126"/>
                <a:gd name="connsiteX309" fmla="*/ 5935 w 10000"/>
                <a:gd name="connsiteY309" fmla="*/ 6193 h 10126"/>
                <a:gd name="connsiteX310" fmla="*/ 5922 w 10000"/>
                <a:gd name="connsiteY310" fmla="*/ 6223 h 10126"/>
                <a:gd name="connsiteX311" fmla="*/ 5916 w 10000"/>
                <a:gd name="connsiteY311" fmla="*/ 6265 h 10126"/>
                <a:gd name="connsiteX312" fmla="*/ 5916 w 10000"/>
                <a:gd name="connsiteY312" fmla="*/ 6307 h 10126"/>
                <a:gd name="connsiteX313" fmla="*/ 5859 w 10000"/>
                <a:gd name="connsiteY313" fmla="*/ 6325 h 10126"/>
                <a:gd name="connsiteX314" fmla="*/ 5809 w 10000"/>
                <a:gd name="connsiteY314" fmla="*/ 6343 h 10126"/>
                <a:gd name="connsiteX315" fmla="*/ 5765 w 10000"/>
                <a:gd name="connsiteY315" fmla="*/ 6366 h 10126"/>
                <a:gd name="connsiteX316" fmla="*/ 5721 w 10000"/>
                <a:gd name="connsiteY316" fmla="*/ 6390 h 10126"/>
                <a:gd name="connsiteX317" fmla="*/ 5634 w 10000"/>
                <a:gd name="connsiteY317" fmla="*/ 6451 h 10126"/>
                <a:gd name="connsiteX318" fmla="*/ 5558 w 10000"/>
                <a:gd name="connsiteY318" fmla="*/ 6523 h 10126"/>
                <a:gd name="connsiteX319" fmla="*/ 5420 w 10000"/>
                <a:gd name="connsiteY319" fmla="*/ 6686 h 10126"/>
                <a:gd name="connsiteX320" fmla="*/ 5289 w 10000"/>
                <a:gd name="connsiteY320" fmla="*/ 6860 h 10126"/>
                <a:gd name="connsiteX321" fmla="*/ 5220 w 10000"/>
                <a:gd name="connsiteY321" fmla="*/ 6951 h 10126"/>
                <a:gd name="connsiteX322" fmla="*/ 5151 w 10000"/>
                <a:gd name="connsiteY322" fmla="*/ 7029 h 10126"/>
                <a:gd name="connsiteX323" fmla="*/ 5075 w 10000"/>
                <a:gd name="connsiteY323" fmla="*/ 7102 h 10126"/>
                <a:gd name="connsiteX324" fmla="*/ 4994 w 10000"/>
                <a:gd name="connsiteY324" fmla="*/ 7168 h 10126"/>
                <a:gd name="connsiteX325" fmla="*/ 4944 w 10000"/>
                <a:gd name="connsiteY325" fmla="*/ 7198 h 10126"/>
                <a:gd name="connsiteX326" fmla="*/ 4893 w 10000"/>
                <a:gd name="connsiteY326" fmla="*/ 7222 h 10126"/>
                <a:gd name="connsiteX327" fmla="*/ 4849 w 10000"/>
                <a:gd name="connsiteY327" fmla="*/ 7246 h 10126"/>
                <a:gd name="connsiteX328" fmla="*/ 4793 w 10000"/>
                <a:gd name="connsiteY328" fmla="*/ 7271 h 10126"/>
                <a:gd name="connsiteX329" fmla="*/ 4730 w 10000"/>
                <a:gd name="connsiteY329" fmla="*/ 7289 h 10126"/>
                <a:gd name="connsiteX330" fmla="*/ 4674 w 10000"/>
                <a:gd name="connsiteY330" fmla="*/ 7301 h 10126"/>
                <a:gd name="connsiteX331" fmla="*/ 4605 w 10000"/>
                <a:gd name="connsiteY331" fmla="*/ 7307 h 10126"/>
                <a:gd name="connsiteX332" fmla="*/ 4536 w 10000"/>
                <a:gd name="connsiteY332" fmla="*/ 7307 h 10126"/>
                <a:gd name="connsiteX333" fmla="*/ 4536 w 10000"/>
                <a:gd name="connsiteY333" fmla="*/ 7360 h 10126"/>
                <a:gd name="connsiteX334" fmla="*/ 4536 w 10000"/>
                <a:gd name="connsiteY334" fmla="*/ 7414 h 10126"/>
                <a:gd name="connsiteX335" fmla="*/ 4536 w 10000"/>
                <a:gd name="connsiteY335" fmla="*/ 7456 h 10126"/>
                <a:gd name="connsiteX336" fmla="*/ 4536 w 10000"/>
                <a:gd name="connsiteY336" fmla="*/ 7493 h 10126"/>
                <a:gd name="connsiteX337" fmla="*/ 4536 w 10000"/>
                <a:gd name="connsiteY337" fmla="*/ 7559 h 10126"/>
                <a:gd name="connsiteX338" fmla="*/ 4536 w 10000"/>
                <a:gd name="connsiteY338" fmla="*/ 7662 h 10126"/>
                <a:gd name="connsiteX339" fmla="*/ 4536 w 10000"/>
                <a:gd name="connsiteY339" fmla="*/ 7771 h 10126"/>
                <a:gd name="connsiteX340" fmla="*/ 4548 w 10000"/>
                <a:gd name="connsiteY340" fmla="*/ 7884 h 10126"/>
                <a:gd name="connsiteX341" fmla="*/ 4561 w 10000"/>
                <a:gd name="connsiteY341" fmla="*/ 7945 h 10126"/>
                <a:gd name="connsiteX342" fmla="*/ 4573 w 10000"/>
                <a:gd name="connsiteY342" fmla="*/ 7999 h 10126"/>
                <a:gd name="connsiteX343" fmla="*/ 4586 w 10000"/>
                <a:gd name="connsiteY343" fmla="*/ 8047 h 10126"/>
                <a:gd name="connsiteX344" fmla="*/ 4611 w 10000"/>
                <a:gd name="connsiteY344" fmla="*/ 8089 h 10126"/>
                <a:gd name="connsiteX345" fmla="*/ 4636 w 10000"/>
                <a:gd name="connsiteY345" fmla="*/ 8132 h 10126"/>
                <a:gd name="connsiteX346" fmla="*/ 4668 w 10000"/>
                <a:gd name="connsiteY346" fmla="*/ 8162 h 10126"/>
                <a:gd name="connsiteX347" fmla="*/ 4705 w 10000"/>
                <a:gd name="connsiteY347" fmla="*/ 8186 h 10126"/>
                <a:gd name="connsiteX348" fmla="*/ 4749 w 10000"/>
                <a:gd name="connsiteY348" fmla="*/ 8198 h 10126"/>
                <a:gd name="connsiteX349" fmla="*/ 4711 w 10000"/>
                <a:gd name="connsiteY349" fmla="*/ 8294 h 10126"/>
                <a:gd name="connsiteX350" fmla="*/ 4668 w 10000"/>
                <a:gd name="connsiteY350" fmla="*/ 8379 h 10126"/>
                <a:gd name="connsiteX351" fmla="*/ 4617 w 10000"/>
                <a:gd name="connsiteY351" fmla="*/ 8457 h 10126"/>
                <a:gd name="connsiteX352" fmla="*/ 4573 w 10000"/>
                <a:gd name="connsiteY352" fmla="*/ 8529 h 10126"/>
                <a:gd name="connsiteX353" fmla="*/ 4523 w 10000"/>
                <a:gd name="connsiteY353" fmla="*/ 8614 h 10126"/>
                <a:gd name="connsiteX354" fmla="*/ 4492 w 10000"/>
                <a:gd name="connsiteY354" fmla="*/ 8692 h 10126"/>
                <a:gd name="connsiteX355" fmla="*/ 4473 w 10000"/>
                <a:gd name="connsiteY355" fmla="*/ 8728 h 10126"/>
                <a:gd name="connsiteX356" fmla="*/ 4467 w 10000"/>
                <a:gd name="connsiteY356" fmla="*/ 8771 h 10126"/>
                <a:gd name="connsiteX357" fmla="*/ 4460 w 10000"/>
                <a:gd name="connsiteY357" fmla="*/ 8819 h 10126"/>
                <a:gd name="connsiteX358" fmla="*/ 4454 w 10000"/>
                <a:gd name="connsiteY358" fmla="*/ 8861 h 10126"/>
                <a:gd name="connsiteX359" fmla="*/ 4460 w 10000"/>
                <a:gd name="connsiteY359" fmla="*/ 8878 h 10126"/>
                <a:gd name="connsiteX360" fmla="*/ 4467 w 10000"/>
                <a:gd name="connsiteY360" fmla="*/ 8890 h 10126"/>
                <a:gd name="connsiteX361" fmla="*/ 4479 w 10000"/>
                <a:gd name="connsiteY361" fmla="*/ 8902 h 10126"/>
                <a:gd name="connsiteX362" fmla="*/ 4504 w 10000"/>
                <a:gd name="connsiteY362" fmla="*/ 8914 h 10126"/>
                <a:gd name="connsiteX363" fmla="*/ 4542 w 10000"/>
                <a:gd name="connsiteY363" fmla="*/ 8938 h 10126"/>
                <a:gd name="connsiteX364" fmla="*/ 4580 w 10000"/>
                <a:gd name="connsiteY364" fmla="*/ 8944 h 10126"/>
                <a:gd name="connsiteX365" fmla="*/ 4580 w 10000"/>
                <a:gd name="connsiteY365" fmla="*/ 9162 h 10126"/>
                <a:gd name="connsiteX366" fmla="*/ 4529 w 10000"/>
                <a:gd name="connsiteY366" fmla="*/ 9247 h 10126"/>
                <a:gd name="connsiteX367" fmla="*/ 4492 w 10000"/>
                <a:gd name="connsiteY367" fmla="*/ 9337 h 10126"/>
                <a:gd name="connsiteX368" fmla="*/ 4460 w 10000"/>
                <a:gd name="connsiteY368" fmla="*/ 9372 h 10126"/>
                <a:gd name="connsiteX369" fmla="*/ 4429 w 10000"/>
                <a:gd name="connsiteY369" fmla="*/ 9397 h 10126"/>
                <a:gd name="connsiteX370" fmla="*/ 4404 w 10000"/>
                <a:gd name="connsiteY370" fmla="*/ 9409 h 10126"/>
                <a:gd name="connsiteX371" fmla="*/ 4385 w 10000"/>
                <a:gd name="connsiteY371" fmla="*/ 9415 h 10126"/>
                <a:gd name="connsiteX372" fmla="*/ 4360 w 10000"/>
                <a:gd name="connsiteY372" fmla="*/ 9421 h 10126"/>
                <a:gd name="connsiteX373" fmla="*/ 4329 w 10000"/>
                <a:gd name="connsiteY373" fmla="*/ 9421 h 10126"/>
                <a:gd name="connsiteX374" fmla="*/ 4329 w 10000"/>
                <a:gd name="connsiteY374" fmla="*/ 9469 h 10126"/>
                <a:gd name="connsiteX375" fmla="*/ 4335 w 10000"/>
                <a:gd name="connsiteY375" fmla="*/ 9529 h 10126"/>
                <a:gd name="connsiteX376" fmla="*/ 4348 w 10000"/>
                <a:gd name="connsiteY376" fmla="*/ 9559 h 10126"/>
                <a:gd name="connsiteX377" fmla="*/ 4354 w 10000"/>
                <a:gd name="connsiteY377" fmla="*/ 9583 h 10126"/>
                <a:gd name="connsiteX378" fmla="*/ 4360 w 10000"/>
                <a:gd name="connsiteY378" fmla="*/ 9602 h 10126"/>
                <a:gd name="connsiteX379" fmla="*/ 4373 w 10000"/>
                <a:gd name="connsiteY379" fmla="*/ 9608 h 10126"/>
                <a:gd name="connsiteX380" fmla="*/ 4210 w 10000"/>
                <a:gd name="connsiteY380" fmla="*/ 9734 h 10126"/>
                <a:gd name="connsiteX381" fmla="*/ 4072 w 10000"/>
                <a:gd name="connsiteY381" fmla="*/ 9838 h 10126"/>
                <a:gd name="connsiteX382" fmla="*/ 4009 w 10000"/>
                <a:gd name="connsiteY382" fmla="*/ 9897 h 10126"/>
                <a:gd name="connsiteX383" fmla="*/ 3952 w 10000"/>
                <a:gd name="connsiteY383" fmla="*/ 9963 h 10126"/>
                <a:gd name="connsiteX384" fmla="*/ 3890 w 10000"/>
                <a:gd name="connsiteY384" fmla="*/ 10042 h 10126"/>
                <a:gd name="connsiteX385" fmla="*/ 3833 w 10000"/>
                <a:gd name="connsiteY385" fmla="*/ 10126 h 10126"/>
                <a:gd name="connsiteX386" fmla="*/ 3733 w 10000"/>
                <a:gd name="connsiteY386" fmla="*/ 10084 h 10126"/>
                <a:gd name="connsiteX387" fmla="*/ 3664 w 10000"/>
                <a:gd name="connsiteY387" fmla="*/ 10042 h 10126"/>
                <a:gd name="connsiteX388" fmla="*/ 3607 w 10000"/>
                <a:gd name="connsiteY388" fmla="*/ 9999 h 10126"/>
                <a:gd name="connsiteX389" fmla="*/ 3563 w 10000"/>
                <a:gd name="connsiteY389" fmla="*/ 9951 h 10126"/>
                <a:gd name="connsiteX390" fmla="*/ 3532 w 10000"/>
                <a:gd name="connsiteY390" fmla="*/ 9891 h 10126"/>
                <a:gd name="connsiteX391" fmla="*/ 3513 w 10000"/>
                <a:gd name="connsiteY391" fmla="*/ 9832 h 10126"/>
                <a:gd name="connsiteX392" fmla="*/ 3482 w 10000"/>
                <a:gd name="connsiteY392" fmla="*/ 9758 h 10126"/>
                <a:gd name="connsiteX393" fmla="*/ 3457 w 10000"/>
                <a:gd name="connsiteY393" fmla="*/ 9686 h 10126"/>
                <a:gd name="connsiteX394" fmla="*/ 3400 w 10000"/>
                <a:gd name="connsiteY394" fmla="*/ 9547 h 10126"/>
                <a:gd name="connsiteX395" fmla="*/ 3325 w 10000"/>
                <a:gd name="connsiteY395" fmla="*/ 9415 h 10126"/>
                <a:gd name="connsiteX396" fmla="*/ 3237 w 10000"/>
                <a:gd name="connsiteY396" fmla="*/ 9277 h 10126"/>
                <a:gd name="connsiteX397" fmla="*/ 3143 w 10000"/>
                <a:gd name="connsiteY397" fmla="*/ 9132 h 10126"/>
                <a:gd name="connsiteX398" fmla="*/ 3049 w 10000"/>
                <a:gd name="connsiteY398" fmla="*/ 8999 h 10126"/>
                <a:gd name="connsiteX399" fmla="*/ 2967 w 10000"/>
                <a:gd name="connsiteY399" fmla="*/ 8867 h 10126"/>
                <a:gd name="connsiteX400" fmla="*/ 2892 w 10000"/>
                <a:gd name="connsiteY400" fmla="*/ 8747 h 10126"/>
                <a:gd name="connsiteX401" fmla="*/ 2829 w 10000"/>
                <a:gd name="connsiteY401" fmla="*/ 8644 h 10126"/>
                <a:gd name="connsiteX402" fmla="*/ 2773 w 10000"/>
                <a:gd name="connsiteY402" fmla="*/ 8529 h 10126"/>
                <a:gd name="connsiteX403" fmla="*/ 2735 w 10000"/>
                <a:gd name="connsiteY403" fmla="*/ 8427 h 10126"/>
                <a:gd name="connsiteX404" fmla="*/ 2698 w 10000"/>
                <a:gd name="connsiteY404" fmla="*/ 8319 h 10126"/>
                <a:gd name="connsiteX405" fmla="*/ 2666 w 10000"/>
                <a:gd name="connsiteY405" fmla="*/ 8210 h 10126"/>
                <a:gd name="connsiteX406" fmla="*/ 2629 w 10000"/>
                <a:gd name="connsiteY406" fmla="*/ 8101 h 10126"/>
                <a:gd name="connsiteX407" fmla="*/ 2597 w 10000"/>
                <a:gd name="connsiteY407" fmla="*/ 7993 h 10126"/>
                <a:gd name="connsiteX408" fmla="*/ 2553 w 10000"/>
                <a:gd name="connsiteY408" fmla="*/ 7872 h 10126"/>
                <a:gd name="connsiteX409" fmla="*/ 2497 w 10000"/>
                <a:gd name="connsiteY409" fmla="*/ 7753 h 10126"/>
                <a:gd name="connsiteX410" fmla="*/ 2359 w 10000"/>
                <a:gd name="connsiteY410" fmla="*/ 7559 h 10126"/>
                <a:gd name="connsiteX411" fmla="*/ 2208 w 10000"/>
                <a:gd name="connsiteY411" fmla="*/ 7378 h 10126"/>
                <a:gd name="connsiteX412" fmla="*/ 2139 w 10000"/>
                <a:gd name="connsiteY412" fmla="*/ 7295 h 10126"/>
                <a:gd name="connsiteX413" fmla="*/ 2070 w 10000"/>
                <a:gd name="connsiteY413" fmla="*/ 7198 h 10126"/>
                <a:gd name="connsiteX414" fmla="*/ 2008 w 10000"/>
                <a:gd name="connsiteY414" fmla="*/ 7108 h 10126"/>
                <a:gd name="connsiteX415" fmla="*/ 1957 w 10000"/>
                <a:gd name="connsiteY415" fmla="*/ 7011 h 10126"/>
                <a:gd name="connsiteX416" fmla="*/ 1888 w 10000"/>
                <a:gd name="connsiteY416" fmla="*/ 6776 h 10126"/>
                <a:gd name="connsiteX417" fmla="*/ 1832 w 10000"/>
                <a:gd name="connsiteY417" fmla="*/ 6559 h 10126"/>
                <a:gd name="connsiteX418" fmla="*/ 1782 w 10000"/>
                <a:gd name="connsiteY418" fmla="*/ 6349 h 10126"/>
                <a:gd name="connsiteX419" fmla="*/ 1757 w 10000"/>
                <a:gd name="connsiteY419" fmla="*/ 6137 h 10126"/>
                <a:gd name="connsiteX420" fmla="*/ 1725 w 10000"/>
                <a:gd name="connsiteY420" fmla="*/ 5932 h 10126"/>
                <a:gd name="connsiteX421" fmla="*/ 1713 w 10000"/>
                <a:gd name="connsiteY421" fmla="*/ 5716 h 10126"/>
                <a:gd name="connsiteX422" fmla="*/ 1706 w 10000"/>
                <a:gd name="connsiteY422" fmla="*/ 5493 h 10126"/>
                <a:gd name="connsiteX423" fmla="*/ 1706 w 10000"/>
                <a:gd name="connsiteY423" fmla="*/ 5270 h 10126"/>
                <a:gd name="connsiteX424" fmla="*/ 1681 w 10000"/>
                <a:gd name="connsiteY424" fmla="*/ 5264 h 10126"/>
                <a:gd name="connsiteX425" fmla="*/ 1650 w 10000"/>
                <a:gd name="connsiteY425" fmla="*/ 5258 h 10126"/>
                <a:gd name="connsiteX426" fmla="*/ 1625 w 10000"/>
                <a:gd name="connsiteY426" fmla="*/ 5252 h 10126"/>
                <a:gd name="connsiteX427" fmla="*/ 1606 w 10000"/>
                <a:gd name="connsiteY427" fmla="*/ 5228 h 10126"/>
                <a:gd name="connsiteX428" fmla="*/ 1581 w 10000"/>
                <a:gd name="connsiteY428" fmla="*/ 5216 h 10126"/>
                <a:gd name="connsiteX429" fmla="*/ 1568 w 10000"/>
                <a:gd name="connsiteY429" fmla="*/ 5198 h 10126"/>
                <a:gd name="connsiteX430" fmla="*/ 1550 w 10000"/>
                <a:gd name="connsiteY430" fmla="*/ 5174 h 10126"/>
                <a:gd name="connsiteX431" fmla="*/ 1543 w 10000"/>
                <a:gd name="connsiteY431" fmla="*/ 5150 h 10126"/>
                <a:gd name="connsiteX432" fmla="*/ 1518 w 10000"/>
                <a:gd name="connsiteY432" fmla="*/ 5101 h 10126"/>
                <a:gd name="connsiteX433" fmla="*/ 1506 w 10000"/>
                <a:gd name="connsiteY433" fmla="*/ 5047 h 10126"/>
                <a:gd name="connsiteX434" fmla="*/ 1499 w 10000"/>
                <a:gd name="connsiteY434" fmla="*/ 4987 h 10126"/>
                <a:gd name="connsiteX435" fmla="*/ 1499 w 10000"/>
                <a:gd name="connsiteY435" fmla="*/ 4933 h 10126"/>
                <a:gd name="connsiteX436" fmla="*/ 1443 w 10000"/>
                <a:gd name="connsiteY436" fmla="*/ 4969 h 10126"/>
                <a:gd name="connsiteX437" fmla="*/ 1405 w 10000"/>
                <a:gd name="connsiteY437" fmla="*/ 5011 h 10126"/>
                <a:gd name="connsiteX438" fmla="*/ 1361 w 10000"/>
                <a:gd name="connsiteY438" fmla="*/ 5053 h 10126"/>
                <a:gd name="connsiteX439" fmla="*/ 1317 w 10000"/>
                <a:gd name="connsiteY439" fmla="*/ 5101 h 10126"/>
                <a:gd name="connsiteX440" fmla="*/ 1261 w 10000"/>
                <a:gd name="connsiteY440" fmla="*/ 5198 h 10126"/>
                <a:gd name="connsiteX441" fmla="*/ 1205 w 10000"/>
                <a:gd name="connsiteY441" fmla="*/ 5300 h 10126"/>
                <a:gd name="connsiteX442" fmla="*/ 1167 w 10000"/>
                <a:gd name="connsiteY442" fmla="*/ 5343 h 10126"/>
                <a:gd name="connsiteX443" fmla="*/ 1142 w 10000"/>
                <a:gd name="connsiteY443" fmla="*/ 5384 h 10126"/>
                <a:gd name="connsiteX444" fmla="*/ 1104 w 10000"/>
                <a:gd name="connsiteY444" fmla="*/ 5426 h 10126"/>
                <a:gd name="connsiteX445" fmla="*/ 1073 w 10000"/>
                <a:gd name="connsiteY445" fmla="*/ 5456 h 10126"/>
                <a:gd name="connsiteX446" fmla="*/ 1029 w 10000"/>
                <a:gd name="connsiteY446" fmla="*/ 5487 h 10126"/>
                <a:gd name="connsiteX447" fmla="*/ 985 w 10000"/>
                <a:gd name="connsiteY447" fmla="*/ 5505 h 10126"/>
                <a:gd name="connsiteX448" fmla="*/ 928 w 10000"/>
                <a:gd name="connsiteY448" fmla="*/ 5517 h 10126"/>
                <a:gd name="connsiteX449" fmla="*/ 872 w 10000"/>
                <a:gd name="connsiteY449" fmla="*/ 5523 h 10126"/>
                <a:gd name="connsiteX450" fmla="*/ 841 w 10000"/>
                <a:gd name="connsiteY450" fmla="*/ 5517 h 10126"/>
                <a:gd name="connsiteX451" fmla="*/ 797 w 10000"/>
                <a:gd name="connsiteY451" fmla="*/ 5505 h 10126"/>
                <a:gd name="connsiteX452" fmla="*/ 753 w 10000"/>
                <a:gd name="connsiteY452" fmla="*/ 5487 h 10126"/>
                <a:gd name="connsiteX453" fmla="*/ 709 w 10000"/>
                <a:gd name="connsiteY453" fmla="*/ 5456 h 10126"/>
                <a:gd name="connsiteX454" fmla="*/ 659 w 10000"/>
                <a:gd name="connsiteY454" fmla="*/ 5420 h 10126"/>
                <a:gd name="connsiteX455" fmla="*/ 609 w 10000"/>
                <a:gd name="connsiteY455" fmla="*/ 5384 h 10126"/>
                <a:gd name="connsiteX456" fmla="*/ 565 w 10000"/>
                <a:gd name="connsiteY456" fmla="*/ 5343 h 10126"/>
                <a:gd name="connsiteX457" fmla="*/ 514 w 10000"/>
                <a:gd name="connsiteY457" fmla="*/ 5294 h 10126"/>
                <a:gd name="connsiteX458" fmla="*/ 471 w 10000"/>
                <a:gd name="connsiteY458" fmla="*/ 5246 h 10126"/>
                <a:gd name="connsiteX459" fmla="*/ 433 w 10000"/>
                <a:gd name="connsiteY459" fmla="*/ 5192 h 10126"/>
                <a:gd name="connsiteX460" fmla="*/ 389 w 10000"/>
                <a:gd name="connsiteY460" fmla="*/ 5138 h 10126"/>
                <a:gd name="connsiteX461" fmla="*/ 358 w 10000"/>
                <a:gd name="connsiteY461" fmla="*/ 5083 h 10126"/>
                <a:gd name="connsiteX462" fmla="*/ 326 w 10000"/>
                <a:gd name="connsiteY462" fmla="*/ 5035 h 10126"/>
                <a:gd name="connsiteX463" fmla="*/ 307 w 10000"/>
                <a:gd name="connsiteY463" fmla="*/ 4987 h 10126"/>
                <a:gd name="connsiteX464" fmla="*/ 295 w 10000"/>
                <a:gd name="connsiteY464" fmla="*/ 4939 h 10126"/>
                <a:gd name="connsiteX465" fmla="*/ 289 w 10000"/>
                <a:gd name="connsiteY465" fmla="*/ 4890 h 10126"/>
                <a:gd name="connsiteX466" fmla="*/ 320 w 10000"/>
                <a:gd name="connsiteY466" fmla="*/ 4872 h 10126"/>
                <a:gd name="connsiteX467" fmla="*/ 395 w 10000"/>
                <a:gd name="connsiteY467" fmla="*/ 4837 h 10126"/>
                <a:gd name="connsiteX468" fmla="*/ 483 w 10000"/>
                <a:gd name="connsiteY468" fmla="*/ 4801 h 10126"/>
                <a:gd name="connsiteX469" fmla="*/ 533 w 10000"/>
                <a:gd name="connsiteY469" fmla="*/ 4783 h 10126"/>
                <a:gd name="connsiteX470" fmla="*/ 483 w 10000"/>
                <a:gd name="connsiteY470" fmla="*/ 4783 h 10126"/>
                <a:gd name="connsiteX471" fmla="*/ 420 w 10000"/>
                <a:gd name="connsiteY471" fmla="*/ 4777 h 10126"/>
                <a:gd name="connsiteX472" fmla="*/ 370 w 10000"/>
                <a:gd name="connsiteY472" fmla="*/ 4765 h 10126"/>
                <a:gd name="connsiteX473" fmla="*/ 320 w 10000"/>
                <a:gd name="connsiteY473" fmla="*/ 4759 h 10126"/>
                <a:gd name="connsiteX474" fmla="*/ 276 w 10000"/>
                <a:gd name="connsiteY474" fmla="*/ 4740 h 10126"/>
                <a:gd name="connsiteX475" fmla="*/ 232 w 10000"/>
                <a:gd name="connsiteY475" fmla="*/ 4728 h 10126"/>
                <a:gd name="connsiteX476" fmla="*/ 188 w 10000"/>
                <a:gd name="connsiteY476" fmla="*/ 4710 h 10126"/>
                <a:gd name="connsiteX477" fmla="*/ 157 w 10000"/>
                <a:gd name="connsiteY477" fmla="*/ 4685 h 10126"/>
                <a:gd name="connsiteX478" fmla="*/ 132 w 10000"/>
                <a:gd name="connsiteY478" fmla="*/ 4661 h 10126"/>
                <a:gd name="connsiteX479" fmla="*/ 100 w 10000"/>
                <a:gd name="connsiteY479" fmla="*/ 4637 h 10126"/>
                <a:gd name="connsiteX480" fmla="*/ 75 w 10000"/>
                <a:gd name="connsiteY480" fmla="*/ 4607 h 10126"/>
                <a:gd name="connsiteX481" fmla="*/ 50 w 10000"/>
                <a:gd name="connsiteY481" fmla="*/ 4583 h 10126"/>
                <a:gd name="connsiteX482" fmla="*/ 19 w 10000"/>
                <a:gd name="connsiteY482" fmla="*/ 4511 h 10126"/>
                <a:gd name="connsiteX483" fmla="*/ 0 w 10000"/>
                <a:gd name="connsiteY483" fmla="*/ 4444 h 10126"/>
                <a:gd name="connsiteX484" fmla="*/ 63 w 10000"/>
                <a:gd name="connsiteY484" fmla="*/ 4396 h 10126"/>
                <a:gd name="connsiteX485" fmla="*/ 132 w 10000"/>
                <a:gd name="connsiteY485" fmla="*/ 4360 h 10126"/>
                <a:gd name="connsiteX486" fmla="*/ 201 w 10000"/>
                <a:gd name="connsiteY486" fmla="*/ 4331 h 10126"/>
                <a:gd name="connsiteX487" fmla="*/ 276 w 10000"/>
                <a:gd name="connsiteY487" fmla="*/ 4307 h 10126"/>
                <a:gd name="connsiteX488" fmla="*/ 420 w 10000"/>
                <a:gd name="connsiteY488" fmla="*/ 4277 h 10126"/>
                <a:gd name="connsiteX489" fmla="*/ 565 w 10000"/>
                <a:gd name="connsiteY489" fmla="*/ 4252 h 10126"/>
                <a:gd name="connsiteX490" fmla="*/ 640 w 10000"/>
                <a:gd name="connsiteY490" fmla="*/ 4240 h 10126"/>
                <a:gd name="connsiteX491" fmla="*/ 709 w 10000"/>
                <a:gd name="connsiteY491" fmla="*/ 4216 h 10126"/>
                <a:gd name="connsiteX492" fmla="*/ 772 w 10000"/>
                <a:gd name="connsiteY492" fmla="*/ 4198 h 10126"/>
                <a:gd name="connsiteX493" fmla="*/ 834 w 10000"/>
                <a:gd name="connsiteY493" fmla="*/ 4168 h 10126"/>
                <a:gd name="connsiteX494" fmla="*/ 891 w 10000"/>
                <a:gd name="connsiteY494" fmla="*/ 4138 h 10126"/>
                <a:gd name="connsiteX495" fmla="*/ 947 w 10000"/>
                <a:gd name="connsiteY495" fmla="*/ 4090 h 10126"/>
                <a:gd name="connsiteX496" fmla="*/ 997 w 10000"/>
                <a:gd name="connsiteY496" fmla="*/ 4035 h 10126"/>
                <a:gd name="connsiteX497" fmla="*/ 1035 w 10000"/>
                <a:gd name="connsiteY497" fmla="*/ 3968 h 10126"/>
                <a:gd name="connsiteX498" fmla="*/ 1010 w 10000"/>
                <a:gd name="connsiteY498" fmla="*/ 3956 h 10126"/>
                <a:gd name="connsiteX499" fmla="*/ 985 w 10000"/>
                <a:gd name="connsiteY499" fmla="*/ 3938 h 10126"/>
                <a:gd name="connsiteX500" fmla="*/ 947 w 10000"/>
                <a:gd name="connsiteY500" fmla="*/ 3914 h 10126"/>
                <a:gd name="connsiteX501" fmla="*/ 910 w 10000"/>
                <a:gd name="connsiteY501" fmla="*/ 3878 h 10126"/>
                <a:gd name="connsiteX502" fmla="*/ 822 w 10000"/>
                <a:gd name="connsiteY502" fmla="*/ 3806 h 10126"/>
                <a:gd name="connsiteX503" fmla="*/ 740 w 10000"/>
                <a:gd name="connsiteY503" fmla="*/ 3722 h 10126"/>
                <a:gd name="connsiteX504" fmla="*/ 665 w 10000"/>
                <a:gd name="connsiteY504" fmla="*/ 3631 h 10126"/>
                <a:gd name="connsiteX505" fmla="*/ 596 w 10000"/>
                <a:gd name="connsiteY505" fmla="*/ 3535 h 10126"/>
                <a:gd name="connsiteX506" fmla="*/ 577 w 10000"/>
                <a:gd name="connsiteY506" fmla="*/ 3493 h 10126"/>
                <a:gd name="connsiteX507" fmla="*/ 558 w 10000"/>
                <a:gd name="connsiteY507" fmla="*/ 3451 h 10126"/>
                <a:gd name="connsiteX508" fmla="*/ 540 w 10000"/>
                <a:gd name="connsiteY508" fmla="*/ 3408 h 10126"/>
                <a:gd name="connsiteX509" fmla="*/ 533 w 10000"/>
                <a:gd name="connsiteY509" fmla="*/ 3372 h 10126"/>
                <a:gd name="connsiteX510" fmla="*/ 508 w 10000"/>
                <a:gd name="connsiteY510" fmla="*/ 3366 h 10126"/>
                <a:gd name="connsiteX511" fmla="*/ 483 w 10000"/>
                <a:gd name="connsiteY511" fmla="*/ 3360 h 10126"/>
                <a:gd name="connsiteX512" fmla="*/ 458 w 10000"/>
                <a:gd name="connsiteY512" fmla="*/ 3348 h 10126"/>
                <a:gd name="connsiteX513" fmla="*/ 439 w 10000"/>
                <a:gd name="connsiteY513" fmla="*/ 3325 h 10126"/>
                <a:gd name="connsiteX514" fmla="*/ 402 w 10000"/>
                <a:gd name="connsiteY514" fmla="*/ 3282 h 10126"/>
                <a:gd name="connsiteX515" fmla="*/ 370 w 10000"/>
                <a:gd name="connsiteY515" fmla="*/ 3222 h 10126"/>
                <a:gd name="connsiteX516" fmla="*/ 370 w 10000"/>
                <a:gd name="connsiteY516" fmla="*/ 3077 h 10126"/>
                <a:gd name="connsiteX517" fmla="*/ 458 w 10000"/>
                <a:gd name="connsiteY517" fmla="*/ 3071 h 10126"/>
                <a:gd name="connsiteX518" fmla="*/ 540 w 10000"/>
                <a:gd name="connsiteY518" fmla="*/ 3065 h 10126"/>
                <a:gd name="connsiteX519" fmla="*/ 615 w 10000"/>
                <a:gd name="connsiteY519" fmla="*/ 3053 h 10126"/>
                <a:gd name="connsiteX520" fmla="*/ 684 w 10000"/>
                <a:gd name="connsiteY520" fmla="*/ 3029 h 10126"/>
                <a:gd name="connsiteX521" fmla="*/ 747 w 10000"/>
                <a:gd name="connsiteY521" fmla="*/ 3011 h 10126"/>
                <a:gd name="connsiteX522" fmla="*/ 809 w 10000"/>
                <a:gd name="connsiteY522" fmla="*/ 2980 h 10126"/>
                <a:gd name="connsiteX523" fmla="*/ 866 w 10000"/>
                <a:gd name="connsiteY523" fmla="*/ 2950 h 10126"/>
                <a:gd name="connsiteX524" fmla="*/ 922 w 10000"/>
                <a:gd name="connsiteY524" fmla="*/ 2914 h 10126"/>
                <a:gd name="connsiteX525" fmla="*/ 966 w 10000"/>
                <a:gd name="connsiteY525" fmla="*/ 2872 h 10126"/>
                <a:gd name="connsiteX526" fmla="*/ 1016 w 10000"/>
                <a:gd name="connsiteY526" fmla="*/ 2831 h 10126"/>
                <a:gd name="connsiteX527" fmla="*/ 1060 w 10000"/>
                <a:gd name="connsiteY527" fmla="*/ 2789 h 10126"/>
                <a:gd name="connsiteX528" fmla="*/ 1098 w 10000"/>
                <a:gd name="connsiteY528" fmla="*/ 2740 h 10126"/>
                <a:gd name="connsiteX529" fmla="*/ 1167 w 10000"/>
                <a:gd name="connsiteY529" fmla="*/ 2644 h 10126"/>
                <a:gd name="connsiteX530" fmla="*/ 1236 w 10000"/>
                <a:gd name="connsiteY530" fmla="*/ 2534 h 10126"/>
                <a:gd name="connsiteX531" fmla="*/ 1355 w 10000"/>
                <a:gd name="connsiteY531" fmla="*/ 2318 h 10126"/>
                <a:gd name="connsiteX532" fmla="*/ 1474 w 10000"/>
                <a:gd name="connsiteY532" fmla="*/ 2101 h 10126"/>
                <a:gd name="connsiteX533" fmla="*/ 1543 w 10000"/>
                <a:gd name="connsiteY533" fmla="*/ 2005 h 10126"/>
                <a:gd name="connsiteX534" fmla="*/ 1612 w 10000"/>
                <a:gd name="connsiteY534" fmla="*/ 1920 h 10126"/>
                <a:gd name="connsiteX535" fmla="*/ 1650 w 10000"/>
                <a:gd name="connsiteY535" fmla="*/ 1871 h 10126"/>
                <a:gd name="connsiteX536" fmla="*/ 1694 w 10000"/>
                <a:gd name="connsiteY536" fmla="*/ 1835 h 10126"/>
                <a:gd name="connsiteX537" fmla="*/ 1738 w 10000"/>
                <a:gd name="connsiteY537" fmla="*/ 1806 h 10126"/>
                <a:gd name="connsiteX538" fmla="*/ 1788 w 10000"/>
                <a:gd name="connsiteY538" fmla="*/ 1776 h 10126"/>
                <a:gd name="connsiteX539" fmla="*/ 1750 w 10000"/>
                <a:gd name="connsiteY539" fmla="*/ 1703 h 10126"/>
                <a:gd name="connsiteX540" fmla="*/ 1719 w 10000"/>
                <a:gd name="connsiteY540" fmla="*/ 1637 h 10126"/>
                <a:gd name="connsiteX541" fmla="*/ 1713 w 10000"/>
                <a:gd name="connsiteY541" fmla="*/ 1607 h 10126"/>
                <a:gd name="connsiteX542" fmla="*/ 1706 w 10000"/>
                <a:gd name="connsiteY542" fmla="*/ 1577 h 10126"/>
                <a:gd name="connsiteX543" fmla="*/ 1706 w 10000"/>
                <a:gd name="connsiteY543" fmla="*/ 1541 h 10126"/>
                <a:gd name="connsiteX544" fmla="*/ 1706 w 10000"/>
                <a:gd name="connsiteY544" fmla="*/ 1511 h 10126"/>
                <a:gd name="connsiteX545" fmla="*/ 1713 w 10000"/>
                <a:gd name="connsiteY545" fmla="*/ 1480 h 10126"/>
                <a:gd name="connsiteX546" fmla="*/ 1719 w 10000"/>
                <a:gd name="connsiteY546" fmla="*/ 1450 h 10126"/>
                <a:gd name="connsiteX547" fmla="*/ 1731 w 10000"/>
                <a:gd name="connsiteY547" fmla="*/ 1426 h 10126"/>
                <a:gd name="connsiteX548" fmla="*/ 1757 w 10000"/>
                <a:gd name="connsiteY548" fmla="*/ 1402 h 10126"/>
                <a:gd name="connsiteX549" fmla="*/ 1775 w 10000"/>
                <a:gd name="connsiteY549" fmla="*/ 1384 h 10126"/>
                <a:gd name="connsiteX550" fmla="*/ 1801 w 10000"/>
                <a:gd name="connsiteY550" fmla="*/ 1366 h 10126"/>
                <a:gd name="connsiteX551" fmla="*/ 1838 w 10000"/>
                <a:gd name="connsiteY551" fmla="*/ 1348 h 10126"/>
                <a:gd name="connsiteX552" fmla="*/ 1870 w 10000"/>
                <a:gd name="connsiteY552" fmla="*/ 1330 h 10126"/>
                <a:gd name="connsiteX553" fmla="*/ 1788 w 10000"/>
                <a:gd name="connsiteY553" fmla="*/ 1240 h 10126"/>
                <a:gd name="connsiteX554" fmla="*/ 1688 w 10000"/>
                <a:gd name="connsiteY554" fmla="*/ 1168 h 10126"/>
                <a:gd name="connsiteX555" fmla="*/ 1550 w 10000"/>
                <a:gd name="connsiteY555" fmla="*/ 1046 h 10126"/>
                <a:gd name="connsiteX556" fmla="*/ 1487 w 10000"/>
                <a:gd name="connsiteY556" fmla="*/ 986 h 10126"/>
                <a:gd name="connsiteX557" fmla="*/ 1383 w 10000"/>
                <a:gd name="connsiteY557" fmla="*/ 868 h 10126"/>
                <a:gd name="connsiteX558" fmla="*/ 1426 w 10000"/>
                <a:gd name="connsiteY558" fmla="*/ 764 h 10126"/>
                <a:gd name="connsiteX559" fmla="*/ 1603 w 10000"/>
                <a:gd name="connsiteY559" fmla="*/ 650 h 10126"/>
                <a:gd name="connsiteX560" fmla="*/ 1708 w 10000"/>
                <a:gd name="connsiteY560" fmla="*/ 605 h 10126"/>
                <a:gd name="connsiteX561" fmla="*/ 1673 w 10000"/>
                <a:gd name="connsiteY561" fmla="*/ 540 h 10126"/>
                <a:gd name="connsiteX562" fmla="*/ 1606 w 10000"/>
                <a:gd name="connsiteY562" fmla="*/ 463 h 10126"/>
                <a:gd name="connsiteX563" fmla="*/ 1539 w 10000"/>
                <a:gd name="connsiteY563" fmla="*/ 431 h 10126"/>
                <a:gd name="connsiteX564" fmla="*/ 1539 w 10000"/>
                <a:gd name="connsiteY564" fmla="*/ 366 h 10126"/>
                <a:gd name="connsiteX565" fmla="*/ 1473 w 10000"/>
                <a:gd name="connsiteY565" fmla="*/ 296 h 10126"/>
                <a:gd name="connsiteX566" fmla="*/ 1341 w 10000"/>
                <a:gd name="connsiteY566" fmla="*/ 236 h 10126"/>
                <a:gd name="connsiteX567" fmla="*/ 1490 w 10000"/>
                <a:gd name="connsiteY567" fmla="*/ 123 h 10126"/>
                <a:gd name="connsiteX568" fmla="*/ 1654 w 10000"/>
                <a:gd name="connsiteY568" fmla="*/ 0 h 10126"/>
                <a:gd name="connsiteX569" fmla="*/ 1895 w 10000"/>
                <a:gd name="connsiteY569" fmla="*/ 61 h 10126"/>
                <a:gd name="connsiteX570" fmla="*/ 2151 w 10000"/>
                <a:gd name="connsiteY570" fmla="*/ 94 h 10126"/>
                <a:gd name="connsiteX571" fmla="*/ 2280 w 10000"/>
                <a:gd name="connsiteY571" fmla="*/ 123 h 10126"/>
                <a:gd name="connsiteX572" fmla="*/ 2385 w 10000"/>
                <a:gd name="connsiteY572" fmla="*/ 131 h 10126"/>
                <a:gd name="connsiteX573" fmla="*/ 2517 w 10000"/>
                <a:gd name="connsiteY573" fmla="*/ 225 h 10126"/>
                <a:gd name="connsiteX0" fmla="*/ 2525 w 10000"/>
                <a:gd name="connsiteY0" fmla="*/ 225 h 10126"/>
                <a:gd name="connsiteX1" fmla="*/ 2880 w 10000"/>
                <a:gd name="connsiteY1" fmla="*/ 115 h 10126"/>
                <a:gd name="connsiteX2" fmla="*/ 3155 w 10000"/>
                <a:gd name="connsiteY2" fmla="*/ 192 h 10126"/>
                <a:gd name="connsiteX3" fmla="*/ 3120 w 10000"/>
                <a:gd name="connsiteY3" fmla="*/ 471 h 10126"/>
                <a:gd name="connsiteX4" fmla="*/ 3152 w 10000"/>
                <a:gd name="connsiteY4" fmla="*/ 534 h 10126"/>
                <a:gd name="connsiteX5" fmla="*/ 3093 w 10000"/>
                <a:gd name="connsiteY5" fmla="*/ 619 h 10126"/>
                <a:gd name="connsiteX6" fmla="*/ 2992 w 10000"/>
                <a:gd name="connsiteY6" fmla="*/ 710 h 10126"/>
                <a:gd name="connsiteX7" fmla="*/ 3043 w 10000"/>
                <a:gd name="connsiteY7" fmla="*/ 734 h 10126"/>
                <a:gd name="connsiteX8" fmla="*/ 3087 w 10000"/>
                <a:gd name="connsiteY8" fmla="*/ 776 h 10126"/>
                <a:gd name="connsiteX9" fmla="*/ 3130 w 10000"/>
                <a:gd name="connsiteY9" fmla="*/ 823 h 10126"/>
                <a:gd name="connsiteX10" fmla="*/ 3174 w 10000"/>
                <a:gd name="connsiteY10" fmla="*/ 872 h 10126"/>
                <a:gd name="connsiteX11" fmla="*/ 3212 w 10000"/>
                <a:gd name="connsiteY11" fmla="*/ 932 h 10126"/>
                <a:gd name="connsiteX12" fmla="*/ 3256 w 10000"/>
                <a:gd name="connsiteY12" fmla="*/ 986 h 10126"/>
                <a:gd name="connsiteX13" fmla="*/ 3281 w 10000"/>
                <a:gd name="connsiteY13" fmla="*/ 1046 h 10126"/>
                <a:gd name="connsiteX14" fmla="*/ 3312 w 10000"/>
                <a:gd name="connsiteY14" fmla="*/ 1113 h 10126"/>
                <a:gd name="connsiteX15" fmla="*/ 3331 w 10000"/>
                <a:gd name="connsiteY15" fmla="*/ 1180 h 10126"/>
                <a:gd name="connsiteX16" fmla="*/ 3043 w 10000"/>
                <a:gd name="connsiteY16" fmla="*/ 1180 h 10126"/>
                <a:gd name="connsiteX17" fmla="*/ 3043 w 10000"/>
                <a:gd name="connsiteY17" fmla="*/ 1366 h 10126"/>
                <a:gd name="connsiteX18" fmla="*/ 3074 w 10000"/>
                <a:gd name="connsiteY18" fmla="*/ 1444 h 10126"/>
                <a:gd name="connsiteX19" fmla="*/ 3118 w 10000"/>
                <a:gd name="connsiteY19" fmla="*/ 1511 h 10126"/>
                <a:gd name="connsiteX20" fmla="*/ 3168 w 10000"/>
                <a:gd name="connsiteY20" fmla="*/ 1571 h 10126"/>
                <a:gd name="connsiteX21" fmla="*/ 3225 w 10000"/>
                <a:gd name="connsiteY21" fmla="*/ 1613 h 10126"/>
                <a:gd name="connsiteX22" fmla="*/ 3281 w 10000"/>
                <a:gd name="connsiteY22" fmla="*/ 1655 h 10126"/>
                <a:gd name="connsiteX23" fmla="*/ 3350 w 10000"/>
                <a:gd name="connsiteY23" fmla="*/ 1685 h 10126"/>
                <a:gd name="connsiteX24" fmla="*/ 3413 w 10000"/>
                <a:gd name="connsiteY24" fmla="*/ 1715 h 10126"/>
                <a:gd name="connsiteX25" fmla="*/ 3488 w 10000"/>
                <a:gd name="connsiteY25" fmla="*/ 1740 h 10126"/>
                <a:gd name="connsiteX26" fmla="*/ 3626 w 10000"/>
                <a:gd name="connsiteY26" fmla="*/ 1794 h 10126"/>
                <a:gd name="connsiteX27" fmla="*/ 3764 w 10000"/>
                <a:gd name="connsiteY27" fmla="*/ 1847 h 10126"/>
                <a:gd name="connsiteX28" fmla="*/ 3827 w 10000"/>
                <a:gd name="connsiteY28" fmla="*/ 1884 h 10126"/>
                <a:gd name="connsiteX29" fmla="*/ 3890 w 10000"/>
                <a:gd name="connsiteY29" fmla="*/ 1932 h 10126"/>
                <a:gd name="connsiteX30" fmla="*/ 3946 w 10000"/>
                <a:gd name="connsiteY30" fmla="*/ 1981 h 10126"/>
                <a:gd name="connsiteX31" fmla="*/ 4003 w 10000"/>
                <a:gd name="connsiteY31" fmla="*/ 2035 h 10126"/>
                <a:gd name="connsiteX32" fmla="*/ 3959 w 10000"/>
                <a:gd name="connsiteY32" fmla="*/ 2596 h 10126"/>
                <a:gd name="connsiteX33" fmla="*/ 4034 w 10000"/>
                <a:gd name="connsiteY33" fmla="*/ 2650 h 10126"/>
                <a:gd name="connsiteX34" fmla="*/ 4141 w 10000"/>
                <a:gd name="connsiteY34" fmla="*/ 2716 h 10126"/>
                <a:gd name="connsiteX35" fmla="*/ 4260 w 10000"/>
                <a:gd name="connsiteY35" fmla="*/ 2776 h 10126"/>
                <a:gd name="connsiteX36" fmla="*/ 4398 w 10000"/>
                <a:gd name="connsiteY36" fmla="*/ 2831 h 10126"/>
                <a:gd name="connsiteX37" fmla="*/ 4536 w 10000"/>
                <a:gd name="connsiteY37" fmla="*/ 2884 h 10126"/>
                <a:gd name="connsiteX38" fmla="*/ 4668 w 10000"/>
                <a:gd name="connsiteY38" fmla="*/ 2926 h 10126"/>
                <a:gd name="connsiteX39" fmla="*/ 4724 w 10000"/>
                <a:gd name="connsiteY39" fmla="*/ 2944 h 10126"/>
                <a:gd name="connsiteX40" fmla="*/ 4780 w 10000"/>
                <a:gd name="connsiteY40" fmla="*/ 2956 h 10126"/>
                <a:gd name="connsiteX41" fmla="*/ 4831 w 10000"/>
                <a:gd name="connsiteY41" fmla="*/ 2962 h 10126"/>
                <a:gd name="connsiteX42" fmla="*/ 4875 w 10000"/>
                <a:gd name="connsiteY42" fmla="*/ 2962 h 10126"/>
                <a:gd name="connsiteX43" fmla="*/ 4887 w 10000"/>
                <a:gd name="connsiteY43" fmla="*/ 3005 h 10126"/>
                <a:gd name="connsiteX44" fmla="*/ 4918 w 10000"/>
                <a:gd name="connsiteY44" fmla="*/ 3041 h 10126"/>
                <a:gd name="connsiteX45" fmla="*/ 4950 w 10000"/>
                <a:gd name="connsiteY45" fmla="*/ 3059 h 10126"/>
                <a:gd name="connsiteX46" fmla="*/ 4987 w 10000"/>
                <a:gd name="connsiteY46" fmla="*/ 3071 h 10126"/>
                <a:gd name="connsiteX47" fmla="*/ 5019 w 10000"/>
                <a:gd name="connsiteY47" fmla="*/ 3083 h 10126"/>
                <a:gd name="connsiteX48" fmla="*/ 5063 w 10000"/>
                <a:gd name="connsiteY48" fmla="*/ 3083 h 10126"/>
                <a:gd name="connsiteX49" fmla="*/ 5107 w 10000"/>
                <a:gd name="connsiteY49" fmla="*/ 3077 h 10126"/>
                <a:gd name="connsiteX50" fmla="*/ 5157 w 10000"/>
                <a:gd name="connsiteY50" fmla="*/ 3071 h 10126"/>
                <a:gd name="connsiteX51" fmla="*/ 5245 w 10000"/>
                <a:gd name="connsiteY51" fmla="*/ 3053 h 10126"/>
                <a:gd name="connsiteX52" fmla="*/ 5345 w 10000"/>
                <a:gd name="connsiteY52" fmla="*/ 3029 h 10126"/>
                <a:gd name="connsiteX53" fmla="*/ 5383 w 10000"/>
                <a:gd name="connsiteY53" fmla="*/ 3029 h 10126"/>
                <a:gd name="connsiteX54" fmla="*/ 5427 w 10000"/>
                <a:gd name="connsiteY54" fmla="*/ 3023 h 10126"/>
                <a:gd name="connsiteX55" fmla="*/ 5464 w 10000"/>
                <a:gd name="connsiteY55" fmla="*/ 3029 h 10126"/>
                <a:gd name="connsiteX56" fmla="*/ 5502 w 10000"/>
                <a:gd name="connsiteY56" fmla="*/ 3035 h 10126"/>
                <a:gd name="connsiteX57" fmla="*/ 5558 w 10000"/>
                <a:gd name="connsiteY57" fmla="*/ 3071 h 10126"/>
                <a:gd name="connsiteX58" fmla="*/ 5596 w 10000"/>
                <a:gd name="connsiteY58" fmla="*/ 3101 h 10126"/>
                <a:gd name="connsiteX59" fmla="*/ 5634 w 10000"/>
                <a:gd name="connsiteY59" fmla="*/ 3143 h 10126"/>
                <a:gd name="connsiteX60" fmla="*/ 5665 w 10000"/>
                <a:gd name="connsiteY60" fmla="*/ 3179 h 10126"/>
                <a:gd name="connsiteX61" fmla="*/ 5696 w 10000"/>
                <a:gd name="connsiteY61" fmla="*/ 3216 h 10126"/>
                <a:gd name="connsiteX62" fmla="*/ 5734 w 10000"/>
                <a:gd name="connsiteY62" fmla="*/ 3252 h 10126"/>
                <a:gd name="connsiteX63" fmla="*/ 5759 w 10000"/>
                <a:gd name="connsiteY63" fmla="*/ 3270 h 10126"/>
                <a:gd name="connsiteX64" fmla="*/ 5778 w 10000"/>
                <a:gd name="connsiteY64" fmla="*/ 3282 h 10126"/>
                <a:gd name="connsiteX65" fmla="*/ 5803 w 10000"/>
                <a:gd name="connsiteY65" fmla="*/ 3294 h 10126"/>
                <a:gd name="connsiteX66" fmla="*/ 5834 w 10000"/>
                <a:gd name="connsiteY66" fmla="*/ 3300 h 10126"/>
                <a:gd name="connsiteX67" fmla="*/ 5935 w 10000"/>
                <a:gd name="connsiteY67" fmla="*/ 3319 h 10126"/>
                <a:gd name="connsiteX68" fmla="*/ 6073 w 10000"/>
                <a:gd name="connsiteY68" fmla="*/ 3354 h 10126"/>
                <a:gd name="connsiteX69" fmla="*/ 6230 w 10000"/>
                <a:gd name="connsiteY69" fmla="*/ 3390 h 10126"/>
                <a:gd name="connsiteX70" fmla="*/ 6405 w 10000"/>
                <a:gd name="connsiteY70" fmla="*/ 3433 h 10126"/>
                <a:gd name="connsiteX71" fmla="*/ 6568 w 10000"/>
                <a:gd name="connsiteY71" fmla="*/ 3463 h 10126"/>
                <a:gd name="connsiteX72" fmla="*/ 6719 w 10000"/>
                <a:gd name="connsiteY72" fmla="*/ 3487 h 10126"/>
                <a:gd name="connsiteX73" fmla="*/ 6788 w 10000"/>
                <a:gd name="connsiteY73" fmla="*/ 3493 h 10126"/>
                <a:gd name="connsiteX74" fmla="*/ 6838 w 10000"/>
                <a:gd name="connsiteY74" fmla="*/ 3499 h 10126"/>
                <a:gd name="connsiteX75" fmla="*/ 6888 w 10000"/>
                <a:gd name="connsiteY75" fmla="*/ 3493 h 10126"/>
                <a:gd name="connsiteX76" fmla="*/ 6913 w 10000"/>
                <a:gd name="connsiteY76" fmla="*/ 3481 h 10126"/>
                <a:gd name="connsiteX77" fmla="*/ 6888 w 10000"/>
                <a:gd name="connsiteY77" fmla="*/ 3439 h 10126"/>
                <a:gd name="connsiteX78" fmla="*/ 6857 w 10000"/>
                <a:gd name="connsiteY78" fmla="*/ 3390 h 10126"/>
                <a:gd name="connsiteX79" fmla="*/ 6838 w 10000"/>
                <a:gd name="connsiteY79" fmla="*/ 3342 h 10126"/>
                <a:gd name="connsiteX80" fmla="*/ 6826 w 10000"/>
                <a:gd name="connsiteY80" fmla="*/ 3288 h 10126"/>
                <a:gd name="connsiteX81" fmla="*/ 6794 w 10000"/>
                <a:gd name="connsiteY81" fmla="*/ 3197 h 10126"/>
                <a:gd name="connsiteX82" fmla="*/ 6788 w 10000"/>
                <a:gd name="connsiteY82" fmla="*/ 3149 h 10126"/>
                <a:gd name="connsiteX83" fmla="*/ 6788 w 10000"/>
                <a:gd name="connsiteY83" fmla="*/ 2962 h 10126"/>
                <a:gd name="connsiteX84" fmla="*/ 6788 w 10000"/>
                <a:gd name="connsiteY84" fmla="*/ 2776 h 10126"/>
                <a:gd name="connsiteX85" fmla="*/ 6995 w 10000"/>
                <a:gd name="connsiteY85" fmla="*/ 2776 h 10126"/>
                <a:gd name="connsiteX86" fmla="*/ 7033 w 10000"/>
                <a:gd name="connsiteY86" fmla="*/ 2842 h 10126"/>
                <a:gd name="connsiteX87" fmla="*/ 7058 w 10000"/>
                <a:gd name="connsiteY87" fmla="*/ 2884 h 10126"/>
                <a:gd name="connsiteX88" fmla="*/ 7095 w 10000"/>
                <a:gd name="connsiteY88" fmla="*/ 2920 h 10126"/>
                <a:gd name="connsiteX89" fmla="*/ 7127 w 10000"/>
                <a:gd name="connsiteY89" fmla="*/ 2962 h 10126"/>
                <a:gd name="connsiteX90" fmla="*/ 7120 w 10000"/>
                <a:gd name="connsiteY90" fmla="*/ 3059 h 10126"/>
                <a:gd name="connsiteX91" fmla="*/ 7102 w 10000"/>
                <a:gd name="connsiteY91" fmla="*/ 3119 h 10126"/>
                <a:gd name="connsiteX92" fmla="*/ 7089 w 10000"/>
                <a:gd name="connsiteY92" fmla="*/ 3167 h 10126"/>
                <a:gd name="connsiteX93" fmla="*/ 7077 w 10000"/>
                <a:gd name="connsiteY93" fmla="*/ 3222 h 10126"/>
                <a:gd name="connsiteX94" fmla="*/ 7208 w 10000"/>
                <a:gd name="connsiteY94" fmla="*/ 3258 h 10126"/>
                <a:gd name="connsiteX95" fmla="*/ 7334 w 10000"/>
                <a:gd name="connsiteY95" fmla="*/ 3294 h 10126"/>
                <a:gd name="connsiteX96" fmla="*/ 7396 w 10000"/>
                <a:gd name="connsiteY96" fmla="*/ 3313 h 10126"/>
                <a:gd name="connsiteX97" fmla="*/ 7459 w 10000"/>
                <a:gd name="connsiteY97" fmla="*/ 3325 h 10126"/>
                <a:gd name="connsiteX98" fmla="*/ 7522 w 10000"/>
                <a:gd name="connsiteY98" fmla="*/ 3331 h 10126"/>
                <a:gd name="connsiteX99" fmla="*/ 7585 w 10000"/>
                <a:gd name="connsiteY99" fmla="*/ 3336 h 10126"/>
                <a:gd name="connsiteX100" fmla="*/ 7591 w 10000"/>
                <a:gd name="connsiteY100" fmla="*/ 3360 h 10126"/>
                <a:gd name="connsiteX101" fmla="*/ 7604 w 10000"/>
                <a:gd name="connsiteY101" fmla="*/ 3384 h 10126"/>
                <a:gd name="connsiteX102" fmla="*/ 7622 w 10000"/>
                <a:gd name="connsiteY102" fmla="*/ 3402 h 10126"/>
                <a:gd name="connsiteX103" fmla="*/ 7654 w 10000"/>
                <a:gd name="connsiteY103" fmla="*/ 3420 h 10126"/>
                <a:gd name="connsiteX104" fmla="*/ 7704 w 10000"/>
                <a:gd name="connsiteY104" fmla="*/ 3439 h 10126"/>
                <a:gd name="connsiteX105" fmla="*/ 7748 w 10000"/>
                <a:gd name="connsiteY105" fmla="*/ 3445 h 10126"/>
                <a:gd name="connsiteX106" fmla="*/ 7798 w 10000"/>
                <a:gd name="connsiteY106" fmla="*/ 3445 h 10126"/>
                <a:gd name="connsiteX107" fmla="*/ 7836 w 10000"/>
                <a:gd name="connsiteY107" fmla="*/ 3433 h 10126"/>
                <a:gd name="connsiteX108" fmla="*/ 7880 w 10000"/>
                <a:gd name="connsiteY108" fmla="*/ 3414 h 10126"/>
                <a:gd name="connsiteX109" fmla="*/ 7911 w 10000"/>
                <a:gd name="connsiteY109" fmla="*/ 3396 h 10126"/>
                <a:gd name="connsiteX110" fmla="*/ 7949 w 10000"/>
                <a:gd name="connsiteY110" fmla="*/ 3372 h 10126"/>
                <a:gd name="connsiteX111" fmla="*/ 7980 w 10000"/>
                <a:gd name="connsiteY111" fmla="*/ 3342 h 10126"/>
                <a:gd name="connsiteX112" fmla="*/ 8011 w 10000"/>
                <a:gd name="connsiteY112" fmla="*/ 3313 h 10126"/>
                <a:gd name="connsiteX113" fmla="*/ 8036 w 10000"/>
                <a:gd name="connsiteY113" fmla="*/ 3282 h 10126"/>
                <a:gd name="connsiteX114" fmla="*/ 8087 w 10000"/>
                <a:gd name="connsiteY114" fmla="*/ 3203 h 10126"/>
                <a:gd name="connsiteX115" fmla="*/ 8118 w 10000"/>
                <a:gd name="connsiteY115" fmla="*/ 3131 h 10126"/>
                <a:gd name="connsiteX116" fmla="*/ 8149 w 10000"/>
                <a:gd name="connsiteY116" fmla="*/ 3065 h 10126"/>
                <a:gd name="connsiteX117" fmla="*/ 8168 w 10000"/>
                <a:gd name="connsiteY117" fmla="*/ 2999 h 10126"/>
                <a:gd name="connsiteX118" fmla="*/ 8231 w 10000"/>
                <a:gd name="connsiteY118" fmla="*/ 2932 h 10126"/>
                <a:gd name="connsiteX119" fmla="*/ 8294 w 10000"/>
                <a:gd name="connsiteY119" fmla="*/ 2866 h 10126"/>
                <a:gd name="connsiteX120" fmla="*/ 8363 w 10000"/>
                <a:gd name="connsiteY120" fmla="*/ 2813 h 10126"/>
                <a:gd name="connsiteX121" fmla="*/ 8432 w 10000"/>
                <a:gd name="connsiteY121" fmla="*/ 2752 h 10126"/>
                <a:gd name="connsiteX122" fmla="*/ 8507 w 10000"/>
                <a:gd name="connsiteY122" fmla="*/ 2704 h 10126"/>
                <a:gd name="connsiteX123" fmla="*/ 8576 w 10000"/>
                <a:gd name="connsiteY123" fmla="*/ 2656 h 10126"/>
                <a:gd name="connsiteX124" fmla="*/ 8651 w 10000"/>
                <a:gd name="connsiteY124" fmla="*/ 2614 h 10126"/>
                <a:gd name="connsiteX125" fmla="*/ 8726 w 10000"/>
                <a:gd name="connsiteY125" fmla="*/ 2570 h 10126"/>
                <a:gd name="connsiteX126" fmla="*/ 8808 w 10000"/>
                <a:gd name="connsiteY126" fmla="*/ 2528 h 10126"/>
                <a:gd name="connsiteX127" fmla="*/ 8890 w 10000"/>
                <a:gd name="connsiteY127" fmla="*/ 2492 h 10126"/>
                <a:gd name="connsiteX128" fmla="*/ 8971 w 10000"/>
                <a:gd name="connsiteY128" fmla="*/ 2462 h 10126"/>
                <a:gd name="connsiteX129" fmla="*/ 9059 w 10000"/>
                <a:gd name="connsiteY129" fmla="*/ 2432 h 10126"/>
                <a:gd name="connsiteX130" fmla="*/ 9235 w 10000"/>
                <a:gd name="connsiteY130" fmla="*/ 2378 h 10126"/>
                <a:gd name="connsiteX131" fmla="*/ 9417 w 10000"/>
                <a:gd name="connsiteY131" fmla="*/ 2335 h 10126"/>
                <a:gd name="connsiteX132" fmla="*/ 9454 w 10000"/>
                <a:gd name="connsiteY132" fmla="*/ 2384 h 10126"/>
                <a:gd name="connsiteX133" fmla="*/ 9504 w 10000"/>
                <a:gd name="connsiteY133" fmla="*/ 2444 h 10126"/>
                <a:gd name="connsiteX134" fmla="*/ 9573 w 10000"/>
                <a:gd name="connsiteY134" fmla="*/ 2510 h 10126"/>
                <a:gd name="connsiteX135" fmla="*/ 9642 w 10000"/>
                <a:gd name="connsiteY135" fmla="*/ 2583 h 10126"/>
                <a:gd name="connsiteX136" fmla="*/ 9718 w 10000"/>
                <a:gd name="connsiteY136" fmla="*/ 2644 h 10126"/>
                <a:gd name="connsiteX137" fmla="*/ 9799 w 10000"/>
                <a:gd name="connsiteY137" fmla="*/ 2692 h 10126"/>
                <a:gd name="connsiteX138" fmla="*/ 9837 w 10000"/>
                <a:gd name="connsiteY138" fmla="*/ 2716 h 10126"/>
                <a:gd name="connsiteX139" fmla="*/ 9875 w 10000"/>
                <a:gd name="connsiteY139" fmla="*/ 2728 h 10126"/>
                <a:gd name="connsiteX140" fmla="*/ 9918 w 10000"/>
                <a:gd name="connsiteY140" fmla="*/ 2740 h 10126"/>
                <a:gd name="connsiteX141" fmla="*/ 9956 w 10000"/>
                <a:gd name="connsiteY141" fmla="*/ 2740 h 10126"/>
                <a:gd name="connsiteX142" fmla="*/ 10000 w 10000"/>
                <a:gd name="connsiteY142" fmla="*/ 2668 h 10126"/>
                <a:gd name="connsiteX143" fmla="*/ 9975 w 10000"/>
                <a:gd name="connsiteY143" fmla="*/ 2795 h 10126"/>
                <a:gd name="connsiteX144" fmla="*/ 9944 w 10000"/>
                <a:gd name="connsiteY144" fmla="*/ 2938 h 10126"/>
                <a:gd name="connsiteX145" fmla="*/ 9931 w 10000"/>
                <a:gd name="connsiteY145" fmla="*/ 3005 h 10126"/>
                <a:gd name="connsiteX146" fmla="*/ 9906 w 10000"/>
                <a:gd name="connsiteY146" fmla="*/ 3065 h 10126"/>
                <a:gd name="connsiteX147" fmla="*/ 9887 w 10000"/>
                <a:gd name="connsiteY147" fmla="*/ 3089 h 10126"/>
                <a:gd name="connsiteX148" fmla="*/ 9875 w 10000"/>
                <a:gd name="connsiteY148" fmla="*/ 3113 h 10126"/>
                <a:gd name="connsiteX149" fmla="*/ 9856 w 10000"/>
                <a:gd name="connsiteY149" fmla="*/ 3131 h 10126"/>
                <a:gd name="connsiteX150" fmla="*/ 9837 w 10000"/>
                <a:gd name="connsiteY150" fmla="*/ 3149 h 10126"/>
                <a:gd name="connsiteX151" fmla="*/ 9749 w 10000"/>
                <a:gd name="connsiteY151" fmla="*/ 3167 h 10126"/>
                <a:gd name="connsiteX152" fmla="*/ 9605 w 10000"/>
                <a:gd name="connsiteY152" fmla="*/ 3216 h 10126"/>
                <a:gd name="connsiteX153" fmla="*/ 9536 w 10000"/>
                <a:gd name="connsiteY153" fmla="*/ 3258 h 10126"/>
                <a:gd name="connsiteX154" fmla="*/ 9479 w 10000"/>
                <a:gd name="connsiteY154" fmla="*/ 3294 h 10126"/>
                <a:gd name="connsiteX155" fmla="*/ 9448 w 10000"/>
                <a:gd name="connsiteY155" fmla="*/ 3313 h 10126"/>
                <a:gd name="connsiteX156" fmla="*/ 9435 w 10000"/>
                <a:gd name="connsiteY156" fmla="*/ 3331 h 10126"/>
                <a:gd name="connsiteX157" fmla="*/ 9423 w 10000"/>
                <a:gd name="connsiteY157" fmla="*/ 3354 h 10126"/>
                <a:gd name="connsiteX158" fmla="*/ 9417 w 10000"/>
                <a:gd name="connsiteY158" fmla="*/ 3372 h 10126"/>
                <a:gd name="connsiteX159" fmla="*/ 9423 w 10000"/>
                <a:gd name="connsiteY159" fmla="*/ 3583 h 10126"/>
                <a:gd name="connsiteX160" fmla="*/ 9417 w 10000"/>
                <a:gd name="connsiteY160" fmla="*/ 3824 h 10126"/>
                <a:gd name="connsiteX161" fmla="*/ 9398 w 10000"/>
                <a:gd name="connsiteY161" fmla="*/ 3884 h 10126"/>
                <a:gd name="connsiteX162" fmla="*/ 9391 w 10000"/>
                <a:gd name="connsiteY162" fmla="*/ 3950 h 10126"/>
                <a:gd name="connsiteX163" fmla="*/ 9379 w 10000"/>
                <a:gd name="connsiteY163" fmla="*/ 4004 h 10126"/>
                <a:gd name="connsiteX164" fmla="*/ 9366 w 10000"/>
                <a:gd name="connsiteY164" fmla="*/ 4059 h 10126"/>
                <a:gd name="connsiteX165" fmla="*/ 9348 w 10000"/>
                <a:gd name="connsiteY165" fmla="*/ 4108 h 10126"/>
                <a:gd name="connsiteX166" fmla="*/ 9316 w 10000"/>
                <a:gd name="connsiteY166" fmla="*/ 4156 h 10126"/>
                <a:gd name="connsiteX167" fmla="*/ 9285 w 10000"/>
                <a:gd name="connsiteY167" fmla="*/ 4192 h 10126"/>
                <a:gd name="connsiteX168" fmla="*/ 9247 w 10000"/>
                <a:gd name="connsiteY168" fmla="*/ 4222 h 10126"/>
                <a:gd name="connsiteX169" fmla="*/ 9228 w 10000"/>
                <a:gd name="connsiteY169" fmla="*/ 4240 h 10126"/>
                <a:gd name="connsiteX170" fmla="*/ 9184 w 10000"/>
                <a:gd name="connsiteY170" fmla="*/ 4246 h 10126"/>
                <a:gd name="connsiteX171" fmla="*/ 9141 w 10000"/>
                <a:gd name="connsiteY171" fmla="*/ 4252 h 10126"/>
                <a:gd name="connsiteX172" fmla="*/ 9090 w 10000"/>
                <a:gd name="connsiteY172" fmla="*/ 4258 h 10126"/>
                <a:gd name="connsiteX173" fmla="*/ 9040 w 10000"/>
                <a:gd name="connsiteY173" fmla="*/ 4264 h 10126"/>
                <a:gd name="connsiteX174" fmla="*/ 8996 w 10000"/>
                <a:gd name="connsiteY174" fmla="*/ 4283 h 10126"/>
                <a:gd name="connsiteX175" fmla="*/ 8977 w 10000"/>
                <a:gd name="connsiteY175" fmla="*/ 4289 h 10126"/>
                <a:gd name="connsiteX176" fmla="*/ 8965 w 10000"/>
                <a:gd name="connsiteY176" fmla="*/ 4307 h 10126"/>
                <a:gd name="connsiteX177" fmla="*/ 8959 w 10000"/>
                <a:gd name="connsiteY177" fmla="*/ 4319 h 10126"/>
                <a:gd name="connsiteX178" fmla="*/ 8959 w 10000"/>
                <a:gd name="connsiteY178" fmla="*/ 4337 h 10126"/>
                <a:gd name="connsiteX179" fmla="*/ 8952 w 10000"/>
                <a:gd name="connsiteY179" fmla="*/ 4408 h 10126"/>
                <a:gd name="connsiteX180" fmla="*/ 8952 w 10000"/>
                <a:gd name="connsiteY180" fmla="*/ 4493 h 10126"/>
                <a:gd name="connsiteX181" fmla="*/ 8940 w 10000"/>
                <a:gd name="connsiteY181" fmla="*/ 4583 h 10126"/>
                <a:gd name="connsiteX182" fmla="*/ 8927 w 10000"/>
                <a:gd name="connsiteY182" fmla="*/ 4667 h 10126"/>
                <a:gd name="connsiteX183" fmla="*/ 8908 w 10000"/>
                <a:gd name="connsiteY183" fmla="*/ 4753 h 10126"/>
                <a:gd name="connsiteX184" fmla="*/ 8890 w 10000"/>
                <a:gd name="connsiteY184" fmla="*/ 4831 h 10126"/>
                <a:gd name="connsiteX185" fmla="*/ 8864 w 10000"/>
                <a:gd name="connsiteY185" fmla="*/ 4902 h 10126"/>
                <a:gd name="connsiteX186" fmla="*/ 8833 w 10000"/>
                <a:gd name="connsiteY186" fmla="*/ 4969 h 10126"/>
                <a:gd name="connsiteX187" fmla="*/ 8538 w 10000"/>
                <a:gd name="connsiteY187" fmla="*/ 4480 h 10126"/>
                <a:gd name="connsiteX188" fmla="*/ 8526 w 10000"/>
                <a:gd name="connsiteY188" fmla="*/ 4505 h 10126"/>
                <a:gd name="connsiteX189" fmla="*/ 8494 w 10000"/>
                <a:gd name="connsiteY189" fmla="*/ 4559 h 10126"/>
                <a:gd name="connsiteX190" fmla="*/ 8463 w 10000"/>
                <a:gd name="connsiteY190" fmla="*/ 4589 h 10126"/>
                <a:gd name="connsiteX191" fmla="*/ 8438 w 10000"/>
                <a:gd name="connsiteY191" fmla="*/ 4613 h 10126"/>
                <a:gd name="connsiteX192" fmla="*/ 8407 w 10000"/>
                <a:gd name="connsiteY192" fmla="*/ 4631 h 10126"/>
                <a:gd name="connsiteX193" fmla="*/ 8375 w 10000"/>
                <a:gd name="connsiteY193" fmla="*/ 4637 h 10126"/>
                <a:gd name="connsiteX194" fmla="*/ 8338 w 10000"/>
                <a:gd name="connsiteY194" fmla="*/ 4631 h 10126"/>
                <a:gd name="connsiteX195" fmla="*/ 8312 w 10000"/>
                <a:gd name="connsiteY195" fmla="*/ 4625 h 10126"/>
                <a:gd name="connsiteX196" fmla="*/ 8287 w 10000"/>
                <a:gd name="connsiteY196" fmla="*/ 4607 h 10126"/>
                <a:gd name="connsiteX197" fmla="*/ 8256 w 10000"/>
                <a:gd name="connsiteY197" fmla="*/ 4589 h 10126"/>
                <a:gd name="connsiteX198" fmla="*/ 8237 w 10000"/>
                <a:gd name="connsiteY198" fmla="*/ 4559 h 10126"/>
                <a:gd name="connsiteX199" fmla="*/ 8225 w 10000"/>
                <a:gd name="connsiteY199" fmla="*/ 4535 h 10126"/>
                <a:gd name="connsiteX200" fmla="*/ 8206 w 10000"/>
                <a:gd name="connsiteY200" fmla="*/ 4511 h 10126"/>
                <a:gd name="connsiteX201" fmla="*/ 8206 w 10000"/>
                <a:gd name="connsiteY201" fmla="*/ 4480 h 10126"/>
                <a:gd name="connsiteX202" fmla="*/ 8206 w 10000"/>
                <a:gd name="connsiteY202" fmla="*/ 4444 h 10126"/>
                <a:gd name="connsiteX203" fmla="*/ 8225 w 10000"/>
                <a:gd name="connsiteY203" fmla="*/ 4408 h 10126"/>
                <a:gd name="connsiteX204" fmla="*/ 8237 w 10000"/>
                <a:gd name="connsiteY204" fmla="*/ 4372 h 10126"/>
                <a:gd name="connsiteX205" fmla="*/ 8250 w 10000"/>
                <a:gd name="connsiteY205" fmla="*/ 4337 h 10126"/>
                <a:gd name="connsiteX206" fmla="*/ 8300 w 10000"/>
                <a:gd name="connsiteY206" fmla="*/ 4270 h 10126"/>
                <a:gd name="connsiteX207" fmla="*/ 8356 w 10000"/>
                <a:gd name="connsiteY207" fmla="*/ 4204 h 10126"/>
                <a:gd name="connsiteX208" fmla="*/ 8407 w 10000"/>
                <a:gd name="connsiteY208" fmla="*/ 4144 h 10126"/>
                <a:gd name="connsiteX209" fmla="*/ 8457 w 10000"/>
                <a:gd name="connsiteY209" fmla="*/ 4078 h 10126"/>
                <a:gd name="connsiteX210" fmla="*/ 8469 w 10000"/>
                <a:gd name="connsiteY210" fmla="*/ 4041 h 10126"/>
                <a:gd name="connsiteX211" fmla="*/ 8482 w 10000"/>
                <a:gd name="connsiteY211" fmla="*/ 4010 h 10126"/>
                <a:gd name="connsiteX212" fmla="*/ 8501 w 10000"/>
                <a:gd name="connsiteY212" fmla="*/ 3968 h 10126"/>
                <a:gd name="connsiteX213" fmla="*/ 8501 w 10000"/>
                <a:gd name="connsiteY213" fmla="*/ 3932 h 10126"/>
                <a:gd name="connsiteX214" fmla="*/ 7748 w 10000"/>
                <a:gd name="connsiteY214" fmla="*/ 3932 h 10126"/>
                <a:gd name="connsiteX215" fmla="*/ 7723 w 10000"/>
                <a:gd name="connsiteY215" fmla="*/ 3926 h 10126"/>
                <a:gd name="connsiteX216" fmla="*/ 7685 w 10000"/>
                <a:gd name="connsiteY216" fmla="*/ 3908 h 10126"/>
                <a:gd name="connsiteX217" fmla="*/ 7660 w 10000"/>
                <a:gd name="connsiteY217" fmla="*/ 3872 h 10126"/>
                <a:gd name="connsiteX218" fmla="*/ 7635 w 10000"/>
                <a:gd name="connsiteY218" fmla="*/ 3836 h 10126"/>
                <a:gd name="connsiteX219" fmla="*/ 7616 w 10000"/>
                <a:gd name="connsiteY219" fmla="*/ 3788 h 10126"/>
                <a:gd name="connsiteX220" fmla="*/ 7597 w 10000"/>
                <a:gd name="connsiteY220" fmla="*/ 3740 h 10126"/>
                <a:gd name="connsiteX221" fmla="*/ 7591 w 10000"/>
                <a:gd name="connsiteY221" fmla="*/ 3686 h 10126"/>
                <a:gd name="connsiteX222" fmla="*/ 7585 w 10000"/>
                <a:gd name="connsiteY222" fmla="*/ 3631 h 10126"/>
                <a:gd name="connsiteX223" fmla="*/ 7547 w 10000"/>
                <a:gd name="connsiteY223" fmla="*/ 3631 h 10126"/>
                <a:gd name="connsiteX224" fmla="*/ 7516 w 10000"/>
                <a:gd name="connsiteY224" fmla="*/ 3625 h 10126"/>
                <a:gd name="connsiteX225" fmla="*/ 7478 w 10000"/>
                <a:gd name="connsiteY225" fmla="*/ 3619 h 10126"/>
                <a:gd name="connsiteX226" fmla="*/ 7447 w 10000"/>
                <a:gd name="connsiteY226" fmla="*/ 3607 h 10126"/>
                <a:gd name="connsiteX227" fmla="*/ 7415 w 10000"/>
                <a:gd name="connsiteY227" fmla="*/ 3589 h 10126"/>
                <a:gd name="connsiteX228" fmla="*/ 7396 w 10000"/>
                <a:gd name="connsiteY228" fmla="*/ 3571 h 10126"/>
                <a:gd name="connsiteX229" fmla="*/ 7384 w 10000"/>
                <a:gd name="connsiteY229" fmla="*/ 3541 h 10126"/>
                <a:gd name="connsiteX230" fmla="*/ 7378 w 10000"/>
                <a:gd name="connsiteY230" fmla="*/ 3517 h 10126"/>
                <a:gd name="connsiteX231" fmla="*/ 7321 w 10000"/>
                <a:gd name="connsiteY231" fmla="*/ 3517 h 10126"/>
                <a:gd name="connsiteX232" fmla="*/ 7271 w 10000"/>
                <a:gd name="connsiteY232" fmla="*/ 3517 h 10126"/>
                <a:gd name="connsiteX233" fmla="*/ 7221 w 10000"/>
                <a:gd name="connsiteY233" fmla="*/ 3517 h 10126"/>
                <a:gd name="connsiteX234" fmla="*/ 7171 w 10000"/>
                <a:gd name="connsiteY234" fmla="*/ 3517 h 10126"/>
                <a:gd name="connsiteX235" fmla="*/ 7127 w 10000"/>
                <a:gd name="connsiteY235" fmla="*/ 3523 h 10126"/>
                <a:gd name="connsiteX236" fmla="*/ 7095 w 10000"/>
                <a:gd name="connsiteY236" fmla="*/ 3529 h 10126"/>
                <a:gd name="connsiteX237" fmla="*/ 7051 w 10000"/>
                <a:gd name="connsiteY237" fmla="*/ 3547 h 10126"/>
                <a:gd name="connsiteX238" fmla="*/ 7008 w 10000"/>
                <a:gd name="connsiteY238" fmla="*/ 3571 h 10126"/>
                <a:gd name="connsiteX239" fmla="*/ 6976 w 10000"/>
                <a:gd name="connsiteY239" fmla="*/ 3601 h 10126"/>
                <a:gd name="connsiteX240" fmla="*/ 6939 w 10000"/>
                <a:gd name="connsiteY240" fmla="*/ 3631 h 10126"/>
                <a:gd name="connsiteX241" fmla="*/ 6920 w 10000"/>
                <a:gd name="connsiteY241" fmla="*/ 3668 h 10126"/>
                <a:gd name="connsiteX242" fmla="*/ 6913 w 10000"/>
                <a:gd name="connsiteY242" fmla="*/ 3704 h 10126"/>
                <a:gd name="connsiteX243" fmla="*/ 6926 w 10000"/>
                <a:gd name="connsiteY243" fmla="*/ 3728 h 10126"/>
                <a:gd name="connsiteX244" fmla="*/ 6964 w 10000"/>
                <a:gd name="connsiteY244" fmla="*/ 3758 h 10126"/>
                <a:gd name="connsiteX245" fmla="*/ 7008 w 10000"/>
                <a:gd name="connsiteY245" fmla="*/ 3794 h 10126"/>
                <a:gd name="connsiteX246" fmla="*/ 7070 w 10000"/>
                <a:gd name="connsiteY246" fmla="*/ 3830 h 10126"/>
                <a:gd name="connsiteX247" fmla="*/ 7133 w 10000"/>
                <a:gd name="connsiteY247" fmla="*/ 3866 h 10126"/>
                <a:gd name="connsiteX248" fmla="*/ 7196 w 10000"/>
                <a:gd name="connsiteY248" fmla="*/ 3896 h 10126"/>
                <a:gd name="connsiteX249" fmla="*/ 7252 w 10000"/>
                <a:gd name="connsiteY249" fmla="*/ 3920 h 10126"/>
                <a:gd name="connsiteX250" fmla="*/ 7290 w 10000"/>
                <a:gd name="connsiteY250" fmla="*/ 3932 h 10126"/>
                <a:gd name="connsiteX251" fmla="*/ 7208 w 10000"/>
                <a:gd name="connsiteY251" fmla="*/ 3992 h 10126"/>
                <a:gd name="connsiteX252" fmla="*/ 7114 w 10000"/>
                <a:gd name="connsiteY252" fmla="*/ 4066 h 10126"/>
                <a:gd name="connsiteX253" fmla="*/ 7070 w 10000"/>
                <a:gd name="connsiteY253" fmla="*/ 4102 h 10126"/>
                <a:gd name="connsiteX254" fmla="*/ 7033 w 10000"/>
                <a:gd name="connsiteY254" fmla="*/ 4144 h 10126"/>
                <a:gd name="connsiteX255" fmla="*/ 7020 w 10000"/>
                <a:gd name="connsiteY255" fmla="*/ 4162 h 10126"/>
                <a:gd name="connsiteX256" fmla="*/ 7008 w 10000"/>
                <a:gd name="connsiteY256" fmla="*/ 4180 h 10126"/>
                <a:gd name="connsiteX257" fmla="*/ 7001 w 10000"/>
                <a:gd name="connsiteY257" fmla="*/ 4204 h 10126"/>
                <a:gd name="connsiteX258" fmla="*/ 6995 w 10000"/>
                <a:gd name="connsiteY258" fmla="*/ 4222 h 10126"/>
                <a:gd name="connsiteX259" fmla="*/ 7001 w 10000"/>
                <a:gd name="connsiteY259" fmla="*/ 4252 h 10126"/>
                <a:gd name="connsiteX260" fmla="*/ 7008 w 10000"/>
                <a:gd name="connsiteY260" fmla="*/ 4270 h 10126"/>
                <a:gd name="connsiteX261" fmla="*/ 7026 w 10000"/>
                <a:gd name="connsiteY261" fmla="*/ 4295 h 10126"/>
                <a:gd name="connsiteX262" fmla="*/ 7039 w 10000"/>
                <a:gd name="connsiteY262" fmla="*/ 4319 h 10126"/>
                <a:gd name="connsiteX263" fmla="*/ 7089 w 10000"/>
                <a:gd name="connsiteY263" fmla="*/ 4366 h 10126"/>
                <a:gd name="connsiteX264" fmla="*/ 7146 w 10000"/>
                <a:gd name="connsiteY264" fmla="*/ 4414 h 10126"/>
                <a:gd name="connsiteX265" fmla="*/ 7208 w 10000"/>
                <a:gd name="connsiteY265" fmla="*/ 4456 h 10126"/>
                <a:gd name="connsiteX266" fmla="*/ 7277 w 10000"/>
                <a:gd name="connsiteY266" fmla="*/ 4493 h 10126"/>
                <a:gd name="connsiteX267" fmla="*/ 7315 w 10000"/>
                <a:gd name="connsiteY267" fmla="*/ 4505 h 10126"/>
                <a:gd name="connsiteX268" fmla="*/ 7346 w 10000"/>
                <a:gd name="connsiteY268" fmla="*/ 4511 h 10126"/>
                <a:gd name="connsiteX269" fmla="*/ 7384 w 10000"/>
                <a:gd name="connsiteY269" fmla="*/ 4517 h 10126"/>
                <a:gd name="connsiteX270" fmla="*/ 7415 w 10000"/>
                <a:gd name="connsiteY270" fmla="*/ 4523 h 10126"/>
                <a:gd name="connsiteX271" fmla="*/ 7585 w 10000"/>
                <a:gd name="connsiteY271" fmla="*/ 5150 h 10126"/>
                <a:gd name="connsiteX272" fmla="*/ 7491 w 10000"/>
                <a:gd name="connsiteY272" fmla="*/ 5150 h 10126"/>
                <a:gd name="connsiteX273" fmla="*/ 7403 w 10000"/>
                <a:gd name="connsiteY273" fmla="*/ 5150 h 10126"/>
                <a:gd name="connsiteX274" fmla="*/ 7321 w 10000"/>
                <a:gd name="connsiteY274" fmla="*/ 5150 h 10126"/>
                <a:gd name="connsiteX275" fmla="*/ 7252 w 10000"/>
                <a:gd name="connsiteY275" fmla="*/ 5150 h 10126"/>
                <a:gd name="connsiteX276" fmla="*/ 7208 w 10000"/>
                <a:gd name="connsiteY276" fmla="*/ 5144 h 10126"/>
                <a:gd name="connsiteX277" fmla="*/ 7164 w 10000"/>
                <a:gd name="connsiteY277" fmla="*/ 5113 h 10126"/>
                <a:gd name="connsiteX278" fmla="*/ 7133 w 10000"/>
                <a:gd name="connsiteY278" fmla="*/ 5101 h 10126"/>
                <a:gd name="connsiteX279" fmla="*/ 7102 w 10000"/>
                <a:gd name="connsiteY279" fmla="*/ 5089 h 10126"/>
                <a:gd name="connsiteX280" fmla="*/ 7070 w 10000"/>
                <a:gd name="connsiteY280" fmla="*/ 5083 h 10126"/>
                <a:gd name="connsiteX281" fmla="*/ 7039 w 10000"/>
                <a:gd name="connsiteY281" fmla="*/ 5077 h 10126"/>
                <a:gd name="connsiteX282" fmla="*/ 7008 w 10000"/>
                <a:gd name="connsiteY282" fmla="*/ 5089 h 10126"/>
                <a:gd name="connsiteX283" fmla="*/ 6957 w 10000"/>
                <a:gd name="connsiteY283" fmla="*/ 5119 h 10126"/>
                <a:gd name="connsiteX284" fmla="*/ 6895 w 10000"/>
                <a:gd name="connsiteY284" fmla="*/ 5162 h 10126"/>
                <a:gd name="connsiteX285" fmla="*/ 6819 w 10000"/>
                <a:gd name="connsiteY285" fmla="*/ 5210 h 10126"/>
                <a:gd name="connsiteX286" fmla="*/ 6744 w 10000"/>
                <a:gd name="connsiteY286" fmla="*/ 5270 h 10126"/>
                <a:gd name="connsiteX287" fmla="*/ 6681 w 10000"/>
                <a:gd name="connsiteY287" fmla="*/ 5318 h 10126"/>
                <a:gd name="connsiteX288" fmla="*/ 6637 w 10000"/>
                <a:gd name="connsiteY288" fmla="*/ 5354 h 10126"/>
                <a:gd name="connsiteX289" fmla="*/ 6625 w 10000"/>
                <a:gd name="connsiteY289" fmla="*/ 5378 h 10126"/>
                <a:gd name="connsiteX290" fmla="*/ 6750 w 10000"/>
                <a:gd name="connsiteY290" fmla="*/ 5450 h 10126"/>
                <a:gd name="connsiteX291" fmla="*/ 6744 w 10000"/>
                <a:gd name="connsiteY291" fmla="*/ 5487 h 10126"/>
                <a:gd name="connsiteX292" fmla="*/ 6725 w 10000"/>
                <a:gd name="connsiteY292" fmla="*/ 5529 h 10126"/>
                <a:gd name="connsiteX293" fmla="*/ 6706 w 10000"/>
                <a:gd name="connsiteY293" fmla="*/ 5560 h 10126"/>
                <a:gd name="connsiteX294" fmla="*/ 6688 w 10000"/>
                <a:gd name="connsiteY294" fmla="*/ 5602 h 10126"/>
                <a:gd name="connsiteX295" fmla="*/ 6637 w 10000"/>
                <a:gd name="connsiteY295" fmla="*/ 5656 h 10126"/>
                <a:gd name="connsiteX296" fmla="*/ 6581 w 10000"/>
                <a:gd name="connsiteY296" fmla="*/ 5710 h 10126"/>
                <a:gd name="connsiteX297" fmla="*/ 6518 w 10000"/>
                <a:gd name="connsiteY297" fmla="*/ 5758 h 10126"/>
                <a:gd name="connsiteX298" fmla="*/ 6443 w 10000"/>
                <a:gd name="connsiteY298" fmla="*/ 5801 h 10126"/>
                <a:gd name="connsiteX299" fmla="*/ 6374 w 10000"/>
                <a:gd name="connsiteY299" fmla="*/ 5837 h 10126"/>
                <a:gd name="connsiteX300" fmla="*/ 6299 w 10000"/>
                <a:gd name="connsiteY300" fmla="*/ 5872 h 10126"/>
                <a:gd name="connsiteX301" fmla="*/ 6223 w 10000"/>
                <a:gd name="connsiteY301" fmla="*/ 5920 h 10126"/>
                <a:gd name="connsiteX302" fmla="*/ 6154 w 10000"/>
                <a:gd name="connsiteY302" fmla="*/ 5956 h 10126"/>
                <a:gd name="connsiteX303" fmla="*/ 6092 w 10000"/>
                <a:gd name="connsiteY303" fmla="*/ 5999 h 10126"/>
                <a:gd name="connsiteX304" fmla="*/ 6035 w 10000"/>
                <a:gd name="connsiteY304" fmla="*/ 6047 h 10126"/>
                <a:gd name="connsiteX305" fmla="*/ 6004 w 10000"/>
                <a:gd name="connsiteY305" fmla="*/ 6071 h 10126"/>
                <a:gd name="connsiteX306" fmla="*/ 5985 w 10000"/>
                <a:gd name="connsiteY306" fmla="*/ 6095 h 10126"/>
                <a:gd name="connsiteX307" fmla="*/ 5966 w 10000"/>
                <a:gd name="connsiteY307" fmla="*/ 6125 h 10126"/>
                <a:gd name="connsiteX308" fmla="*/ 5947 w 10000"/>
                <a:gd name="connsiteY308" fmla="*/ 6155 h 10126"/>
                <a:gd name="connsiteX309" fmla="*/ 5935 w 10000"/>
                <a:gd name="connsiteY309" fmla="*/ 6193 h 10126"/>
                <a:gd name="connsiteX310" fmla="*/ 5922 w 10000"/>
                <a:gd name="connsiteY310" fmla="*/ 6223 h 10126"/>
                <a:gd name="connsiteX311" fmla="*/ 5916 w 10000"/>
                <a:gd name="connsiteY311" fmla="*/ 6265 h 10126"/>
                <a:gd name="connsiteX312" fmla="*/ 5916 w 10000"/>
                <a:gd name="connsiteY312" fmla="*/ 6307 h 10126"/>
                <a:gd name="connsiteX313" fmla="*/ 5859 w 10000"/>
                <a:gd name="connsiteY313" fmla="*/ 6325 h 10126"/>
                <a:gd name="connsiteX314" fmla="*/ 5809 w 10000"/>
                <a:gd name="connsiteY314" fmla="*/ 6343 h 10126"/>
                <a:gd name="connsiteX315" fmla="*/ 5765 w 10000"/>
                <a:gd name="connsiteY315" fmla="*/ 6366 h 10126"/>
                <a:gd name="connsiteX316" fmla="*/ 5721 w 10000"/>
                <a:gd name="connsiteY316" fmla="*/ 6390 h 10126"/>
                <a:gd name="connsiteX317" fmla="*/ 5634 w 10000"/>
                <a:gd name="connsiteY317" fmla="*/ 6451 h 10126"/>
                <a:gd name="connsiteX318" fmla="*/ 5558 w 10000"/>
                <a:gd name="connsiteY318" fmla="*/ 6523 h 10126"/>
                <a:gd name="connsiteX319" fmla="*/ 5420 w 10000"/>
                <a:gd name="connsiteY319" fmla="*/ 6686 h 10126"/>
                <a:gd name="connsiteX320" fmla="*/ 5289 w 10000"/>
                <a:gd name="connsiteY320" fmla="*/ 6860 h 10126"/>
                <a:gd name="connsiteX321" fmla="*/ 5220 w 10000"/>
                <a:gd name="connsiteY321" fmla="*/ 6951 h 10126"/>
                <a:gd name="connsiteX322" fmla="*/ 5151 w 10000"/>
                <a:gd name="connsiteY322" fmla="*/ 7029 h 10126"/>
                <a:gd name="connsiteX323" fmla="*/ 5075 w 10000"/>
                <a:gd name="connsiteY323" fmla="*/ 7102 h 10126"/>
                <a:gd name="connsiteX324" fmla="*/ 4994 w 10000"/>
                <a:gd name="connsiteY324" fmla="*/ 7168 h 10126"/>
                <a:gd name="connsiteX325" fmla="*/ 4944 w 10000"/>
                <a:gd name="connsiteY325" fmla="*/ 7198 h 10126"/>
                <a:gd name="connsiteX326" fmla="*/ 4893 w 10000"/>
                <a:gd name="connsiteY326" fmla="*/ 7222 h 10126"/>
                <a:gd name="connsiteX327" fmla="*/ 4849 w 10000"/>
                <a:gd name="connsiteY327" fmla="*/ 7246 h 10126"/>
                <a:gd name="connsiteX328" fmla="*/ 4793 w 10000"/>
                <a:gd name="connsiteY328" fmla="*/ 7271 h 10126"/>
                <a:gd name="connsiteX329" fmla="*/ 4730 w 10000"/>
                <a:gd name="connsiteY329" fmla="*/ 7289 h 10126"/>
                <a:gd name="connsiteX330" fmla="*/ 4674 w 10000"/>
                <a:gd name="connsiteY330" fmla="*/ 7301 h 10126"/>
                <a:gd name="connsiteX331" fmla="*/ 4605 w 10000"/>
                <a:gd name="connsiteY331" fmla="*/ 7307 h 10126"/>
                <a:gd name="connsiteX332" fmla="*/ 4536 w 10000"/>
                <a:gd name="connsiteY332" fmla="*/ 7307 h 10126"/>
                <a:gd name="connsiteX333" fmla="*/ 4536 w 10000"/>
                <a:gd name="connsiteY333" fmla="*/ 7360 h 10126"/>
                <a:gd name="connsiteX334" fmla="*/ 4536 w 10000"/>
                <a:gd name="connsiteY334" fmla="*/ 7414 h 10126"/>
                <a:gd name="connsiteX335" fmla="*/ 4536 w 10000"/>
                <a:gd name="connsiteY335" fmla="*/ 7456 h 10126"/>
                <a:gd name="connsiteX336" fmla="*/ 4536 w 10000"/>
                <a:gd name="connsiteY336" fmla="*/ 7493 h 10126"/>
                <a:gd name="connsiteX337" fmla="*/ 4536 w 10000"/>
                <a:gd name="connsiteY337" fmla="*/ 7559 h 10126"/>
                <a:gd name="connsiteX338" fmla="*/ 4536 w 10000"/>
                <a:gd name="connsiteY338" fmla="*/ 7662 h 10126"/>
                <a:gd name="connsiteX339" fmla="*/ 4536 w 10000"/>
                <a:gd name="connsiteY339" fmla="*/ 7771 h 10126"/>
                <a:gd name="connsiteX340" fmla="*/ 4548 w 10000"/>
                <a:gd name="connsiteY340" fmla="*/ 7884 h 10126"/>
                <a:gd name="connsiteX341" fmla="*/ 4561 w 10000"/>
                <a:gd name="connsiteY341" fmla="*/ 7945 h 10126"/>
                <a:gd name="connsiteX342" fmla="*/ 4573 w 10000"/>
                <a:gd name="connsiteY342" fmla="*/ 7999 h 10126"/>
                <a:gd name="connsiteX343" fmla="*/ 4586 w 10000"/>
                <a:gd name="connsiteY343" fmla="*/ 8047 h 10126"/>
                <a:gd name="connsiteX344" fmla="*/ 4611 w 10000"/>
                <a:gd name="connsiteY344" fmla="*/ 8089 h 10126"/>
                <a:gd name="connsiteX345" fmla="*/ 4636 w 10000"/>
                <a:gd name="connsiteY345" fmla="*/ 8132 h 10126"/>
                <a:gd name="connsiteX346" fmla="*/ 4668 w 10000"/>
                <a:gd name="connsiteY346" fmla="*/ 8162 h 10126"/>
                <a:gd name="connsiteX347" fmla="*/ 4705 w 10000"/>
                <a:gd name="connsiteY347" fmla="*/ 8186 h 10126"/>
                <a:gd name="connsiteX348" fmla="*/ 4749 w 10000"/>
                <a:gd name="connsiteY348" fmla="*/ 8198 h 10126"/>
                <a:gd name="connsiteX349" fmla="*/ 4711 w 10000"/>
                <a:gd name="connsiteY349" fmla="*/ 8294 h 10126"/>
                <a:gd name="connsiteX350" fmla="*/ 4668 w 10000"/>
                <a:gd name="connsiteY350" fmla="*/ 8379 h 10126"/>
                <a:gd name="connsiteX351" fmla="*/ 4617 w 10000"/>
                <a:gd name="connsiteY351" fmla="*/ 8457 h 10126"/>
                <a:gd name="connsiteX352" fmla="*/ 4573 w 10000"/>
                <a:gd name="connsiteY352" fmla="*/ 8529 h 10126"/>
                <a:gd name="connsiteX353" fmla="*/ 4523 w 10000"/>
                <a:gd name="connsiteY353" fmla="*/ 8614 h 10126"/>
                <a:gd name="connsiteX354" fmla="*/ 4492 w 10000"/>
                <a:gd name="connsiteY354" fmla="*/ 8692 h 10126"/>
                <a:gd name="connsiteX355" fmla="*/ 4473 w 10000"/>
                <a:gd name="connsiteY355" fmla="*/ 8728 h 10126"/>
                <a:gd name="connsiteX356" fmla="*/ 4467 w 10000"/>
                <a:gd name="connsiteY356" fmla="*/ 8771 h 10126"/>
                <a:gd name="connsiteX357" fmla="*/ 4460 w 10000"/>
                <a:gd name="connsiteY357" fmla="*/ 8819 h 10126"/>
                <a:gd name="connsiteX358" fmla="*/ 4454 w 10000"/>
                <a:gd name="connsiteY358" fmla="*/ 8861 h 10126"/>
                <a:gd name="connsiteX359" fmla="*/ 4460 w 10000"/>
                <a:gd name="connsiteY359" fmla="*/ 8878 h 10126"/>
                <a:gd name="connsiteX360" fmla="*/ 4467 w 10000"/>
                <a:gd name="connsiteY360" fmla="*/ 8890 h 10126"/>
                <a:gd name="connsiteX361" fmla="*/ 4479 w 10000"/>
                <a:gd name="connsiteY361" fmla="*/ 8902 h 10126"/>
                <a:gd name="connsiteX362" fmla="*/ 4504 w 10000"/>
                <a:gd name="connsiteY362" fmla="*/ 8914 h 10126"/>
                <a:gd name="connsiteX363" fmla="*/ 4542 w 10000"/>
                <a:gd name="connsiteY363" fmla="*/ 8938 h 10126"/>
                <a:gd name="connsiteX364" fmla="*/ 4580 w 10000"/>
                <a:gd name="connsiteY364" fmla="*/ 8944 h 10126"/>
                <a:gd name="connsiteX365" fmla="*/ 4580 w 10000"/>
                <a:gd name="connsiteY365" fmla="*/ 9162 h 10126"/>
                <a:gd name="connsiteX366" fmla="*/ 4529 w 10000"/>
                <a:gd name="connsiteY366" fmla="*/ 9247 h 10126"/>
                <a:gd name="connsiteX367" fmla="*/ 4492 w 10000"/>
                <a:gd name="connsiteY367" fmla="*/ 9337 h 10126"/>
                <a:gd name="connsiteX368" fmla="*/ 4460 w 10000"/>
                <a:gd name="connsiteY368" fmla="*/ 9372 h 10126"/>
                <a:gd name="connsiteX369" fmla="*/ 4429 w 10000"/>
                <a:gd name="connsiteY369" fmla="*/ 9397 h 10126"/>
                <a:gd name="connsiteX370" fmla="*/ 4404 w 10000"/>
                <a:gd name="connsiteY370" fmla="*/ 9409 h 10126"/>
                <a:gd name="connsiteX371" fmla="*/ 4385 w 10000"/>
                <a:gd name="connsiteY371" fmla="*/ 9415 h 10126"/>
                <a:gd name="connsiteX372" fmla="*/ 4360 w 10000"/>
                <a:gd name="connsiteY372" fmla="*/ 9421 h 10126"/>
                <a:gd name="connsiteX373" fmla="*/ 4329 w 10000"/>
                <a:gd name="connsiteY373" fmla="*/ 9421 h 10126"/>
                <a:gd name="connsiteX374" fmla="*/ 4329 w 10000"/>
                <a:gd name="connsiteY374" fmla="*/ 9469 h 10126"/>
                <a:gd name="connsiteX375" fmla="*/ 4335 w 10000"/>
                <a:gd name="connsiteY375" fmla="*/ 9529 h 10126"/>
                <a:gd name="connsiteX376" fmla="*/ 4348 w 10000"/>
                <a:gd name="connsiteY376" fmla="*/ 9559 h 10126"/>
                <a:gd name="connsiteX377" fmla="*/ 4354 w 10000"/>
                <a:gd name="connsiteY377" fmla="*/ 9583 h 10126"/>
                <a:gd name="connsiteX378" fmla="*/ 4360 w 10000"/>
                <a:gd name="connsiteY378" fmla="*/ 9602 h 10126"/>
                <a:gd name="connsiteX379" fmla="*/ 4373 w 10000"/>
                <a:gd name="connsiteY379" fmla="*/ 9608 h 10126"/>
                <a:gd name="connsiteX380" fmla="*/ 4210 w 10000"/>
                <a:gd name="connsiteY380" fmla="*/ 9734 h 10126"/>
                <a:gd name="connsiteX381" fmla="*/ 4072 w 10000"/>
                <a:gd name="connsiteY381" fmla="*/ 9838 h 10126"/>
                <a:gd name="connsiteX382" fmla="*/ 4009 w 10000"/>
                <a:gd name="connsiteY382" fmla="*/ 9897 h 10126"/>
                <a:gd name="connsiteX383" fmla="*/ 3952 w 10000"/>
                <a:gd name="connsiteY383" fmla="*/ 9963 h 10126"/>
                <a:gd name="connsiteX384" fmla="*/ 3890 w 10000"/>
                <a:gd name="connsiteY384" fmla="*/ 10042 h 10126"/>
                <a:gd name="connsiteX385" fmla="*/ 3833 w 10000"/>
                <a:gd name="connsiteY385" fmla="*/ 10126 h 10126"/>
                <a:gd name="connsiteX386" fmla="*/ 3733 w 10000"/>
                <a:gd name="connsiteY386" fmla="*/ 10084 h 10126"/>
                <a:gd name="connsiteX387" fmla="*/ 3664 w 10000"/>
                <a:gd name="connsiteY387" fmla="*/ 10042 h 10126"/>
                <a:gd name="connsiteX388" fmla="*/ 3607 w 10000"/>
                <a:gd name="connsiteY388" fmla="*/ 9999 h 10126"/>
                <a:gd name="connsiteX389" fmla="*/ 3563 w 10000"/>
                <a:gd name="connsiteY389" fmla="*/ 9951 h 10126"/>
                <a:gd name="connsiteX390" fmla="*/ 3532 w 10000"/>
                <a:gd name="connsiteY390" fmla="*/ 9891 h 10126"/>
                <a:gd name="connsiteX391" fmla="*/ 3513 w 10000"/>
                <a:gd name="connsiteY391" fmla="*/ 9832 h 10126"/>
                <a:gd name="connsiteX392" fmla="*/ 3482 w 10000"/>
                <a:gd name="connsiteY392" fmla="*/ 9758 h 10126"/>
                <a:gd name="connsiteX393" fmla="*/ 3457 w 10000"/>
                <a:gd name="connsiteY393" fmla="*/ 9686 h 10126"/>
                <a:gd name="connsiteX394" fmla="*/ 3400 w 10000"/>
                <a:gd name="connsiteY394" fmla="*/ 9547 h 10126"/>
                <a:gd name="connsiteX395" fmla="*/ 3325 w 10000"/>
                <a:gd name="connsiteY395" fmla="*/ 9415 h 10126"/>
                <a:gd name="connsiteX396" fmla="*/ 3237 w 10000"/>
                <a:gd name="connsiteY396" fmla="*/ 9277 h 10126"/>
                <a:gd name="connsiteX397" fmla="*/ 3143 w 10000"/>
                <a:gd name="connsiteY397" fmla="*/ 9132 h 10126"/>
                <a:gd name="connsiteX398" fmla="*/ 3049 w 10000"/>
                <a:gd name="connsiteY398" fmla="*/ 8999 h 10126"/>
                <a:gd name="connsiteX399" fmla="*/ 2967 w 10000"/>
                <a:gd name="connsiteY399" fmla="*/ 8867 h 10126"/>
                <a:gd name="connsiteX400" fmla="*/ 2892 w 10000"/>
                <a:gd name="connsiteY400" fmla="*/ 8747 h 10126"/>
                <a:gd name="connsiteX401" fmla="*/ 2829 w 10000"/>
                <a:gd name="connsiteY401" fmla="*/ 8644 h 10126"/>
                <a:gd name="connsiteX402" fmla="*/ 2773 w 10000"/>
                <a:gd name="connsiteY402" fmla="*/ 8529 h 10126"/>
                <a:gd name="connsiteX403" fmla="*/ 2735 w 10000"/>
                <a:gd name="connsiteY403" fmla="*/ 8427 h 10126"/>
                <a:gd name="connsiteX404" fmla="*/ 2698 w 10000"/>
                <a:gd name="connsiteY404" fmla="*/ 8319 h 10126"/>
                <a:gd name="connsiteX405" fmla="*/ 2666 w 10000"/>
                <a:gd name="connsiteY405" fmla="*/ 8210 h 10126"/>
                <a:gd name="connsiteX406" fmla="*/ 2629 w 10000"/>
                <a:gd name="connsiteY406" fmla="*/ 8101 h 10126"/>
                <a:gd name="connsiteX407" fmla="*/ 2597 w 10000"/>
                <a:gd name="connsiteY407" fmla="*/ 7993 h 10126"/>
                <a:gd name="connsiteX408" fmla="*/ 2553 w 10000"/>
                <a:gd name="connsiteY408" fmla="*/ 7872 h 10126"/>
                <a:gd name="connsiteX409" fmla="*/ 2497 w 10000"/>
                <a:gd name="connsiteY409" fmla="*/ 7753 h 10126"/>
                <a:gd name="connsiteX410" fmla="*/ 2359 w 10000"/>
                <a:gd name="connsiteY410" fmla="*/ 7559 h 10126"/>
                <a:gd name="connsiteX411" fmla="*/ 2208 w 10000"/>
                <a:gd name="connsiteY411" fmla="*/ 7378 h 10126"/>
                <a:gd name="connsiteX412" fmla="*/ 2139 w 10000"/>
                <a:gd name="connsiteY412" fmla="*/ 7295 h 10126"/>
                <a:gd name="connsiteX413" fmla="*/ 2070 w 10000"/>
                <a:gd name="connsiteY413" fmla="*/ 7198 h 10126"/>
                <a:gd name="connsiteX414" fmla="*/ 2008 w 10000"/>
                <a:gd name="connsiteY414" fmla="*/ 7108 h 10126"/>
                <a:gd name="connsiteX415" fmla="*/ 1957 w 10000"/>
                <a:gd name="connsiteY415" fmla="*/ 7011 h 10126"/>
                <a:gd name="connsiteX416" fmla="*/ 1888 w 10000"/>
                <a:gd name="connsiteY416" fmla="*/ 6776 h 10126"/>
                <a:gd name="connsiteX417" fmla="*/ 1832 w 10000"/>
                <a:gd name="connsiteY417" fmla="*/ 6559 h 10126"/>
                <a:gd name="connsiteX418" fmla="*/ 1782 w 10000"/>
                <a:gd name="connsiteY418" fmla="*/ 6349 h 10126"/>
                <a:gd name="connsiteX419" fmla="*/ 1757 w 10000"/>
                <a:gd name="connsiteY419" fmla="*/ 6137 h 10126"/>
                <a:gd name="connsiteX420" fmla="*/ 1725 w 10000"/>
                <a:gd name="connsiteY420" fmla="*/ 5932 h 10126"/>
                <a:gd name="connsiteX421" fmla="*/ 1713 w 10000"/>
                <a:gd name="connsiteY421" fmla="*/ 5716 h 10126"/>
                <a:gd name="connsiteX422" fmla="*/ 1706 w 10000"/>
                <a:gd name="connsiteY422" fmla="*/ 5493 h 10126"/>
                <a:gd name="connsiteX423" fmla="*/ 1706 w 10000"/>
                <a:gd name="connsiteY423" fmla="*/ 5270 h 10126"/>
                <a:gd name="connsiteX424" fmla="*/ 1681 w 10000"/>
                <a:gd name="connsiteY424" fmla="*/ 5264 h 10126"/>
                <a:gd name="connsiteX425" fmla="*/ 1650 w 10000"/>
                <a:gd name="connsiteY425" fmla="*/ 5258 h 10126"/>
                <a:gd name="connsiteX426" fmla="*/ 1625 w 10000"/>
                <a:gd name="connsiteY426" fmla="*/ 5252 h 10126"/>
                <a:gd name="connsiteX427" fmla="*/ 1606 w 10000"/>
                <a:gd name="connsiteY427" fmla="*/ 5228 h 10126"/>
                <a:gd name="connsiteX428" fmla="*/ 1581 w 10000"/>
                <a:gd name="connsiteY428" fmla="*/ 5216 h 10126"/>
                <a:gd name="connsiteX429" fmla="*/ 1568 w 10000"/>
                <a:gd name="connsiteY429" fmla="*/ 5198 h 10126"/>
                <a:gd name="connsiteX430" fmla="*/ 1550 w 10000"/>
                <a:gd name="connsiteY430" fmla="*/ 5174 h 10126"/>
                <a:gd name="connsiteX431" fmla="*/ 1543 w 10000"/>
                <a:gd name="connsiteY431" fmla="*/ 5150 h 10126"/>
                <a:gd name="connsiteX432" fmla="*/ 1518 w 10000"/>
                <a:gd name="connsiteY432" fmla="*/ 5101 h 10126"/>
                <a:gd name="connsiteX433" fmla="*/ 1506 w 10000"/>
                <a:gd name="connsiteY433" fmla="*/ 5047 h 10126"/>
                <a:gd name="connsiteX434" fmla="*/ 1499 w 10000"/>
                <a:gd name="connsiteY434" fmla="*/ 4987 h 10126"/>
                <a:gd name="connsiteX435" fmla="*/ 1499 w 10000"/>
                <a:gd name="connsiteY435" fmla="*/ 4933 h 10126"/>
                <a:gd name="connsiteX436" fmla="*/ 1443 w 10000"/>
                <a:gd name="connsiteY436" fmla="*/ 4969 h 10126"/>
                <a:gd name="connsiteX437" fmla="*/ 1405 w 10000"/>
                <a:gd name="connsiteY437" fmla="*/ 5011 h 10126"/>
                <a:gd name="connsiteX438" fmla="*/ 1361 w 10000"/>
                <a:gd name="connsiteY438" fmla="*/ 5053 h 10126"/>
                <a:gd name="connsiteX439" fmla="*/ 1317 w 10000"/>
                <a:gd name="connsiteY439" fmla="*/ 5101 h 10126"/>
                <a:gd name="connsiteX440" fmla="*/ 1261 w 10000"/>
                <a:gd name="connsiteY440" fmla="*/ 5198 h 10126"/>
                <a:gd name="connsiteX441" fmla="*/ 1205 w 10000"/>
                <a:gd name="connsiteY441" fmla="*/ 5300 h 10126"/>
                <a:gd name="connsiteX442" fmla="*/ 1167 w 10000"/>
                <a:gd name="connsiteY442" fmla="*/ 5343 h 10126"/>
                <a:gd name="connsiteX443" fmla="*/ 1142 w 10000"/>
                <a:gd name="connsiteY443" fmla="*/ 5384 h 10126"/>
                <a:gd name="connsiteX444" fmla="*/ 1104 w 10000"/>
                <a:gd name="connsiteY444" fmla="*/ 5426 h 10126"/>
                <a:gd name="connsiteX445" fmla="*/ 1073 w 10000"/>
                <a:gd name="connsiteY445" fmla="*/ 5456 h 10126"/>
                <a:gd name="connsiteX446" fmla="*/ 1029 w 10000"/>
                <a:gd name="connsiteY446" fmla="*/ 5487 h 10126"/>
                <a:gd name="connsiteX447" fmla="*/ 985 w 10000"/>
                <a:gd name="connsiteY447" fmla="*/ 5505 h 10126"/>
                <a:gd name="connsiteX448" fmla="*/ 928 w 10000"/>
                <a:gd name="connsiteY448" fmla="*/ 5517 h 10126"/>
                <a:gd name="connsiteX449" fmla="*/ 872 w 10000"/>
                <a:gd name="connsiteY449" fmla="*/ 5523 h 10126"/>
                <a:gd name="connsiteX450" fmla="*/ 841 w 10000"/>
                <a:gd name="connsiteY450" fmla="*/ 5517 h 10126"/>
                <a:gd name="connsiteX451" fmla="*/ 797 w 10000"/>
                <a:gd name="connsiteY451" fmla="*/ 5505 h 10126"/>
                <a:gd name="connsiteX452" fmla="*/ 753 w 10000"/>
                <a:gd name="connsiteY452" fmla="*/ 5487 h 10126"/>
                <a:gd name="connsiteX453" fmla="*/ 709 w 10000"/>
                <a:gd name="connsiteY453" fmla="*/ 5456 h 10126"/>
                <a:gd name="connsiteX454" fmla="*/ 659 w 10000"/>
                <a:gd name="connsiteY454" fmla="*/ 5420 h 10126"/>
                <a:gd name="connsiteX455" fmla="*/ 609 w 10000"/>
                <a:gd name="connsiteY455" fmla="*/ 5384 h 10126"/>
                <a:gd name="connsiteX456" fmla="*/ 565 w 10000"/>
                <a:gd name="connsiteY456" fmla="*/ 5343 h 10126"/>
                <a:gd name="connsiteX457" fmla="*/ 514 w 10000"/>
                <a:gd name="connsiteY457" fmla="*/ 5294 h 10126"/>
                <a:gd name="connsiteX458" fmla="*/ 471 w 10000"/>
                <a:gd name="connsiteY458" fmla="*/ 5246 h 10126"/>
                <a:gd name="connsiteX459" fmla="*/ 433 w 10000"/>
                <a:gd name="connsiteY459" fmla="*/ 5192 h 10126"/>
                <a:gd name="connsiteX460" fmla="*/ 389 w 10000"/>
                <a:gd name="connsiteY460" fmla="*/ 5138 h 10126"/>
                <a:gd name="connsiteX461" fmla="*/ 358 w 10000"/>
                <a:gd name="connsiteY461" fmla="*/ 5083 h 10126"/>
                <a:gd name="connsiteX462" fmla="*/ 326 w 10000"/>
                <a:gd name="connsiteY462" fmla="*/ 5035 h 10126"/>
                <a:gd name="connsiteX463" fmla="*/ 307 w 10000"/>
                <a:gd name="connsiteY463" fmla="*/ 4987 h 10126"/>
                <a:gd name="connsiteX464" fmla="*/ 295 w 10000"/>
                <a:gd name="connsiteY464" fmla="*/ 4939 h 10126"/>
                <a:gd name="connsiteX465" fmla="*/ 289 w 10000"/>
                <a:gd name="connsiteY465" fmla="*/ 4890 h 10126"/>
                <a:gd name="connsiteX466" fmla="*/ 320 w 10000"/>
                <a:gd name="connsiteY466" fmla="*/ 4872 h 10126"/>
                <a:gd name="connsiteX467" fmla="*/ 395 w 10000"/>
                <a:gd name="connsiteY467" fmla="*/ 4837 h 10126"/>
                <a:gd name="connsiteX468" fmla="*/ 483 w 10000"/>
                <a:gd name="connsiteY468" fmla="*/ 4801 h 10126"/>
                <a:gd name="connsiteX469" fmla="*/ 533 w 10000"/>
                <a:gd name="connsiteY469" fmla="*/ 4783 h 10126"/>
                <a:gd name="connsiteX470" fmla="*/ 483 w 10000"/>
                <a:gd name="connsiteY470" fmla="*/ 4783 h 10126"/>
                <a:gd name="connsiteX471" fmla="*/ 420 w 10000"/>
                <a:gd name="connsiteY471" fmla="*/ 4777 h 10126"/>
                <a:gd name="connsiteX472" fmla="*/ 370 w 10000"/>
                <a:gd name="connsiteY472" fmla="*/ 4765 h 10126"/>
                <a:gd name="connsiteX473" fmla="*/ 320 w 10000"/>
                <a:gd name="connsiteY473" fmla="*/ 4759 h 10126"/>
                <a:gd name="connsiteX474" fmla="*/ 276 w 10000"/>
                <a:gd name="connsiteY474" fmla="*/ 4740 h 10126"/>
                <a:gd name="connsiteX475" fmla="*/ 232 w 10000"/>
                <a:gd name="connsiteY475" fmla="*/ 4728 h 10126"/>
                <a:gd name="connsiteX476" fmla="*/ 188 w 10000"/>
                <a:gd name="connsiteY476" fmla="*/ 4710 h 10126"/>
                <a:gd name="connsiteX477" fmla="*/ 157 w 10000"/>
                <a:gd name="connsiteY477" fmla="*/ 4685 h 10126"/>
                <a:gd name="connsiteX478" fmla="*/ 132 w 10000"/>
                <a:gd name="connsiteY478" fmla="*/ 4661 h 10126"/>
                <a:gd name="connsiteX479" fmla="*/ 100 w 10000"/>
                <a:gd name="connsiteY479" fmla="*/ 4637 h 10126"/>
                <a:gd name="connsiteX480" fmla="*/ 75 w 10000"/>
                <a:gd name="connsiteY480" fmla="*/ 4607 h 10126"/>
                <a:gd name="connsiteX481" fmla="*/ 50 w 10000"/>
                <a:gd name="connsiteY481" fmla="*/ 4583 h 10126"/>
                <a:gd name="connsiteX482" fmla="*/ 19 w 10000"/>
                <a:gd name="connsiteY482" fmla="*/ 4511 h 10126"/>
                <a:gd name="connsiteX483" fmla="*/ 0 w 10000"/>
                <a:gd name="connsiteY483" fmla="*/ 4444 h 10126"/>
                <a:gd name="connsiteX484" fmla="*/ 63 w 10000"/>
                <a:gd name="connsiteY484" fmla="*/ 4396 h 10126"/>
                <a:gd name="connsiteX485" fmla="*/ 132 w 10000"/>
                <a:gd name="connsiteY485" fmla="*/ 4360 h 10126"/>
                <a:gd name="connsiteX486" fmla="*/ 201 w 10000"/>
                <a:gd name="connsiteY486" fmla="*/ 4331 h 10126"/>
                <a:gd name="connsiteX487" fmla="*/ 276 w 10000"/>
                <a:gd name="connsiteY487" fmla="*/ 4307 h 10126"/>
                <a:gd name="connsiteX488" fmla="*/ 420 w 10000"/>
                <a:gd name="connsiteY488" fmla="*/ 4277 h 10126"/>
                <a:gd name="connsiteX489" fmla="*/ 565 w 10000"/>
                <a:gd name="connsiteY489" fmla="*/ 4252 h 10126"/>
                <a:gd name="connsiteX490" fmla="*/ 640 w 10000"/>
                <a:gd name="connsiteY490" fmla="*/ 4240 h 10126"/>
                <a:gd name="connsiteX491" fmla="*/ 709 w 10000"/>
                <a:gd name="connsiteY491" fmla="*/ 4216 h 10126"/>
                <a:gd name="connsiteX492" fmla="*/ 772 w 10000"/>
                <a:gd name="connsiteY492" fmla="*/ 4198 h 10126"/>
                <a:gd name="connsiteX493" fmla="*/ 834 w 10000"/>
                <a:gd name="connsiteY493" fmla="*/ 4168 h 10126"/>
                <a:gd name="connsiteX494" fmla="*/ 891 w 10000"/>
                <a:gd name="connsiteY494" fmla="*/ 4138 h 10126"/>
                <a:gd name="connsiteX495" fmla="*/ 947 w 10000"/>
                <a:gd name="connsiteY495" fmla="*/ 4090 h 10126"/>
                <a:gd name="connsiteX496" fmla="*/ 997 w 10000"/>
                <a:gd name="connsiteY496" fmla="*/ 4035 h 10126"/>
                <a:gd name="connsiteX497" fmla="*/ 1035 w 10000"/>
                <a:gd name="connsiteY497" fmla="*/ 3968 h 10126"/>
                <a:gd name="connsiteX498" fmla="*/ 1010 w 10000"/>
                <a:gd name="connsiteY498" fmla="*/ 3956 h 10126"/>
                <a:gd name="connsiteX499" fmla="*/ 985 w 10000"/>
                <a:gd name="connsiteY499" fmla="*/ 3938 h 10126"/>
                <a:gd name="connsiteX500" fmla="*/ 947 w 10000"/>
                <a:gd name="connsiteY500" fmla="*/ 3914 h 10126"/>
                <a:gd name="connsiteX501" fmla="*/ 910 w 10000"/>
                <a:gd name="connsiteY501" fmla="*/ 3878 h 10126"/>
                <a:gd name="connsiteX502" fmla="*/ 822 w 10000"/>
                <a:gd name="connsiteY502" fmla="*/ 3806 h 10126"/>
                <a:gd name="connsiteX503" fmla="*/ 740 w 10000"/>
                <a:gd name="connsiteY503" fmla="*/ 3722 h 10126"/>
                <a:gd name="connsiteX504" fmla="*/ 665 w 10000"/>
                <a:gd name="connsiteY504" fmla="*/ 3631 h 10126"/>
                <a:gd name="connsiteX505" fmla="*/ 596 w 10000"/>
                <a:gd name="connsiteY505" fmla="*/ 3535 h 10126"/>
                <a:gd name="connsiteX506" fmla="*/ 577 w 10000"/>
                <a:gd name="connsiteY506" fmla="*/ 3493 h 10126"/>
                <a:gd name="connsiteX507" fmla="*/ 558 w 10000"/>
                <a:gd name="connsiteY507" fmla="*/ 3451 h 10126"/>
                <a:gd name="connsiteX508" fmla="*/ 540 w 10000"/>
                <a:gd name="connsiteY508" fmla="*/ 3408 h 10126"/>
                <a:gd name="connsiteX509" fmla="*/ 533 w 10000"/>
                <a:gd name="connsiteY509" fmla="*/ 3372 h 10126"/>
                <a:gd name="connsiteX510" fmla="*/ 508 w 10000"/>
                <a:gd name="connsiteY510" fmla="*/ 3366 h 10126"/>
                <a:gd name="connsiteX511" fmla="*/ 483 w 10000"/>
                <a:gd name="connsiteY511" fmla="*/ 3360 h 10126"/>
                <a:gd name="connsiteX512" fmla="*/ 458 w 10000"/>
                <a:gd name="connsiteY512" fmla="*/ 3348 h 10126"/>
                <a:gd name="connsiteX513" fmla="*/ 439 w 10000"/>
                <a:gd name="connsiteY513" fmla="*/ 3325 h 10126"/>
                <a:gd name="connsiteX514" fmla="*/ 402 w 10000"/>
                <a:gd name="connsiteY514" fmla="*/ 3282 h 10126"/>
                <a:gd name="connsiteX515" fmla="*/ 370 w 10000"/>
                <a:gd name="connsiteY515" fmla="*/ 3222 h 10126"/>
                <a:gd name="connsiteX516" fmla="*/ 370 w 10000"/>
                <a:gd name="connsiteY516" fmla="*/ 3077 h 10126"/>
                <a:gd name="connsiteX517" fmla="*/ 458 w 10000"/>
                <a:gd name="connsiteY517" fmla="*/ 3071 h 10126"/>
                <a:gd name="connsiteX518" fmla="*/ 540 w 10000"/>
                <a:gd name="connsiteY518" fmla="*/ 3065 h 10126"/>
                <a:gd name="connsiteX519" fmla="*/ 615 w 10000"/>
                <a:gd name="connsiteY519" fmla="*/ 3053 h 10126"/>
                <a:gd name="connsiteX520" fmla="*/ 684 w 10000"/>
                <a:gd name="connsiteY520" fmla="*/ 3029 h 10126"/>
                <a:gd name="connsiteX521" fmla="*/ 747 w 10000"/>
                <a:gd name="connsiteY521" fmla="*/ 3011 h 10126"/>
                <a:gd name="connsiteX522" fmla="*/ 809 w 10000"/>
                <a:gd name="connsiteY522" fmla="*/ 2980 h 10126"/>
                <a:gd name="connsiteX523" fmla="*/ 866 w 10000"/>
                <a:gd name="connsiteY523" fmla="*/ 2950 h 10126"/>
                <a:gd name="connsiteX524" fmla="*/ 922 w 10000"/>
                <a:gd name="connsiteY524" fmla="*/ 2914 h 10126"/>
                <a:gd name="connsiteX525" fmla="*/ 966 w 10000"/>
                <a:gd name="connsiteY525" fmla="*/ 2872 h 10126"/>
                <a:gd name="connsiteX526" fmla="*/ 1016 w 10000"/>
                <a:gd name="connsiteY526" fmla="*/ 2831 h 10126"/>
                <a:gd name="connsiteX527" fmla="*/ 1060 w 10000"/>
                <a:gd name="connsiteY527" fmla="*/ 2789 h 10126"/>
                <a:gd name="connsiteX528" fmla="*/ 1098 w 10000"/>
                <a:gd name="connsiteY528" fmla="*/ 2740 h 10126"/>
                <a:gd name="connsiteX529" fmla="*/ 1167 w 10000"/>
                <a:gd name="connsiteY529" fmla="*/ 2644 h 10126"/>
                <a:gd name="connsiteX530" fmla="*/ 1236 w 10000"/>
                <a:gd name="connsiteY530" fmla="*/ 2534 h 10126"/>
                <a:gd name="connsiteX531" fmla="*/ 1355 w 10000"/>
                <a:gd name="connsiteY531" fmla="*/ 2318 h 10126"/>
                <a:gd name="connsiteX532" fmla="*/ 1474 w 10000"/>
                <a:gd name="connsiteY532" fmla="*/ 2101 h 10126"/>
                <a:gd name="connsiteX533" fmla="*/ 1543 w 10000"/>
                <a:gd name="connsiteY533" fmla="*/ 2005 h 10126"/>
                <a:gd name="connsiteX534" fmla="*/ 1612 w 10000"/>
                <a:gd name="connsiteY534" fmla="*/ 1920 h 10126"/>
                <a:gd name="connsiteX535" fmla="*/ 1650 w 10000"/>
                <a:gd name="connsiteY535" fmla="*/ 1871 h 10126"/>
                <a:gd name="connsiteX536" fmla="*/ 1694 w 10000"/>
                <a:gd name="connsiteY536" fmla="*/ 1835 h 10126"/>
                <a:gd name="connsiteX537" fmla="*/ 1738 w 10000"/>
                <a:gd name="connsiteY537" fmla="*/ 1806 h 10126"/>
                <a:gd name="connsiteX538" fmla="*/ 1788 w 10000"/>
                <a:gd name="connsiteY538" fmla="*/ 1776 h 10126"/>
                <a:gd name="connsiteX539" fmla="*/ 1750 w 10000"/>
                <a:gd name="connsiteY539" fmla="*/ 1703 h 10126"/>
                <a:gd name="connsiteX540" fmla="*/ 1719 w 10000"/>
                <a:gd name="connsiteY540" fmla="*/ 1637 h 10126"/>
                <a:gd name="connsiteX541" fmla="*/ 1713 w 10000"/>
                <a:gd name="connsiteY541" fmla="*/ 1607 h 10126"/>
                <a:gd name="connsiteX542" fmla="*/ 1706 w 10000"/>
                <a:gd name="connsiteY542" fmla="*/ 1577 h 10126"/>
                <a:gd name="connsiteX543" fmla="*/ 1706 w 10000"/>
                <a:gd name="connsiteY543" fmla="*/ 1541 h 10126"/>
                <a:gd name="connsiteX544" fmla="*/ 1706 w 10000"/>
                <a:gd name="connsiteY544" fmla="*/ 1511 h 10126"/>
                <a:gd name="connsiteX545" fmla="*/ 1713 w 10000"/>
                <a:gd name="connsiteY545" fmla="*/ 1480 h 10126"/>
                <a:gd name="connsiteX546" fmla="*/ 1719 w 10000"/>
                <a:gd name="connsiteY546" fmla="*/ 1450 h 10126"/>
                <a:gd name="connsiteX547" fmla="*/ 1731 w 10000"/>
                <a:gd name="connsiteY547" fmla="*/ 1426 h 10126"/>
                <a:gd name="connsiteX548" fmla="*/ 1757 w 10000"/>
                <a:gd name="connsiteY548" fmla="*/ 1402 h 10126"/>
                <a:gd name="connsiteX549" fmla="*/ 1775 w 10000"/>
                <a:gd name="connsiteY549" fmla="*/ 1384 h 10126"/>
                <a:gd name="connsiteX550" fmla="*/ 1801 w 10000"/>
                <a:gd name="connsiteY550" fmla="*/ 1366 h 10126"/>
                <a:gd name="connsiteX551" fmla="*/ 1838 w 10000"/>
                <a:gd name="connsiteY551" fmla="*/ 1348 h 10126"/>
                <a:gd name="connsiteX552" fmla="*/ 1870 w 10000"/>
                <a:gd name="connsiteY552" fmla="*/ 1330 h 10126"/>
                <a:gd name="connsiteX553" fmla="*/ 1788 w 10000"/>
                <a:gd name="connsiteY553" fmla="*/ 1240 h 10126"/>
                <a:gd name="connsiteX554" fmla="*/ 1688 w 10000"/>
                <a:gd name="connsiteY554" fmla="*/ 1168 h 10126"/>
                <a:gd name="connsiteX555" fmla="*/ 1550 w 10000"/>
                <a:gd name="connsiteY555" fmla="*/ 1046 h 10126"/>
                <a:gd name="connsiteX556" fmla="*/ 1487 w 10000"/>
                <a:gd name="connsiteY556" fmla="*/ 986 h 10126"/>
                <a:gd name="connsiteX557" fmla="*/ 1383 w 10000"/>
                <a:gd name="connsiteY557" fmla="*/ 868 h 10126"/>
                <a:gd name="connsiteX558" fmla="*/ 1426 w 10000"/>
                <a:gd name="connsiteY558" fmla="*/ 764 h 10126"/>
                <a:gd name="connsiteX559" fmla="*/ 1603 w 10000"/>
                <a:gd name="connsiteY559" fmla="*/ 650 h 10126"/>
                <a:gd name="connsiteX560" fmla="*/ 1708 w 10000"/>
                <a:gd name="connsiteY560" fmla="*/ 605 h 10126"/>
                <a:gd name="connsiteX561" fmla="*/ 1673 w 10000"/>
                <a:gd name="connsiteY561" fmla="*/ 540 h 10126"/>
                <a:gd name="connsiteX562" fmla="*/ 1606 w 10000"/>
                <a:gd name="connsiteY562" fmla="*/ 463 h 10126"/>
                <a:gd name="connsiteX563" fmla="*/ 1539 w 10000"/>
                <a:gd name="connsiteY563" fmla="*/ 431 h 10126"/>
                <a:gd name="connsiteX564" fmla="*/ 1539 w 10000"/>
                <a:gd name="connsiteY564" fmla="*/ 366 h 10126"/>
                <a:gd name="connsiteX565" fmla="*/ 1473 w 10000"/>
                <a:gd name="connsiteY565" fmla="*/ 296 h 10126"/>
                <a:gd name="connsiteX566" fmla="*/ 1341 w 10000"/>
                <a:gd name="connsiteY566" fmla="*/ 236 h 10126"/>
                <a:gd name="connsiteX567" fmla="*/ 1490 w 10000"/>
                <a:gd name="connsiteY567" fmla="*/ 123 h 10126"/>
                <a:gd name="connsiteX568" fmla="*/ 1654 w 10000"/>
                <a:gd name="connsiteY568" fmla="*/ 0 h 10126"/>
                <a:gd name="connsiteX569" fmla="*/ 1895 w 10000"/>
                <a:gd name="connsiteY569" fmla="*/ 61 h 10126"/>
                <a:gd name="connsiteX570" fmla="*/ 2151 w 10000"/>
                <a:gd name="connsiteY570" fmla="*/ 94 h 10126"/>
                <a:gd name="connsiteX571" fmla="*/ 2280 w 10000"/>
                <a:gd name="connsiteY571" fmla="*/ 123 h 10126"/>
                <a:gd name="connsiteX572" fmla="*/ 2517 w 10000"/>
                <a:gd name="connsiteY572"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093 w 10000"/>
                <a:gd name="connsiteY4" fmla="*/ 619 h 10126"/>
                <a:gd name="connsiteX5" fmla="*/ 2992 w 10000"/>
                <a:gd name="connsiteY5" fmla="*/ 710 h 10126"/>
                <a:gd name="connsiteX6" fmla="*/ 3043 w 10000"/>
                <a:gd name="connsiteY6" fmla="*/ 734 h 10126"/>
                <a:gd name="connsiteX7" fmla="*/ 3087 w 10000"/>
                <a:gd name="connsiteY7" fmla="*/ 776 h 10126"/>
                <a:gd name="connsiteX8" fmla="*/ 3130 w 10000"/>
                <a:gd name="connsiteY8" fmla="*/ 823 h 10126"/>
                <a:gd name="connsiteX9" fmla="*/ 3174 w 10000"/>
                <a:gd name="connsiteY9" fmla="*/ 872 h 10126"/>
                <a:gd name="connsiteX10" fmla="*/ 3212 w 10000"/>
                <a:gd name="connsiteY10" fmla="*/ 932 h 10126"/>
                <a:gd name="connsiteX11" fmla="*/ 3256 w 10000"/>
                <a:gd name="connsiteY11" fmla="*/ 986 h 10126"/>
                <a:gd name="connsiteX12" fmla="*/ 3281 w 10000"/>
                <a:gd name="connsiteY12" fmla="*/ 1046 h 10126"/>
                <a:gd name="connsiteX13" fmla="*/ 3312 w 10000"/>
                <a:gd name="connsiteY13" fmla="*/ 1113 h 10126"/>
                <a:gd name="connsiteX14" fmla="*/ 3331 w 10000"/>
                <a:gd name="connsiteY14" fmla="*/ 1180 h 10126"/>
                <a:gd name="connsiteX15" fmla="*/ 3043 w 10000"/>
                <a:gd name="connsiteY15" fmla="*/ 1180 h 10126"/>
                <a:gd name="connsiteX16" fmla="*/ 3043 w 10000"/>
                <a:gd name="connsiteY16" fmla="*/ 1366 h 10126"/>
                <a:gd name="connsiteX17" fmla="*/ 3074 w 10000"/>
                <a:gd name="connsiteY17" fmla="*/ 1444 h 10126"/>
                <a:gd name="connsiteX18" fmla="*/ 3118 w 10000"/>
                <a:gd name="connsiteY18" fmla="*/ 1511 h 10126"/>
                <a:gd name="connsiteX19" fmla="*/ 3168 w 10000"/>
                <a:gd name="connsiteY19" fmla="*/ 1571 h 10126"/>
                <a:gd name="connsiteX20" fmla="*/ 3225 w 10000"/>
                <a:gd name="connsiteY20" fmla="*/ 1613 h 10126"/>
                <a:gd name="connsiteX21" fmla="*/ 3281 w 10000"/>
                <a:gd name="connsiteY21" fmla="*/ 1655 h 10126"/>
                <a:gd name="connsiteX22" fmla="*/ 3350 w 10000"/>
                <a:gd name="connsiteY22" fmla="*/ 1685 h 10126"/>
                <a:gd name="connsiteX23" fmla="*/ 3413 w 10000"/>
                <a:gd name="connsiteY23" fmla="*/ 1715 h 10126"/>
                <a:gd name="connsiteX24" fmla="*/ 3488 w 10000"/>
                <a:gd name="connsiteY24" fmla="*/ 1740 h 10126"/>
                <a:gd name="connsiteX25" fmla="*/ 3626 w 10000"/>
                <a:gd name="connsiteY25" fmla="*/ 1794 h 10126"/>
                <a:gd name="connsiteX26" fmla="*/ 3764 w 10000"/>
                <a:gd name="connsiteY26" fmla="*/ 1847 h 10126"/>
                <a:gd name="connsiteX27" fmla="*/ 3827 w 10000"/>
                <a:gd name="connsiteY27" fmla="*/ 1884 h 10126"/>
                <a:gd name="connsiteX28" fmla="*/ 3890 w 10000"/>
                <a:gd name="connsiteY28" fmla="*/ 1932 h 10126"/>
                <a:gd name="connsiteX29" fmla="*/ 3946 w 10000"/>
                <a:gd name="connsiteY29" fmla="*/ 1981 h 10126"/>
                <a:gd name="connsiteX30" fmla="*/ 4003 w 10000"/>
                <a:gd name="connsiteY30" fmla="*/ 2035 h 10126"/>
                <a:gd name="connsiteX31" fmla="*/ 3959 w 10000"/>
                <a:gd name="connsiteY31" fmla="*/ 2596 h 10126"/>
                <a:gd name="connsiteX32" fmla="*/ 4034 w 10000"/>
                <a:gd name="connsiteY32" fmla="*/ 2650 h 10126"/>
                <a:gd name="connsiteX33" fmla="*/ 4141 w 10000"/>
                <a:gd name="connsiteY33" fmla="*/ 2716 h 10126"/>
                <a:gd name="connsiteX34" fmla="*/ 4260 w 10000"/>
                <a:gd name="connsiteY34" fmla="*/ 2776 h 10126"/>
                <a:gd name="connsiteX35" fmla="*/ 4398 w 10000"/>
                <a:gd name="connsiteY35" fmla="*/ 2831 h 10126"/>
                <a:gd name="connsiteX36" fmla="*/ 4536 w 10000"/>
                <a:gd name="connsiteY36" fmla="*/ 2884 h 10126"/>
                <a:gd name="connsiteX37" fmla="*/ 4668 w 10000"/>
                <a:gd name="connsiteY37" fmla="*/ 2926 h 10126"/>
                <a:gd name="connsiteX38" fmla="*/ 4724 w 10000"/>
                <a:gd name="connsiteY38" fmla="*/ 2944 h 10126"/>
                <a:gd name="connsiteX39" fmla="*/ 4780 w 10000"/>
                <a:gd name="connsiteY39" fmla="*/ 2956 h 10126"/>
                <a:gd name="connsiteX40" fmla="*/ 4831 w 10000"/>
                <a:gd name="connsiteY40" fmla="*/ 2962 h 10126"/>
                <a:gd name="connsiteX41" fmla="*/ 4875 w 10000"/>
                <a:gd name="connsiteY41" fmla="*/ 2962 h 10126"/>
                <a:gd name="connsiteX42" fmla="*/ 4887 w 10000"/>
                <a:gd name="connsiteY42" fmla="*/ 3005 h 10126"/>
                <a:gd name="connsiteX43" fmla="*/ 4918 w 10000"/>
                <a:gd name="connsiteY43" fmla="*/ 3041 h 10126"/>
                <a:gd name="connsiteX44" fmla="*/ 4950 w 10000"/>
                <a:gd name="connsiteY44" fmla="*/ 3059 h 10126"/>
                <a:gd name="connsiteX45" fmla="*/ 4987 w 10000"/>
                <a:gd name="connsiteY45" fmla="*/ 3071 h 10126"/>
                <a:gd name="connsiteX46" fmla="*/ 5019 w 10000"/>
                <a:gd name="connsiteY46" fmla="*/ 3083 h 10126"/>
                <a:gd name="connsiteX47" fmla="*/ 5063 w 10000"/>
                <a:gd name="connsiteY47" fmla="*/ 3083 h 10126"/>
                <a:gd name="connsiteX48" fmla="*/ 5107 w 10000"/>
                <a:gd name="connsiteY48" fmla="*/ 3077 h 10126"/>
                <a:gd name="connsiteX49" fmla="*/ 5157 w 10000"/>
                <a:gd name="connsiteY49" fmla="*/ 3071 h 10126"/>
                <a:gd name="connsiteX50" fmla="*/ 5245 w 10000"/>
                <a:gd name="connsiteY50" fmla="*/ 3053 h 10126"/>
                <a:gd name="connsiteX51" fmla="*/ 5345 w 10000"/>
                <a:gd name="connsiteY51" fmla="*/ 3029 h 10126"/>
                <a:gd name="connsiteX52" fmla="*/ 5383 w 10000"/>
                <a:gd name="connsiteY52" fmla="*/ 3029 h 10126"/>
                <a:gd name="connsiteX53" fmla="*/ 5427 w 10000"/>
                <a:gd name="connsiteY53" fmla="*/ 3023 h 10126"/>
                <a:gd name="connsiteX54" fmla="*/ 5464 w 10000"/>
                <a:gd name="connsiteY54" fmla="*/ 3029 h 10126"/>
                <a:gd name="connsiteX55" fmla="*/ 5502 w 10000"/>
                <a:gd name="connsiteY55" fmla="*/ 3035 h 10126"/>
                <a:gd name="connsiteX56" fmla="*/ 5558 w 10000"/>
                <a:gd name="connsiteY56" fmla="*/ 3071 h 10126"/>
                <a:gd name="connsiteX57" fmla="*/ 5596 w 10000"/>
                <a:gd name="connsiteY57" fmla="*/ 3101 h 10126"/>
                <a:gd name="connsiteX58" fmla="*/ 5634 w 10000"/>
                <a:gd name="connsiteY58" fmla="*/ 3143 h 10126"/>
                <a:gd name="connsiteX59" fmla="*/ 5665 w 10000"/>
                <a:gd name="connsiteY59" fmla="*/ 3179 h 10126"/>
                <a:gd name="connsiteX60" fmla="*/ 5696 w 10000"/>
                <a:gd name="connsiteY60" fmla="*/ 3216 h 10126"/>
                <a:gd name="connsiteX61" fmla="*/ 5734 w 10000"/>
                <a:gd name="connsiteY61" fmla="*/ 3252 h 10126"/>
                <a:gd name="connsiteX62" fmla="*/ 5759 w 10000"/>
                <a:gd name="connsiteY62" fmla="*/ 3270 h 10126"/>
                <a:gd name="connsiteX63" fmla="*/ 5778 w 10000"/>
                <a:gd name="connsiteY63" fmla="*/ 3282 h 10126"/>
                <a:gd name="connsiteX64" fmla="*/ 5803 w 10000"/>
                <a:gd name="connsiteY64" fmla="*/ 3294 h 10126"/>
                <a:gd name="connsiteX65" fmla="*/ 5834 w 10000"/>
                <a:gd name="connsiteY65" fmla="*/ 3300 h 10126"/>
                <a:gd name="connsiteX66" fmla="*/ 5935 w 10000"/>
                <a:gd name="connsiteY66" fmla="*/ 3319 h 10126"/>
                <a:gd name="connsiteX67" fmla="*/ 6073 w 10000"/>
                <a:gd name="connsiteY67" fmla="*/ 3354 h 10126"/>
                <a:gd name="connsiteX68" fmla="*/ 6230 w 10000"/>
                <a:gd name="connsiteY68" fmla="*/ 3390 h 10126"/>
                <a:gd name="connsiteX69" fmla="*/ 6405 w 10000"/>
                <a:gd name="connsiteY69" fmla="*/ 3433 h 10126"/>
                <a:gd name="connsiteX70" fmla="*/ 6568 w 10000"/>
                <a:gd name="connsiteY70" fmla="*/ 3463 h 10126"/>
                <a:gd name="connsiteX71" fmla="*/ 6719 w 10000"/>
                <a:gd name="connsiteY71" fmla="*/ 3487 h 10126"/>
                <a:gd name="connsiteX72" fmla="*/ 6788 w 10000"/>
                <a:gd name="connsiteY72" fmla="*/ 3493 h 10126"/>
                <a:gd name="connsiteX73" fmla="*/ 6838 w 10000"/>
                <a:gd name="connsiteY73" fmla="*/ 3499 h 10126"/>
                <a:gd name="connsiteX74" fmla="*/ 6888 w 10000"/>
                <a:gd name="connsiteY74" fmla="*/ 3493 h 10126"/>
                <a:gd name="connsiteX75" fmla="*/ 6913 w 10000"/>
                <a:gd name="connsiteY75" fmla="*/ 3481 h 10126"/>
                <a:gd name="connsiteX76" fmla="*/ 6888 w 10000"/>
                <a:gd name="connsiteY76" fmla="*/ 3439 h 10126"/>
                <a:gd name="connsiteX77" fmla="*/ 6857 w 10000"/>
                <a:gd name="connsiteY77" fmla="*/ 3390 h 10126"/>
                <a:gd name="connsiteX78" fmla="*/ 6838 w 10000"/>
                <a:gd name="connsiteY78" fmla="*/ 3342 h 10126"/>
                <a:gd name="connsiteX79" fmla="*/ 6826 w 10000"/>
                <a:gd name="connsiteY79" fmla="*/ 3288 h 10126"/>
                <a:gd name="connsiteX80" fmla="*/ 6794 w 10000"/>
                <a:gd name="connsiteY80" fmla="*/ 3197 h 10126"/>
                <a:gd name="connsiteX81" fmla="*/ 6788 w 10000"/>
                <a:gd name="connsiteY81" fmla="*/ 3149 h 10126"/>
                <a:gd name="connsiteX82" fmla="*/ 6788 w 10000"/>
                <a:gd name="connsiteY82" fmla="*/ 2962 h 10126"/>
                <a:gd name="connsiteX83" fmla="*/ 6788 w 10000"/>
                <a:gd name="connsiteY83" fmla="*/ 2776 h 10126"/>
                <a:gd name="connsiteX84" fmla="*/ 6995 w 10000"/>
                <a:gd name="connsiteY84" fmla="*/ 2776 h 10126"/>
                <a:gd name="connsiteX85" fmla="*/ 7033 w 10000"/>
                <a:gd name="connsiteY85" fmla="*/ 2842 h 10126"/>
                <a:gd name="connsiteX86" fmla="*/ 7058 w 10000"/>
                <a:gd name="connsiteY86" fmla="*/ 2884 h 10126"/>
                <a:gd name="connsiteX87" fmla="*/ 7095 w 10000"/>
                <a:gd name="connsiteY87" fmla="*/ 2920 h 10126"/>
                <a:gd name="connsiteX88" fmla="*/ 7127 w 10000"/>
                <a:gd name="connsiteY88" fmla="*/ 2962 h 10126"/>
                <a:gd name="connsiteX89" fmla="*/ 7120 w 10000"/>
                <a:gd name="connsiteY89" fmla="*/ 3059 h 10126"/>
                <a:gd name="connsiteX90" fmla="*/ 7102 w 10000"/>
                <a:gd name="connsiteY90" fmla="*/ 3119 h 10126"/>
                <a:gd name="connsiteX91" fmla="*/ 7089 w 10000"/>
                <a:gd name="connsiteY91" fmla="*/ 3167 h 10126"/>
                <a:gd name="connsiteX92" fmla="*/ 7077 w 10000"/>
                <a:gd name="connsiteY92" fmla="*/ 3222 h 10126"/>
                <a:gd name="connsiteX93" fmla="*/ 7208 w 10000"/>
                <a:gd name="connsiteY93" fmla="*/ 3258 h 10126"/>
                <a:gd name="connsiteX94" fmla="*/ 7334 w 10000"/>
                <a:gd name="connsiteY94" fmla="*/ 3294 h 10126"/>
                <a:gd name="connsiteX95" fmla="*/ 7396 w 10000"/>
                <a:gd name="connsiteY95" fmla="*/ 3313 h 10126"/>
                <a:gd name="connsiteX96" fmla="*/ 7459 w 10000"/>
                <a:gd name="connsiteY96" fmla="*/ 3325 h 10126"/>
                <a:gd name="connsiteX97" fmla="*/ 7522 w 10000"/>
                <a:gd name="connsiteY97" fmla="*/ 3331 h 10126"/>
                <a:gd name="connsiteX98" fmla="*/ 7585 w 10000"/>
                <a:gd name="connsiteY98" fmla="*/ 3336 h 10126"/>
                <a:gd name="connsiteX99" fmla="*/ 7591 w 10000"/>
                <a:gd name="connsiteY99" fmla="*/ 3360 h 10126"/>
                <a:gd name="connsiteX100" fmla="*/ 7604 w 10000"/>
                <a:gd name="connsiteY100" fmla="*/ 3384 h 10126"/>
                <a:gd name="connsiteX101" fmla="*/ 7622 w 10000"/>
                <a:gd name="connsiteY101" fmla="*/ 3402 h 10126"/>
                <a:gd name="connsiteX102" fmla="*/ 7654 w 10000"/>
                <a:gd name="connsiteY102" fmla="*/ 3420 h 10126"/>
                <a:gd name="connsiteX103" fmla="*/ 7704 w 10000"/>
                <a:gd name="connsiteY103" fmla="*/ 3439 h 10126"/>
                <a:gd name="connsiteX104" fmla="*/ 7748 w 10000"/>
                <a:gd name="connsiteY104" fmla="*/ 3445 h 10126"/>
                <a:gd name="connsiteX105" fmla="*/ 7798 w 10000"/>
                <a:gd name="connsiteY105" fmla="*/ 3445 h 10126"/>
                <a:gd name="connsiteX106" fmla="*/ 7836 w 10000"/>
                <a:gd name="connsiteY106" fmla="*/ 3433 h 10126"/>
                <a:gd name="connsiteX107" fmla="*/ 7880 w 10000"/>
                <a:gd name="connsiteY107" fmla="*/ 3414 h 10126"/>
                <a:gd name="connsiteX108" fmla="*/ 7911 w 10000"/>
                <a:gd name="connsiteY108" fmla="*/ 3396 h 10126"/>
                <a:gd name="connsiteX109" fmla="*/ 7949 w 10000"/>
                <a:gd name="connsiteY109" fmla="*/ 3372 h 10126"/>
                <a:gd name="connsiteX110" fmla="*/ 7980 w 10000"/>
                <a:gd name="connsiteY110" fmla="*/ 3342 h 10126"/>
                <a:gd name="connsiteX111" fmla="*/ 8011 w 10000"/>
                <a:gd name="connsiteY111" fmla="*/ 3313 h 10126"/>
                <a:gd name="connsiteX112" fmla="*/ 8036 w 10000"/>
                <a:gd name="connsiteY112" fmla="*/ 3282 h 10126"/>
                <a:gd name="connsiteX113" fmla="*/ 8087 w 10000"/>
                <a:gd name="connsiteY113" fmla="*/ 3203 h 10126"/>
                <a:gd name="connsiteX114" fmla="*/ 8118 w 10000"/>
                <a:gd name="connsiteY114" fmla="*/ 3131 h 10126"/>
                <a:gd name="connsiteX115" fmla="*/ 8149 w 10000"/>
                <a:gd name="connsiteY115" fmla="*/ 3065 h 10126"/>
                <a:gd name="connsiteX116" fmla="*/ 8168 w 10000"/>
                <a:gd name="connsiteY116" fmla="*/ 2999 h 10126"/>
                <a:gd name="connsiteX117" fmla="*/ 8231 w 10000"/>
                <a:gd name="connsiteY117" fmla="*/ 2932 h 10126"/>
                <a:gd name="connsiteX118" fmla="*/ 8294 w 10000"/>
                <a:gd name="connsiteY118" fmla="*/ 2866 h 10126"/>
                <a:gd name="connsiteX119" fmla="*/ 8363 w 10000"/>
                <a:gd name="connsiteY119" fmla="*/ 2813 h 10126"/>
                <a:gd name="connsiteX120" fmla="*/ 8432 w 10000"/>
                <a:gd name="connsiteY120" fmla="*/ 2752 h 10126"/>
                <a:gd name="connsiteX121" fmla="*/ 8507 w 10000"/>
                <a:gd name="connsiteY121" fmla="*/ 2704 h 10126"/>
                <a:gd name="connsiteX122" fmla="*/ 8576 w 10000"/>
                <a:gd name="connsiteY122" fmla="*/ 2656 h 10126"/>
                <a:gd name="connsiteX123" fmla="*/ 8651 w 10000"/>
                <a:gd name="connsiteY123" fmla="*/ 2614 h 10126"/>
                <a:gd name="connsiteX124" fmla="*/ 8726 w 10000"/>
                <a:gd name="connsiteY124" fmla="*/ 2570 h 10126"/>
                <a:gd name="connsiteX125" fmla="*/ 8808 w 10000"/>
                <a:gd name="connsiteY125" fmla="*/ 2528 h 10126"/>
                <a:gd name="connsiteX126" fmla="*/ 8890 w 10000"/>
                <a:gd name="connsiteY126" fmla="*/ 2492 h 10126"/>
                <a:gd name="connsiteX127" fmla="*/ 8971 w 10000"/>
                <a:gd name="connsiteY127" fmla="*/ 2462 h 10126"/>
                <a:gd name="connsiteX128" fmla="*/ 9059 w 10000"/>
                <a:gd name="connsiteY128" fmla="*/ 2432 h 10126"/>
                <a:gd name="connsiteX129" fmla="*/ 9235 w 10000"/>
                <a:gd name="connsiteY129" fmla="*/ 2378 h 10126"/>
                <a:gd name="connsiteX130" fmla="*/ 9417 w 10000"/>
                <a:gd name="connsiteY130" fmla="*/ 2335 h 10126"/>
                <a:gd name="connsiteX131" fmla="*/ 9454 w 10000"/>
                <a:gd name="connsiteY131" fmla="*/ 2384 h 10126"/>
                <a:gd name="connsiteX132" fmla="*/ 9504 w 10000"/>
                <a:gd name="connsiteY132" fmla="*/ 2444 h 10126"/>
                <a:gd name="connsiteX133" fmla="*/ 9573 w 10000"/>
                <a:gd name="connsiteY133" fmla="*/ 2510 h 10126"/>
                <a:gd name="connsiteX134" fmla="*/ 9642 w 10000"/>
                <a:gd name="connsiteY134" fmla="*/ 2583 h 10126"/>
                <a:gd name="connsiteX135" fmla="*/ 9718 w 10000"/>
                <a:gd name="connsiteY135" fmla="*/ 2644 h 10126"/>
                <a:gd name="connsiteX136" fmla="*/ 9799 w 10000"/>
                <a:gd name="connsiteY136" fmla="*/ 2692 h 10126"/>
                <a:gd name="connsiteX137" fmla="*/ 9837 w 10000"/>
                <a:gd name="connsiteY137" fmla="*/ 2716 h 10126"/>
                <a:gd name="connsiteX138" fmla="*/ 9875 w 10000"/>
                <a:gd name="connsiteY138" fmla="*/ 2728 h 10126"/>
                <a:gd name="connsiteX139" fmla="*/ 9918 w 10000"/>
                <a:gd name="connsiteY139" fmla="*/ 2740 h 10126"/>
                <a:gd name="connsiteX140" fmla="*/ 9956 w 10000"/>
                <a:gd name="connsiteY140" fmla="*/ 2740 h 10126"/>
                <a:gd name="connsiteX141" fmla="*/ 10000 w 10000"/>
                <a:gd name="connsiteY141" fmla="*/ 2668 h 10126"/>
                <a:gd name="connsiteX142" fmla="*/ 9975 w 10000"/>
                <a:gd name="connsiteY142" fmla="*/ 2795 h 10126"/>
                <a:gd name="connsiteX143" fmla="*/ 9944 w 10000"/>
                <a:gd name="connsiteY143" fmla="*/ 2938 h 10126"/>
                <a:gd name="connsiteX144" fmla="*/ 9931 w 10000"/>
                <a:gd name="connsiteY144" fmla="*/ 3005 h 10126"/>
                <a:gd name="connsiteX145" fmla="*/ 9906 w 10000"/>
                <a:gd name="connsiteY145" fmla="*/ 3065 h 10126"/>
                <a:gd name="connsiteX146" fmla="*/ 9887 w 10000"/>
                <a:gd name="connsiteY146" fmla="*/ 3089 h 10126"/>
                <a:gd name="connsiteX147" fmla="*/ 9875 w 10000"/>
                <a:gd name="connsiteY147" fmla="*/ 3113 h 10126"/>
                <a:gd name="connsiteX148" fmla="*/ 9856 w 10000"/>
                <a:gd name="connsiteY148" fmla="*/ 3131 h 10126"/>
                <a:gd name="connsiteX149" fmla="*/ 9837 w 10000"/>
                <a:gd name="connsiteY149" fmla="*/ 3149 h 10126"/>
                <a:gd name="connsiteX150" fmla="*/ 9749 w 10000"/>
                <a:gd name="connsiteY150" fmla="*/ 3167 h 10126"/>
                <a:gd name="connsiteX151" fmla="*/ 9605 w 10000"/>
                <a:gd name="connsiteY151" fmla="*/ 3216 h 10126"/>
                <a:gd name="connsiteX152" fmla="*/ 9536 w 10000"/>
                <a:gd name="connsiteY152" fmla="*/ 3258 h 10126"/>
                <a:gd name="connsiteX153" fmla="*/ 9479 w 10000"/>
                <a:gd name="connsiteY153" fmla="*/ 3294 h 10126"/>
                <a:gd name="connsiteX154" fmla="*/ 9448 w 10000"/>
                <a:gd name="connsiteY154" fmla="*/ 3313 h 10126"/>
                <a:gd name="connsiteX155" fmla="*/ 9435 w 10000"/>
                <a:gd name="connsiteY155" fmla="*/ 3331 h 10126"/>
                <a:gd name="connsiteX156" fmla="*/ 9423 w 10000"/>
                <a:gd name="connsiteY156" fmla="*/ 3354 h 10126"/>
                <a:gd name="connsiteX157" fmla="*/ 9417 w 10000"/>
                <a:gd name="connsiteY157" fmla="*/ 3372 h 10126"/>
                <a:gd name="connsiteX158" fmla="*/ 9423 w 10000"/>
                <a:gd name="connsiteY158" fmla="*/ 3583 h 10126"/>
                <a:gd name="connsiteX159" fmla="*/ 9417 w 10000"/>
                <a:gd name="connsiteY159" fmla="*/ 3824 h 10126"/>
                <a:gd name="connsiteX160" fmla="*/ 9398 w 10000"/>
                <a:gd name="connsiteY160" fmla="*/ 3884 h 10126"/>
                <a:gd name="connsiteX161" fmla="*/ 9391 w 10000"/>
                <a:gd name="connsiteY161" fmla="*/ 3950 h 10126"/>
                <a:gd name="connsiteX162" fmla="*/ 9379 w 10000"/>
                <a:gd name="connsiteY162" fmla="*/ 4004 h 10126"/>
                <a:gd name="connsiteX163" fmla="*/ 9366 w 10000"/>
                <a:gd name="connsiteY163" fmla="*/ 4059 h 10126"/>
                <a:gd name="connsiteX164" fmla="*/ 9348 w 10000"/>
                <a:gd name="connsiteY164" fmla="*/ 4108 h 10126"/>
                <a:gd name="connsiteX165" fmla="*/ 9316 w 10000"/>
                <a:gd name="connsiteY165" fmla="*/ 4156 h 10126"/>
                <a:gd name="connsiteX166" fmla="*/ 9285 w 10000"/>
                <a:gd name="connsiteY166" fmla="*/ 4192 h 10126"/>
                <a:gd name="connsiteX167" fmla="*/ 9247 w 10000"/>
                <a:gd name="connsiteY167" fmla="*/ 4222 h 10126"/>
                <a:gd name="connsiteX168" fmla="*/ 9228 w 10000"/>
                <a:gd name="connsiteY168" fmla="*/ 4240 h 10126"/>
                <a:gd name="connsiteX169" fmla="*/ 9184 w 10000"/>
                <a:gd name="connsiteY169" fmla="*/ 4246 h 10126"/>
                <a:gd name="connsiteX170" fmla="*/ 9141 w 10000"/>
                <a:gd name="connsiteY170" fmla="*/ 4252 h 10126"/>
                <a:gd name="connsiteX171" fmla="*/ 9090 w 10000"/>
                <a:gd name="connsiteY171" fmla="*/ 4258 h 10126"/>
                <a:gd name="connsiteX172" fmla="*/ 9040 w 10000"/>
                <a:gd name="connsiteY172" fmla="*/ 4264 h 10126"/>
                <a:gd name="connsiteX173" fmla="*/ 8996 w 10000"/>
                <a:gd name="connsiteY173" fmla="*/ 4283 h 10126"/>
                <a:gd name="connsiteX174" fmla="*/ 8977 w 10000"/>
                <a:gd name="connsiteY174" fmla="*/ 4289 h 10126"/>
                <a:gd name="connsiteX175" fmla="*/ 8965 w 10000"/>
                <a:gd name="connsiteY175" fmla="*/ 4307 h 10126"/>
                <a:gd name="connsiteX176" fmla="*/ 8959 w 10000"/>
                <a:gd name="connsiteY176" fmla="*/ 4319 h 10126"/>
                <a:gd name="connsiteX177" fmla="*/ 8959 w 10000"/>
                <a:gd name="connsiteY177" fmla="*/ 4337 h 10126"/>
                <a:gd name="connsiteX178" fmla="*/ 8952 w 10000"/>
                <a:gd name="connsiteY178" fmla="*/ 4408 h 10126"/>
                <a:gd name="connsiteX179" fmla="*/ 8952 w 10000"/>
                <a:gd name="connsiteY179" fmla="*/ 4493 h 10126"/>
                <a:gd name="connsiteX180" fmla="*/ 8940 w 10000"/>
                <a:gd name="connsiteY180" fmla="*/ 4583 h 10126"/>
                <a:gd name="connsiteX181" fmla="*/ 8927 w 10000"/>
                <a:gd name="connsiteY181" fmla="*/ 4667 h 10126"/>
                <a:gd name="connsiteX182" fmla="*/ 8908 w 10000"/>
                <a:gd name="connsiteY182" fmla="*/ 4753 h 10126"/>
                <a:gd name="connsiteX183" fmla="*/ 8890 w 10000"/>
                <a:gd name="connsiteY183" fmla="*/ 4831 h 10126"/>
                <a:gd name="connsiteX184" fmla="*/ 8864 w 10000"/>
                <a:gd name="connsiteY184" fmla="*/ 4902 h 10126"/>
                <a:gd name="connsiteX185" fmla="*/ 8833 w 10000"/>
                <a:gd name="connsiteY185" fmla="*/ 4969 h 10126"/>
                <a:gd name="connsiteX186" fmla="*/ 8538 w 10000"/>
                <a:gd name="connsiteY186" fmla="*/ 4480 h 10126"/>
                <a:gd name="connsiteX187" fmla="*/ 8526 w 10000"/>
                <a:gd name="connsiteY187" fmla="*/ 4505 h 10126"/>
                <a:gd name="connsiteX188" fmla="*/ 8494 w 10000"/>
                <a:gd name="connsiteY188" fmla="*/ 4559 h 10126"/>
                <a:gd name="connsiteX189" fmla="*/ 8463 w 10000"/>
                <a:gd name="connsiteY189" fmla="*/ 4589 h 10126"/>
                <a:gd name="connsiteX190" fmla="*/ 8438 w 10000"/>
                <a:gd name="connsiteY190" fmla="*/ 4613 h 10126"/>
                <a:gd name="connsiteX191" fmla="*/ 8407 w 10000"/>
                <a:gd name="connsiteY191" fmla="*/ 4631 h 10126"/>
                <a:gd name="connsiteX192" fmla="*/ 8375 w 10000"/>
                <a:gd name="connsiteY192" fmla="*/ 4637 h 10126"/>
                <a:gd name="connsiteX193" fmla="*/ 8338 w 10000"/>
                <a:gd name="connsiteY193" fmla="*/ 4631 h 10126"/>
                <a:gd name="connsiteX194" fmla="*/ 8312 w 10000"/>
                <a:gd name="connsiteY194" fmla="*/ 4625 h 10126"/>
                <a:gd name="connsiteX195" fmla="*/ 8287 w 10000"/>
                <a:gd name="connsiteY195" fmla="*/ 4607 h 10126"/>
                <a:gd name="connsiteX196" fmla="*/ 8256 w 10000"/>
                <a:gd name="connsiteY196" fmla="*/ 4589 h 10126"/>
                <a:gd name="connsiteX197" fmla="*/ 8237 w 10000"/>
                <a:gd name="connsiteY197" fmla="*/ 4559 h 10126"/>
                <a:gd name="connsiteX198" fmla="*/ 8225 w 10000"/>
                <a:gd name="connsiteY198" fmla="*/ 4535 h 10126"/>
                <a:gd name="connsiteX199" fmla="*/ 8206 w 10000"/>
                <a:gd name="connsiteY199" fmla="*/ 4511 h 10126"/>
                <a:gd name="connsiteX200" fmla="*/ 8206 w 10000"/>
                <a:gd name="connsiteY200" fmla="*/ 4480 h 10126"/>
                <a:gd name="connsiteX201" fmla="*/ 8206 w 10000"/>
                <a:gd name="connsiteY201" fmla="*/ 4444 h 10126"/>
                <a:gd name="connsiteX202" fmla="*/ 8225 w 10000"/>
                <a:gd name="connsiteY202" fmla="*/ 4408 h 10126"/>
                <a:gd name="connsiteX203" fmla="*/ 8237 w 10000"/>
                <a:gd name="connsiteY203" fmla="*/ 4372 h 10126"/>
                <a:gd name="connsiteX204" fmla="*/ 8250 w 10000"/>
                <a:gd name="connsiteY204" fmla="*/ 4337 h 10126"/>
                <a:gd name="connsiteX205" fmla="*/ 8300 w 10000"/>
                <a:gd name="connsiteY205" fmla="*/ 4270 h 10126"/>
                <a:gd name="connsiteX206" fmla="*/ 8356 w 10000"/>
                <a:gd name="connsiteY206" fmla="*/ 4204 h 10126"/>
                <a:gd name="connsiteX207" fmla="*/ 8407 w 10000"/>
                <a:gd name="connsiteY207" fmla="*/ 4144 h 10126"/>
                <a:gd name="connsiteX208" fmla="*/ 8457 w 10000"/>
                <a:gd name="connsiteY208" fmla="*/ 4078 h 10126"/>
                <a:gd name="connsiteX209" fmla="*/ 8469 w 10000"/>
                <a:gd name="connsiteY209" fmla="*/ 4041 h 10126"/>
                <a:gd name="connsiteX210" fmla="*/ 8482 w 10000"/>
                <a:gd name="connsiteY210" fmla="*/ 4010 h 10126"/>
                <a:gd name="connsiteX211" fmla="*/ 8501 w 10000"/>
                <a:gd name="connsiteY211" fmla="*/ 3968 h 10126"/>
                <a:gd name="connsiteX212" fmla="*/ 8501 w 10000"/>
                <a:gd name="connsiteY212" fmla="*/ 3932 h 10126"/>
                <a:gd name="connsiteX213" fmla="*/ 7748 w 10000"/>
                <a:gd name="connsiteY213" fmla="*/ 3932 h 10126"/>
                <a:gd name="connsiteX214" fmla="*/ 7723 w 10000"/>
                <a:gd name="connsiteY214" fmla="*/ 3926 h 10126"/>
                <a:gd name="connsiteX215" fmla="*/ 7685 w 10000"/>
                <a:gd name="connsiteY215" fmla="*/ 3908 h 10126"/>
                <a:gd name="connsiteX216" fmla="*/ 7660 w 10000"/>
                <a:gd name="connsiteY216" fmla="*/ 3872 h 10126"/>
                <a:gd name="connsiteX217" fmla="*/ 7635 w 10000"/>
                <a:gd name="connsiteY217" fmla="*/ 3836 h 10126"/>
                <a:gd name="connsiteX218" fmla="*/ 7616 w 10000"/>
                <a:gd name="connsiteY218" fmla="*/ 3788 h 10126"/>
                <a:gd name="connsiteX219" fmla="*/ 7597 w 10000"/>
                <a:gd name="connsiteY219" fmla="*/ 3740 h 10126"/>
                <a:gd name="connsiteX220" fmla="*/ 7591 w 10000"/>
                <a:gd name="connsiteY220" fmla="*/ 3686 h 10126"/>
                <a:gd name="connsiteX221" fmla="*/ 7585 w 10000"/>
                <a:gd name="connsiteY221" fmla="*/ 3631 h 10126"/>
                <a:gd name="connsiteX222" fmla="*/ 7547 w 10000"/>
                <a:gd name="connsiteY222" fmla="*/ 3631 h 10126"/>
                <a:gd name="connsiteX223" fmla="*/ 7516 w 10000"/>
                <a:gd name="connsiteY223" fmla="*/ 3625 h 10126"/>
                <a:gd name="connsiteX224" fmla="*/ 7478 w 10000"/>
                <a:gd name="connsiteY224" fmla="*/ 3619 h 10126"/>
                <a:gd name="connsiteX225" fmla="*/ 7447 w 10000"/>
                <a:gd name="connsiteY225" fmla="*/ 3607 h 10126"/>
                <a:gd name="connsiteX226" fmla="*/ 7415 w 10000"/>
                <a:gd name="connsiteY226" fmla="*/ 3589 h 10126"/>
                <a:gd name="connsiteX227" fmla="*/ 7396 w 10000"/>
                <a:gd name="connsiteY227" fmla="*/ 3571 h 10126"/>
                <a:gd name="connsiteX228" fmla="*/ 7384 w 10000"/>
                <a:gd name="connsiteY228" fmla="*/ 3541 h 10126"/>
                <a:gd name="connsiteX229" fmla="*/ 7378 w 10000"/>
                <a:gd name="connsiteY229" fmla="*/ 3517 h 10126"/>
                <a:gd name="connsiteX230" fmla="*/ 7321 w 10000"/>
                <a:gd name="connsiteY230" fmla="*/ 3517 h 10126"/>
                <a:gd name="connsiteX231" fmla="*/ 7271 w 10000"/>
                <a:gd name="connsiteY231" fmla="*/ 3517 h 10126"/>
                <a:gd name="connsiteX232" fmla="*/ 7221 w 10000"/>
                <a:gd name="connsiteY232" fmla="*/ 3517 h 10126"/>
                <a:gd name="connsiteX233" fmla="*/ 7171 w 10000"/>
                <a:gd name="connsiteY233" fmla="*/ 3517 h 10126"/>
                <a:gd name="connsiteX234" fmla="*/ 7127 w 10000"/>
                <a:gd name="connsiteY234" fmla="*/ 3523 h 10126"/>
                <a:gd name="connsiteX235" fmla="*/ 7095 w 10000"/>
                <a:gd name="connsiteY235" fmla="*/ 3529 h 10126"/>
                <a:gd name="connsiteX236" fmla="*/ 7051 w 10000"/>
                <a:gd name="connsiteY236" fmla="*/ 3547 h 10126"/>
                <a:gd name="connsiteX237" fmla="*/ 7008 w 10000"/>
                <a:gd name="connsiteY237" fmla="*/ 3571 h 10126"/>
                <a:gd name="connsiteX238" fmla="*/ 6976 w 10000"/>
                <a:gd name="connsiteY238" fmla="*/ 3601 h 10126"/>
                <a:gd name="connsiteX239" fmla="*/ 6939 w 10000"/>
                <a:gd name="connsiteY239" fmla="*/ 3631 h 10126"/>
                <a:gd name="connsiteX240" fmla="*/ 6920 w 10000"/>
                <a:gd name="connsiteY240" fmla="*/ 3668 h 10126"/>
                <a:gd name="connsiteX241" fmla="*/ 6913 w 10000"/>
                <a:gd name="connsiteY241" fmla="*/ 3704 h 10126"/>
                <a:gd name="connsiteX242" fmla="*/ 6926 w 10000"/>
                <a:gd name="connsiteY242" fmla="*/ 3728 h 10126"/>
                <a:gd name="connsiteX243" fmla="*/ 6964 w 10000"/>
                <a:gd name="connsiteY243" fmla="*/ 3758 h 10126"/>
                <a:gd name="connsiteX244" fmla="*/ 7008 w 10000"/>
                <a:gd name="connsiteY244" fmla="*/ 3794 h 10126"/>
                <a:gd name="connsiteX245" fmla="*/ 7070 w 10000"/>
                <a:gd name="connsiteY245" fmla="*/ 3830 h 10126"/>
                <a:gd name="connsiteX246" fmla="*/ 7133 w 10000"/>
                <a:gd name="connsiteY246" fmla="*/ 3866 h 10126"/>
                <a:gd name="connsiteX247" fmla="*/ 7196 w 10000"/>
                <a:gd name="connsiteY247" fmla="*/ 3896 h 10126"/>
                <a:gd name="connsiteX248" fmla="*/ 7252 w 10000"/>
                <a:gd name="connsiteY248" fmla="*/ 3920 h 10126"/>
                <a:gd name="connsiteX249" fmla="*/ 7290 w 10000"/>
                <a:gd name="connsiteY249" fmla="*/ 3932 h 10126"/>
                <a:gd name="connsiteX250" fmla="*/ 7208 w 10000"/>
                <a:gd name="connsiteY250" fmla="*/ 3992 h 10126"/>
                <a:gd name="connsiteX251" fmla="*/ 7114 w 10000"/>
                <a:gd name="connsiteY251" fmla="*/ 4066 h 10126"/>
                <a:gd name="connsiteX252" fmla="*/ 7070 w 10000"/>
                <a:gd name="connsiteY252" fmla="*/ 4102 h 10126"/>
                <a:gd name="connsiteX253" fmla="*/ 7033 w 10000"/>
                <a:gd name="connsiteY253" fmla="*/ 4144 h 10126"/>
                <a:gd name="connsiteX254" fmla="*/ 7020 w 10000"/>
                <a:gd name="connsiteY254" fmla="*/ 4162 h 10126"/>
                <a:gd name="connsiteX255" fmla="*/ 7008 w 10000"/>
                <a:gd name="connsiteY255" fmla="*/ 4180 h 10126"/>
                <a:gd name="connsiteX256" fmla="*/ 7001 w 10000"/>
                <a:gd name="connsiteY256" fmla="*/ 4204 h 10126"/>
                <a:gd name="connsiteX257" fmla="*/ 6995 w 10000"/>
                <a:gd name="connsiteY257" fmla="*/ 4222 h 10126"/>
                <a:gd name="connsiteX258" fmla="*/ 7001 w 10000"/>
                <a:gd name="connsiteY258" fmla="*/ 4252 h 10126"/>
                <a:gd name="connsiteX259" fmla="*/ 7008 w 10000"/>
                <a:gd name="connsiteY259" fmla="*/ 4270 h 10126"/>
                <a:gd name="connsiteX260" fmla="*/ 7026 w 10000"/>
                <a:gd name="connsiteY260" fmla="*/ 4295 h 10126"/>
                <a:gd name="connsiteX261" fmla="*/ 7039 w 10000"/>
                <a:gd name="connsiteY261" fmla="*/ 4319 h 10126"/>
                <a:gd name="connsiteX262" fmla="*/ 7089 w 10000"/>
                <a:gd name="connsiteY262" fmla="*/ 4366 h 10126"/>
                <a:gd name="connsiteX263" fmla="*/ 7146 w 10000"/>
                <a:gd name="connsiteY263" fmla="*/ 4414 h 10126"/>
                <a:gd name="connsiteX264" fmla="*/ 7208 w 10000"/>
                <a:gd name="connsiteY264" fmla="*/ 4456 h 10126"/>
                <a:gd name="connsiteX265" fmla="*/ 7277 w 10000"/>
                <a:gd name="connsiteY265" fmla="*/ 4493 h 10126"/>
                <a:gd name="connsiteX266" fmla="*/ 7315 w 10000"/>
                <a:gd name="connsiteY266" fmla="*/ 4505 h 10126"/>
                <a:gd name="connsiteX267" fmla="*/ 7346 w 10000"/>
                <a:gd name="connsiteY267" fmla="*/ 4511 h 10126"/>
                <a:gd name="connsiteX268" fmla="*/ 7384 w 10000"/>
                <a:gd name="connsiteY268" fmla="*/ 4517 h 10126"/>
                <a:gd name="connsiteX269" fmla="*/ 7415 w 10000"/>
                <a:gd name="connsiteY269" fmla="*/ 4523 h 10126"/>
                <a:gd name="connsiteX270" fmla="*/ 7585 w 10000"/>
                <a:gd name="connsiteY270" fmla="*/ 5150 h 10126"/>
                <a:gd name="connsiteX271" fmla="*/ 7491 w 10000"/>
                <a:gd name="connsiteY271" fmla="*/ 5150 h 10126"/>
                <a:gd name="connsiteX272" fmla="*/ 7403 w 10000"/>
                <a:gd name="connsiteY272" fmla="*/ 5150 h 10126"/>
                <a:gd name="connsiteX273" fmla="*/ 7321 w 10000"/>
                <a:gd name="connsiteY273" fmla="*/ 5150 h 10126"/>
                <a:gd name="connsiteX274" fmla="*/ 7252 w 10000"/>
                <a:gd name="connsiteY274" fmla="*/ 5150 h 10126"/>
                <a:gd name="connsiteX275" fmla="*/ 7208 w 10000"/>
                <a:gd name="connsiteY275" fmla="*/ 5144 h 10126"/>
                <a:gd name="connsiteX276" fmla="*/ 7164 w 10000"/>
                <a:gd name="connsiteY276" fmla="*/ 5113 h 10126"/>
                <a:gd name="connsiteX277" fmla="*/ 7133 w 10000"/>
                <a:gd name="connsiteY277" fmla="*/ 5101 h 10126"/>
                <a:gd name="connsiteX278" fmla="*/ 7102 w 10000"/>
                <a:gd name="connsiteY278" fmla="*/ 5089 h 10126"/>
                <a:gd name="connsiteX279" fmla="*/ 7070 w 10000"/>
                <a:gd name="connsiteY279" fmla="*/ 5083 h 10126"/>
                <a:gd name="connsiteX280" fmla="*/ 7039 w 10000"/>
                <a:gd name="connsiteY280" fmla="*/ 5077 h 10126"/>
                <a:gd name="connsiteX281" fmla="*/ 7008 w 10000"/>
                <a:gd name="connsiteY281" fmla="*/ 5089 h 10126"/>
                <a:gd name="connsiteX282" fmla="*/ 6957 w 10000"/>
                <a:gd name="connsiteY282" fmla="*/ 5119 h 10126"/>
                <a:gd name="connsiteX283" fmla="*/ 6895 w 10000"/>
                <a:gd name="connsiteY283" fmla="*/ 5162 h 10126"/>
                <a:gd name="connsiteX284" fmla="*/ 6819 w 10000"/>
                <a:gd name="connsiteY284" fmla="*/ 5210 h 10126"/>
                <a:gd name="connsiteX285" fmla="*/ 6744 w 10000"/>
                <a:gd name="connsiteY285" fmla="*/ 5270 h 10126"/>
                <a:gd name="connsiteX286" fmla="*/ 6681 w 10000"/>
                <a:gd name="connsiteY286" fmla="*/ 5318 h 10126"/>
                <a:gd name="connsiteX287" fmla="*/ 6637 w 10000"/>
                <a:gd name="connsiteY287" fmla="*/ 5354 h 10126"/>
                <a:gd name="connsiteX288" fmla="*/ 6625 w 10000"/>
                <a:gd name="connsiteY288" fmla="*/ 5378 h 10126"/>
                <a:gd name="connsiteX289" fmla="*/ 6750 w 10000"/>
                <a:gd name="connsiteY289" fmla="*/ 5450 h 10126"/>
                <a:gd name="connsiteX290" fmla="*/ 6744 w 10000"/>
                <a:gd name="connsiteY290" fmla="*/ 5487 h 10126"/>
                <a:gd name="connsiteX291" fmla="*/ 6725 w 10000"/>
                <a:gd name="connsiteY291" fmla="*/ 5529 h 10126"/>
                <a:gd name="connsiteX292" fmla="*/ 6706 w 10000"/>
                <a:gd name="connsiteY292" fmla="*/ 5560 h 10126"/>
                <a:gd name="connsiteX293" fmla="*/ 6688 w 10000"/>
                <a:gd name="connsiteY293" fmla="*/ 5602 h 10126"/>
                <a:gd name="connsiteX294" fmla="*/ 6637 w 10000"/>
                <a:gd name="connsiteY294" fmla="*/ 5656 h 10126"/>
                <a:gd name="connsiteX295" fmla="*/ 6581 w 10000"/>
                <a:gd name="connsiteY295" fmla="*/ 5710 h 10126"/>
                <a:gd name="connsiteX296" fmla="*/ 6518 w 10000"/>
                <a:gd name="connsiteY296" fmla="*/ 5758 h 10126"/>
                <a:gd name="connsiteX297" fmla="*/ 6443 w 10000"/>
                <a:gd name="connsiteY297" fmla="*/ 5801 h 10126"/>
                <a:gd name="connsiteX298" fmla="*/ 6374 w 10000"/>
                <a:gd name="connsiteY298" fmla="*/ 5837 h 10126"/>
                <a:gd name="connsiteX299" fmla="*/ 6299 w 10000"/>
                <a:gd name="connsiteY299" fmla="*/ 5872 h 10126"/>
                <a:gd name="connsiteX300" fmla="*/ 6223 w 10000"/>
                <a:gd name="connsiteY300" fmla="*/ 5920 h 10126"/>
                <a:gd name="connsiteX301" fmla="*/ 6154 w 10000"/>
                <a:gd name="connsiteY301" fmla="*/ 5956 h 10126"/>
                <a:gd name="connsiteX302" fmla="*/ 6092 w 10000"/>
                <a:gd name="connsiteY302" fmla="*/ 5999 h 10126"/>
                <a:gd name="connsiteX303" fmla="*/ 6035 w 10000"/>
                <a:gd name="connsiteY303" fmla="*/ 6047 h 10126"/>
                <a:gd name="connsiteX304" fmla="*/ 6004 w 10000"/>
                <a:gd name="connsiteY304" fmla="*/ 6071 h 10126"/>
                <a:gd name="connsiteX305" fmla="*/ 5985 w 10000"/>
                <a:gd name="connsiteY305" fmla="*/ 6095 h 10126"/>
                <a:gd name="connsiteX306" fmla="*/ 5966 w 10000"/>
                <a:gd name="connsiteY306" fmla="*/ 6125 h 10126"/>
                <a:gd name="connsiteX307" fmla="*/ 5947 w 10000"/>
                <a:gd name="connsiteY307" fmla="*/ 6155 h 10126"/>
                <a:gd name="connsiteX308" fmla="*/ 5935 w 10000"/>
                <a:gd name="connsiteY308" fmla="*/ 6193 h 10126"/>
                <a:gd name="connsiteX309" fmla="*/ 5922 w 10000"/>
                <a:gd name="connsiteY309" fmla="*/ 6223 h 10126"/>
                <a:gd name="connsiteX310" fmla="*/ 5916 w 10000"/>
                <a:gd name="connsiteY310" fmla="*/ 6265 h 10126"/>
                <a:gd name="connsiteX311" fmla="*/ 5916 w 10000"/>
                <a:gd name="connsiteY311" fmla="*/ 6307 h 10126"/>
                <a:gd name="connsiteX312" fmla="*/ 5859 w 10000"/>
                <a:gd name="connsiteY312" fmla="*/ 6325 h 10126"/>
                <a:gd name="connsiteX313" fmla="*/ 5809 w 10000"/>
                <a:gd name="connsiteY313" fmla="*/ 6343 h 10126"/>
                <a:gd name="connsiteX314" fmla="*/ 5765 w 10000"/>
                <a:gd name="connsiteY314" fmla="*/ 6366 h 10126"/>
                <a:gd name="connsiteX315" fmla="*/ 5721 w 10000"/>
                <a:gd name="connsiteY315" fmla="*/ 6390 h 10126"/>
                <a:gd name="connsiteX316" fmla="*/ 5634 w 10000"/>
                <a:gd name="connsiteY316" fmla="*/ 6451 h 10126"/>
                <a:gd name="connsiteX317" fmla="*/ 5558 w 10000"/>
                <a:gd name="connsiteY317" fmla="*/ 6523 h 10126"/>
                <a:gd name="connsiteX318" fmla="*/ 5420 w 10000"/>
                <a:gd name="connsiteY318" fmla="*/ 6686 h 10126"/>
                <a:gd name="connsiteX319" fmla="*/ 5289 w 10000"/>
                <a:gd name="connsiteY319" fmla="*/ 6860 h 10126"/>
                <a:gd name="connsiteX320" fmla="*/ 5220 w 10000"/>
                <a:gd name="connsiteY320" fmla="*/ 6951 h 10126"/>
                <a:gd name="connsiteX321" fmla="*/ 5151 w 10000"/>
                <a:gd name="connsiteY321" fmla="*/ 7029 h 10126"/>
                <a:gd name="connsiteX322" fmla="*/ 5075 w 10000"/>
                <a:gd name="connsiteY322" fmla="*/ 7102 h 10126"/>
                <a:gd name="connsiteX323" fmla="*/ 4994 w 10000"/>
                <a:gd name="connsiteY323" fmla="*/ 7168 h 10126"/>
                <a:gd name="connsiteX324" fmla="*/ 4944 w 10000"/>
                <a:gd name="connsiteY324" fmla="*/ 7198 h 10126"/>
                <a:gd name="connsiteX325" fmla="*/ 4893 w 10000"/>
                <a:gd name="connsiteY325" fmla="*/ 7222 h 10126"/>
                <a:gd name="connsiteX326" fmla="*/ 4849 w 10000"/>
                <a:gd name="connsiteY326" fmla="*/ 7246 h 10126"/>
                <a:gd name="connsiteX327" fmla="*/ 4793 w 10000"/>
                <a:gd name="connsiteY327" fmla="*/ 7271 h 10126"/>
                <a:gd name="connsiteX328" fmla="*/ 4730 w 10000"/>
                <a:gd name="connsiteY328" fmla="*/ 7289 h 10126"/>
                <a:gd name="connsiteX329" fmla="*/ 4674 w 10000"/>
                <a:gd name="connsiteY329" fmla="*/ 7301 h 10126"/>
                <a:gd name="connsiteX330" fmla="*/ 4605 w 10000"/>
                <a:gd name="connsiteY330" fmla="*/ 7307 h 10126"/>
                <a:gd name="connsiteX331" fmla="*/ 4536 w 10000"/>
                <a:gd name="connsiteY331" fmla="*/ 7307 h 10126"/>
                <a:gd name="connsiteX332" fmla="*/ 4536 w 10000"/>
                <a:gd name="connsiteY332" fmla="*/ 7360 h 10126"/>
                <a:gd name="connsiteX333" fmla="*/ 4536 w 10000"/>
                <a:gd name="connsiteY333" fmla="*/ 7414 h 10126"/>
                <a:gd name="connsiteX334" fmla="*/ 4536 w 10000"/>
                <a:gd name="connsiteY334" fmla="*/ 7456 h 10126"/>
                <a:gd name="connsiteX335" fmla="*/ 4536 w 10000"/>
                <a:gd name="connsiteY335" fmla="*/ 7493 h 10126"/>
                <a:gd name="connsiteX336" fmla="*/ 4536 w 10000"/>
                <a:gd name="connsiteY336" fmla="*/ 7559 h 10126"/>
                <a:gd name="connsiteX337" fmla="*/ 4536 w 10000"/>
                <a:gd name="connsiteY337" fmla="*/ 7662 h 10126"/>
                <a:gd name="connsiteX338" fmla="*/ 4536 w 10000"/>
                <a:gd name="connsiteY338" fmla="*/ 7771 h 10126"/>
                <a:gd name="connsiteX339" fmla="*/ 4548 w 10000"/>
                <a:gd name="connsiteY339" fmla="*/ 7884 h 10126"/>
                <a:gd name="connsiteX340" fmla="*/ 4561 w 10000"/>
                <a:gd name="connsiteY340" fmla="*/ 7945 h 10126"/>
                <a:gd name="connsiteX341" fmla="*/ 4573 w 10000"/>
                <a:gd name="connsiteY341" fmla="*/ 7999 h 10126"/>
                <a:gd name="connsiteX342" fmla="*/ 4586 w 10000"/>
                <a:gd name="connsiteY342" fmla="*/ 8047 h 10126"/>
                <a:gd name="connsiteX343" fmla="*/ 4611 w 10000"/>
                <a:gd name="connsiteY343" fmla="*/ 8089 h 10126"/>
                <a:gd name="connsiteX344" fmla="*/ 4636 w 10000"/>
                <a:gd name="connsiteY344" fmla="*/ 8132 h 10126"/>
                <a:gd name="connsiteX345" fmla="*/ 4668 w 10000"/>
                <a:gd name="connsiteY345" fmla="*/ 8162 h 10126"/>
                <a:gd name="connsiteX346" fmla="*/ 4705 w 10000"/>
                <a:gd name="connsiteY346" fmla="*/ 8186 h 10126"/>
                <a:gd name="connsiteX347" fmla="*/ 4749 w 10000"/>
                <a:gd name="connsiteY347" fmla="*/ 8198 h 10126"/>
                <a:gd name="connsiteX348" fmla="*/ 4711 w 10000"/>
                <a:gd name="connsiteY348" fmla="*/ 8294 h 10126"/>
                <a:gd name="connsiteX349" fmla="*/ 4668 w 10000"/>
                <a:gd name="connsiteY349" fmla="*/ 8379 h 10126"/>
                <a:gd name="connsiteX350" fmla="*/ 4617 w 10000"/>
                <a:gd name="connsiteY350" fmla="*/ 8457 h 10126"/>
                <a:gd name="connsiteX351" fmla="*/ 4573 w 10000"/>
                <a:gd name="connsiteY351" fmla="*/ 8529 h 10126"/>
                <a:gd name="connsiteX352" fmla="*/ 4523 w 10000"/>
                <a:gd name="connsiteY352" fmla="*/ 8614 h 10126"/>
                <a:gd name="connsiteX353" fmla="*/ 4492 w 10000"/>
                <a:gd name="connsiteY353" fmla="*/ 8692 h 10126"/>
                <a:gd name="connsiteX354" fmla="*/ 4473 w 10000"/>
                <a:gd name="connsiteY354" fmla="*/ 8728 h 10126"/>
                <a:gd name="connsiteX355" fmla="*/ 4467 w 10000"/>
                <a:gd name="connsiteY355" fmla="*/ 8771 h 10126"/>
                <a:gd name="connsiteX356" fmla="*/ 4460 w 10000"/>
                <a:gd name="connsiteY356" fmla="*/ 8819 h 10126"/>
                <a:gd name="connsiteX357" fmla="*/ 4454 w 10000"/>
                <a:gd name="connsiteY357" fmla="*/ 8861 h 10126"/>
                <a:gd name="connsiteX358" fmla="*/ 4460 w 10000"/>
                <a:gd name="connsiteY358" fmla="*/ 8878 h 10126"/>
                <a:gd name="connsiteX359" fmla="*/ 4467 w 10000"/>
                <a:gd name="connsiteY359" fmla="*/ 8890 h 10126"/>
                <a:gd name="connsiteX360" fmla="*/ 4479 w 10000"/>
                <a:gd name="connsiteY360" fmla="*/ 8902 h 10126"/>
                <a:gd name="connsiteX361" fmla="*/ 4504 w 10000"/>
                <a:gd name="connsiteY361" fmla="*/ 8914 h 10126"/>
                <a:gd name="connsiteX362" fmla="*/ 4542 w 10000"/>
                <a:gd name="connsiteY362" fmla="*/ 8938 h 10126"/>
                <a:gd name="connsiteX363" fmla="*/ 4580 w 10000"/>
                <a:gd name="connsiteY363" fmla="*/ 8944 h 10126"/>
                <a:gd name="connsiteX364" fmla="*/ 4580 w 10000"/>
                <a:gd name="connsiteY364" fmla="*/ 9162 h 10126"/>
                <a:gd name="connsiteX365" fmla="*/ 4529 w 10000"/>
                <a:gd name="connsiteY365" fmla="*/ 9247 h 10126"/>
                <a:gd name="connsiteX366" fmla="*/ 4492 w 10000"/>
                <a:gd name="connsiteY366" fmla="*/ 9337 h 10126"/>
                <a:gd name="connsiteX367" fmla="*/ 4460 w 10000"/>
                <a:gd name="connsiteY367" fmla="*/ 9372 h 10126"/>
                <a:gd name="connsiteX368" fmla="*/ 4429 w 10000"/>
                <a:gd name="connsiteY368" fmla="*/ 9397 h 10126"/>
                <a:gd name="connsiteX369" fmla="*/ 4404 w 10000"/>
                <a:gd name="connsiteY369" fmla="*/ 9409 h 10126"/>
                <a:gd name="connsiteX370" fmla="*/ 4385 w 10000"/>
                <a:gd name="connsiteY370" fmla="*/ 9415 h 10126"/>
                <a:gd name="connsiteX371" fmla="*/ 4360 w 10000"/>
                <a:gd name="connsiteY371" fmla="*/ 9421 h 10126"/>
                <a:gd name="connsiteX372" fmla="*/ 4329 w 10000"/>
                <a:gd name="connsiteY372" fmla="*/ 9421 h 10126"/>
                <a:gd name="connsiteX373" fmla="*/ 4329 w 10000"/>
                <a:gd name="connsiteY373" fmla="*/ 9469 h 10126"/>
                <a:gd name="connsiteX374" fmla="*/ 4335 w 10000"/>
                <a:gd name="connsiteY374" fmla="*/ 9529 h 10126"/>
                <a:gd name="connsiteX375" fmla="*/ 4348 w 10000"/>
                <a:gd name="connsiteY375" fmla="*/ 9559 h 10126"/>
                <a:gd name="connsiteX376" fmla="*/ 4354 w 10000"/>
                <a:gd name="connsiteY376" fmla="*/ 9583 h 10126"/>
                <a:gd name="connsiteX377" fmla="*/ 4360 w 10000"/>
                <a:gd name="connsiteY377" fmla="*/ 9602 h 10126"/>
                <a:gd name="connsiteX378" fmla="*/ 4373 w 10000"/>
                <a:gd name="connsiteY378" fmla="*/ 9608 h 10126"/>
                <a:gd name="connsiteX379" fmla="*/ 4210 w 10000"/>
                <a:gd name="connsiteY379" fmla="*/ 9734 h 10126"/>
                <a:gd name="connsiteX380" fmla="*/ 4072 w 10000"/>
                <a:gd name="connsiteY380" fmla="*/ 9838 h 10126"/>
                <a:gd name="connsiteX381" fmla="*/ 4009 w 10000"/>
                <a:gd name="connsiteY381" fmla="*/ 9897 h 10126"/>
                <a:gd name="connsiteX382" fmla="*/ 3952 w 10000"/>
                <a:gd name="connsiteY382" fmla="*/ 9963 h 10126"/>
                <a:gd name="connsiteX383" fmla="*/ 3890 w 10000"/>
                <a:gd name="connsiteY383" fmla="*/ 10042 h 10126"/>
                <a:gd name="connsiteX384" fmla="*/ 3833 w 10000"/>
                <a:gd name="connsiteY384" fmla="*/ 10126 h 10126"/>
                <a:gd name="connsiteX385" fmla="*/ 3733 w 10000"/>
                <a:gd name="connsiteY385" fmla="*/ 10084 h 10126"/>
                <a:gd name="connsiteX386" fmla="*/ 3664 w 10000"/>
                <a:gd name="connsiteY386" fmla="*/ 10042 h 10126"/>
                <a:gd name="connsiteX387" fmla="*/ 3607 w 10000"/>
                <a:gd name="connsiteY387" fmla="*/ 9999 h 10126"/>
                <a:gd name="connsiteX388" fmla="*/ 3563 w 10000"/>
                <a:gd name="connsiteY388" fmla="*/ 9951 h 10126"/>
                <a:gd name="connsiteX389" fmla="*/ 3532 w 10000"/>
                <a:gd name="connsiteY389" fmla="*/ 9891 h 10126"/>
                <a:gd name="connsiteX390" fmla="*/ 3513 w 10000"/>
                <a:gd name="connsiteY390" fmla="*/ 9832 h 10126"/>
                <a:gd name="connsiteX391" fmla="*/ 3482 w 10000"/>
                <a:gd name="connsiteY391" fmla="*/ 9758 h 10126"/>
                <a:gd name="connsiteX392" fmla="*/ 3457 w 10000"/>
                <a:gd name="connsiteY392" fmla="*/ 9686 h 10126"/>
                <a:gd name="connsiteX393" fmla="*/ 3400 w 10000"/>
                <a:gd name="connsiteY393" fmla="*/ 9547 h 10126"/>
                <a:gd name="connsiteX394" fmla="*/ 3325 w 10000"/>
                <a:gd name="connsiteY394" fmla="*/ 9415 h 10126"/>
                <a:gd name="connsiteX395" fmla="*/ 3237 w 10000"/>
                <a:gd name="connsiteY395" fmla="*/ 9277 h 10126"/>
                <a:gd name="connsiteX396" fmla="*/ 3143 w 10000"/>
                <a:gd name="connsiteY396" fmla="*/ 9132 h 10126"/>
                <a:gd name="connsiteX397" fmla="*/ 3049 w 10000"/>
                <a:gd name="connsiteY397" fmla="*/ 8999 h 10126"/>
                <a:gd name="connsiteX398" fmla="*/ 2967 w 10000"/>
                <a:gd name="connsiteY398" fmla="*/ 8867 h 10126"/>
                <a:gd name="connsiteX399" fmla="*/ 2892 w 10000"/>
                <a:gd name="connsiteY399" fmla="*/ 8747 h 10126"/>
                <a:gd name="connsiteX400" fmla="*/ 2829 w 10000"/>
                <a:gd name="connsiteY400" fmla="*/ 8644 h 10126"/>
                <a:gd name="connsiteX401" fmla="*/ 2773 w 10000"/>
                <a:gd name="connsiteY401" fmla="*/ 8529 h 10126"/>
                <a:gd name="connsiteX402" fmla="*/ 2735 w 10000"/>
                <a:gd name="connsiteY402" fmla="*/ 8427 h 10126"/>
                <a:gd name="connsiteX403" fmla="*/ 2698 w 10000"/>
                <a:gd name="connsiteY403" fmla="*/ 8319 h 10126"/>
                <a:gd name="connsiteX404" fmla="*/ 2666 w 10000"/>
                <a:gd name="connsiteY404" fmla="*/ 8210 h 10126"/>
                <a:gd name="connsiteX405" fmla="*/ 2629 w 10000"/>
                <a:gd name="connsiteY405" fmla="*/ 8101 h 10126"/>
                <a:gd name="connsiteX406" fmla="*/ 2597 w 10000"/>
                <a:gd name="connsiteY406" fmla="*/ 7993 h 10126"/>
                <a:gd name="connsiteX407" fmla="*/ 2553 w 10000"/>
                <a:gd name="connsiteY407" fmla="*/ 7872 h 10126"/>
                <a:gd name="connsiteX408" fmla="*/ 2497 w 10000"/>
                <a:gd name="connsiteY408" fmla="*/ 7753 h 10126"/>
                <a:gd name="connsiteX409" fmla="*/ 2359 w 10000"/>
                <a:gd name="connsiteY409" fmla="*/ 7559 h 10126"/>
                <a:gd name="connsiteX410" fmla="*/ 2208 w 10000"/>
                <a:gd name="connsiteY410" fmla="*/ 7378 h 10126"/>
                <a:gd name="connsiteX411" fmla="*/ 2139 w 10000"/>
                <a:gd name="connsiteY411" fmla="*/ 7295 h 10126"/>
                <a:gd name="connsiteX412" fmla="*/ 2070 w 10000"/>
                <a:gd name="connsiteY412" fmla="*/ 7198 h 10126"/>
                <a:gd name="connsiteX413" fmla="*/ 2008 w 10000"/>
                <a:gd name="connsiteY413" fmla="*/ 7108 h 10126"/>
                <a:gd name="connsiteX414" fmla="*/ 1957 w 10000"/>
                <a:gd name="connsiteY414" fmla="*/ 7011 h 10126"/>
                <a:gd name="connsiteX415" fmla="*/ 1888 w 10000"/>
                <a:gd name="connsiteY415" fmla="*/ 6776 h 10126"/>
                <a:gd name="connsiteX416" fmla="*/ 1832 w 10000"/>
                <a:gd name="connsiteY416" fmla="*/ 6559 h 10126"/>
                <a:gd name="connsiteX417" fmla="*/ 1782 w 10000"/>
                <a:gd name="connsiteY417" fmla="*/ 6349 h 10126"/>
                <a:gd name="connsiteX418" fmla="*/ 1757 w 10000"/>
                <a:gd name="connsiteY418" fmla="*/ 6137 h 10126"/>
                <a:gd name="connsiteX419" fmla="*/ 1725 w 10000"/>
                <a:gd name="connsiteY419" fmla="*/ 5932 h 10126"/>
                <a:gd name="connsiteX420" fmla="*/ 1713 w 10000"/>
                <a:gd name="connsiteY420" fmla="*/ 5716 h 10126"/>
                <a:gd name="connsiteX421" fmla="*/ 1706 w 10000"/>
                <a:gd name="connsiteY421" fmla="*/ 5493 h 10126"/>
                <a:gd name="connsiteX422" fmla="*/ 1706 w 10000"/>
                <a:gd name="connsiteY422" fmla="*/ 5270 h 10126"/>
                <a:gd name="connsiteX423" fmla="*/ 1681 w 10000"/>
                <a:gd name="connsiteY423" fmla="*/ 5264 h 10126"/>
                <a:gd name="connsiteX424" fmla="*/ 1650 w 10000"/>
                <a:gd name="connsiteY424" fmla="*/ 5258 h 10126"/>
                <a:gd name="connsiteX425" fmla="*/ 1625 w 10000"/>
                <a:gd name="connsiteY425" fmla="*/ 5252 h 10126"/>
                <a:gd name="connsiteX426" fmla="*/ 1606 w 10000"/>
                <a:gd name="connsiteY426" fmla="*/ 5228 h 10126"/>
                <a:gd name="connsiteX427" fmla="*/ 1581 w 10000"/>
                <a:gd name="connsiteY427" fmla="*/ 5216 h 10126"/>
                <a:gd name="connsiteX428" fmla="*/ 1568 w 10000"/>
                <a:gd name="connsiteY428" fmla="*/ 5198 h 10126"/>
                <a:gd name="connsiteX429" fmla="*/ 1550 w 10000"/>
                <a:gd name="connsiteY429" fmla="*/ 5174 h 10126"/>
                <a:gd name="connsiteX430" fmla="*/ 1543 w 10000"/>
                <a:gd name="connsiteY430" fmla="*/ 5150 h 10126"/>
                <a:gd name="connsiteX431" fmla="*/ 1518 w 10000"/>
                <a:gd name="connsiteY431" fmla="*/ 5101 h 10126"/>
                <a:gd name="connsiteX432" fmla="*/ 1506 w 10000"/>
                <a:gd name="connsiteY432" fmla="*/ 5047 h 10126"/>
                <a:gd name="connsiteX433" fmla="*/ 1499 w 10000"/>
                <a:gd name="connsiteY433" fmla="*/ 4987 h 10126"/>
                <a:gd name="connsiteX434" fmla="*/ 1499 w 10000"/>
                <a:gd name="connsiteY434" fmla="*/ 4933 h 10126"/>
                <a:gd name="connsiteX435" fmla="*/ 1443 w 10000"/>
                <a:gd name="connsiteY435" fmla="*/ 4969 h 10126"/>
                <a:gd name="connsiteX436" fmla="*/ 1405 w 10000"/>
                <a:gd name="connsiteY436" fmla="*/ 5011 h 10126"/>
                <a:gd name="connsiteX437" fmla="*/ 1361 w 10000"/>
                <a:gd name="connsiteY437" fmla="*/ 5053 h 10126"/>
                <a:gd name="connsiteX438" fmla="*/ 1317 w 10000"/>
                <a:gd name="connsiteY438" fmla="*/ 5101 h 10126"/>
                <a:gd name="connsiteX439" fmla="*/ 1261 w 10000"/>
                <a:gd name="connsiteY439" fmla="*/ 5198 h 10126"/>
                <a:gd name="connsiteX440" fmla="*/ 1205 w 10000"/>
                <a:gd name="connsiteY440" fmla="*/ 5300 h 10126"/>
                <a:gd name="connsiteX441" fmla="*/ 1167 w 10000"/>
                <a:gd name="connsiteY441" fmla="*/ 5343 h 10126"/>
                <a:gd name="connsiteX442" fmla="*/ 1142 w 10000"/>
                <a:gd name="connsiteY442" fmla="*/ 5384 h 10126"/>
                <a:gd name="connsiteX443" fmla="*/ 1104 w 10000"/>
                <a:gd name="connsiteY443" fmla="*/ 5426 h 10126"/>
                <a:gd name="connsiteX444" fmla="*/ 1073 w 10000"/>
                <a:gd name="connsiteY444" fmla="*/ 5456 h 10126"/>
                <a:gd name="connsiteX445" fmla="*/ 1029 w 10000"/>
                <a:gd name="connsiteY445" fmla="*/ 5487 h 10126"/>
                <a:gd name="connsiteX446" fmla="*/ 985 w 10000"/>
                <a:gd name="connsiteY446" fmla="*/ 5505 h 10126"/>
                <a:gd name="connsiteX447" fmla="*/ 928 w 10000"/>
                <a:gd name="connsiteY447" fmla="*/ 5517 h 10126"/>
                <a:gd name="connsiteX448" fmla="*/ 872 w 10000"/>
                <a:gd name="connsiteY448" fmla="*/ 5523 h 10126"/>
                <a:gd name="connsiteX449" fmla="*/ 841 w 10000"/>
                <a:gd name="connsiteY449" fmla="*/ 5517 h 10126"/>
                <a:gd name="connsiteX450" fmla="*/ 797 w 10000"/>
                <a:gd name="connsiteY450" fmla="*/ 5505 h 10126"/>
                <a:gd name="connsiteX451" fmla="*/ 753 w 10000"/>
                <a:gd name="connsiteY451" fmla="*/ 5487 h 10126"/>
                <a:gd name="connsiteX452" fmla="*/ 709 w 10000"/>
                <a:gd name="connsiteY452" fmla="*/ 5456 h 10126"/>
                <a:gd name="connsiteX453" fmla="*/ 659 w 10000"/>
                <a:gd name="connsiteY453" fmla="*/ 5420 h 10126"/>
                <a:gd name="connsiteX454" fmla="*/ 609 w 10000"/>
                <a:gd name="connsiteY454" fmla="*/ 5384 h 10126"/>
                <a:gd name="connsiteX455" fmla="*/ 565 w 10000"/>
                <a:gd name="connsiteY455" fmla="*/ 5343 h 10126"/>
                <a:gd name="connsiteX456" fmla="*/ 514 w 10000"/>
                <a:gd name="connsiteY456" fmla="*/ 5294 h 10126"/>
                <a:gd name="connsiteX457" fmla="*/ 471 w 10000"/>
                <a:gd name="connsiteY457" fmla="*/ 5246 h 10126"/>
                <a:gd name="connsiteX458" fmla="*/ 433 w 10000"/>
                <a:gd name="connsiteY458" fmla="*/ 5192 h 10126"/>
                <a:gd name="connsiteX459" fmla="*/ 389 w 10000"/>
                <a:gd name="connsiteY459" fmla="*/ 5138 h 10126"/>
                <a:gd name="connsiteX460" fmla="*/ 358 w 10000"/>
                <a:gd name="connsiteY460" fmla="*/ 5083 h 10126"/>
                <a:gd name="connsiteX461" fmla="*/ 326 w 10000"/>
                <a:gd name="connsiteY461" fmla="*/ 5035 h 10126"/>
                <a:gd name="connsiteX462" fmla="*/ 307 w 10000"/>
                <a:gd name="connsiteY462" fmla="*/ 4987 h 10126"/>
                <a:gd name="connsiteX463" fmla="*/ 295 w 10000"/>
                <a:gd name="connsiteY463" fmla="*/ 4939 h 10126"/>
                <a:gd name="connsiteX464" fmla="*/ 289 w 10000"/>
                <a:gd name="connsiteY464" fmla="*/ 4890 h 10126"/>
                <a:gd name="connsiteX465" fmla="*/ 320 w 10000"/>
                <a:gd name="connsiteY465" fmla="*/ 4872 h 10126"/>
                <a:gd name="connsiteX466" fmla="*/ 395 w 10000"/>
                <a:gd name="connsiteY466" fmla="*/ 4837 h 10126"/>
                <a:gd name="connsiteX467" fmla="*/ 483 w 10000"/>
                <a:gd name="connsiteY467" fmla="*/ 4801 h 10126"/>
                <a:gd name="connsiteX468" fmla="*/ 533 w 10000"/>
                <a:gd name="connsiteY468" fmla="*/ 4783 h 10126"/>
                <a:gd name="connsiteX469" fmla="*/ 483 w 10000"/>
                <a:gd name="connsiteY469" fmla="*/ 4783 h 10126"/>
                <a:gd name="connsiteX470" fmla="*/ 420 w 10000"/>
                <a:gd name="connsiteY470" fmla="*/ 4777 h 10126"/>
                <a:gd name="connsiteX471" fmla="*/ 370 w 10000"/>
                <a:gd name="connsiteY471" fmla="*/ 4765 h 10126"/>
                <a:gd name="connsiteX472" fmla="*/ 320 w 10000"/>
                <a:gd name="connsiteY472" fmla="*/ 4759 h 10126"/>
                <a:gd name="connsiteX473" fmla="*/ 276 w 10000"/>
                <a:gd name="connsiteY473" fmla="*/ 4740 h 10126"/>
                <a:gd name="connsiteX474" fmla="*/ 232 w 10000"/>
                <a:gd name="connsiteY474" fmla="*/ 4728 h 10126"/>
                <a:gd name="connsiteX475" fmla="*/ 188 w 10000"/>
                <a:gd name="connsiteY475" fmla="*/ 4710 h 10126"/>
                <a:gd name="connsiteX476" fmla="*/ 157 w 10000"/>
                <a:gd name="connsiteY476" fmla="*/ 4685 h 10126"/>
                <a:gd name="connsiteX477" fmla="*/ 132 w 10000"/>
                <a:gd name="connsiteY477" fmla="*/ 4661 h 10126"/>
                <a:gd name="connsiteX478" fmla="*/ 100 w 10000"/>
                <a:gd name="connsiteY478" fmla="*/ 4637 h 10126"/>
                <a:gd name="connsiteX479" fmla="*/ 75 w 10000"/>
                <a:gd name="connsiteY479" fmla="*/ 4607 h 10126"/>
                <a:gd name="connsiteX480" fmla="*/ 50 w 10000"/>
                <a:gd name="connsiteY480" fmla="*/ 4583 h 10126"/>
                <a:gd name="connsiteX481" fmla="*/ 19 w 10000"/>
                <a:gd name="connsiteY481" fmla="*/ 4511 h 10126"/>
                <a:gd name="connsiteX482" fmla="*/ 0 w 10000"/>
                <a:gd name="connsiteY482" fmla="*/ 4444 h 10126"/>
                <a:gd name="connsiteX483" fmla="*/ 63 w 10000"/>
                <a:gd name="connsiteY483" fmla="*/ 4396 h 10126"/>
                <a:gd name="connsiteX484" fmla="*/ 132 w 10000"/>
                <a:gd name="connsiteY484" fmla="*/ 4360 h 10126"/>
                <a:gd name="connsiteX485" fmla="*/ 201 w 10000"/>
                <a:gd name="connsiteY485" fmla="*/ 4331 h 10126"/>
                <a:gd name="connsiteX486" fmla="*/ 276 w 10000"/>
                <a:gd name="connsiteY486" fmla="*/ 4307 h 10126"/>
                <a:gd name="connsiteX487" fmla="*/ 420 w 10000"/>
                <a:gd name="connsiteY487" fmla="*/ 4277 h 10126"/>
                <a:gd name="connsiteX488" fmla="*/ 565 w 10000"/>
                <a:gd name="connsiteY488" fmla="*/ 4252 h 10126"/>
                <a:gd name="connsiteX489" fmla="*/ 640 w 10000"/>
                <a:gd name="connsiteY489" fmla="*/ 4240 h 10126"/>
                <a:gd name="connsiteX490" fmla="*/ 709 w 10000"/>
                <a:gd name="connsiteY490" fmla="*/ 4216 h 10126"/>
                <a:gd name="connsiteX491" fmla="*/ 772 w 10000"/>
                <a:gd name="connsiteY491" fmla="*/ 4198 h 10126"/>
                <a:gd name="connsiteX492" fmla="*/ 834 w 10000"/>
                <a:gd name="connsiteY492" fmla="*/ 4168 h 10126"/>
                <a:gd name="connsiteX493" fmla="*/ 891 w 10000"/>
                <a:gd name="connsiteY493" fmla="*/ 4138 h 10126"/>
                <a:gd name="connsiteX494" fmla="*/ 947 w 10000"/>
                <a:gd name="connsiteY494" fmla="*/ 4090 h 10126"/>
                <a:gd name="connsiteX495" fmla="*/ 997 w 10000"/>
                <a:gd name="connsiteY495" fmla="*/ 4035 h 10126"/>
                <a:gd name="connsiteX496" fmla="*/ 1035 w 10000"/>
                <a:gd name="connsiteY496" fmla="*/ 3968 h 10126"/>
                <a:gd name="connsiteX497" fmla="*/ 1010 w 10000"/>
                <a:gd name="connsiteY497" fmla="*/ 3956 h 10126"/>
                <a:gd name="connsiteX498" fmla="*/ 985 w 10000"/>
                <a:gd name="connsiteY498" fmla="*/ 3938 h 10126"/>
                <a:gd name="connsiteX499" fmla="*/ 947 w 10000"/>
                <a:gd name="connsiteY499" fmla="*/ 3914 h 10126"/>
                <a:gd name="connsiteX500" fmla="*/ 910 w 10000"/>
                <a:gd name="connsiteY500" fmla="*/ 3878 h 10126"/>
                <a:gd name="connsiteX501" fmla="*/ 822 w 10000"/>
                <a:gd name="connsiteY501" fmla="*/ 3806 h 10126"/>
                <a:gd name="connsiteX502" fmla="*/ 740 w 10000"/>
                <a:gd name="connsiteY502" fmla="*/ 3722 h 10126"/>
                <a:gd name="connsiteX503" fmla="*/ 665 w 10000"/>
                <a:gd name="connsiteY503" fmla="*/ 3631 h 10126"/>
                <a:gd name="connsiteX504" fmla="*/ 596 w 10000"/>
                <a:gd name="connsiteY504" fmla="*/ 3535 h 10126"/>
                <a:gd name="connsiteX505" fmla="*/ 577 w 10000"/>
                <a:gd name="connsiteY505" fmla="*/ 3493 h 10126"/>
                <a:gd name="connsiteX506" fmla="*/ 558 w 10000"/>
                <a:gd name="connsiteY506" fmla="*/ 3451 h 10126"/>
                <a:gd name="connsiteX507" fmla="*/ 540 w 10000"/>
                <a:gd name="connsiteY507" fmla="*/ 3408 h 10126"/>
                <a:gd name="connsiteX508" fmla="*/ 533 w 10000"/>
                <a:gd name="connsiteY508" fmla="*/ 3372 h 10126"/>
                <a:gd name="connsiteX509" fmla="*/ 508 w 10000"/>
                <a:gd name="connsiteY509" fmla="*/ 3366 h 10126"/>
                <a:gd name="connsiteX510" fmla="*/ 483 w 10000"/>
                <a:gd name="connsiteY510" fmla="*/ 3360 h 10126"/>
                <a:gd name="connsiteX511" fmla="*/ 458 w 10000"/>
                <a:gd name="connsiteY511" fmla="*/ 3348 h 10126"/>
                <a:gd name="connsiteX512" fmla="*/ 439 w 10000"/>
                <a:gd name="connsiteY512" fmla="*/ 3325 h 10126"/>
                <a:gd name="connsiteX513" fmla="*/ 402 w 10000"/>
                <a:gd name="connsiteY513" fmla="*/ 3282 h 10126"/>
                <a:gd name="connsiteX514" fmla="*/ 370 w 10000"/>
                <a:gd name="connsiteY514" fmla="*/ 3222 h 10126"/>
                <a:gd name="connsiteX515" fmla="*/ 370 w 10000"/>
                <a:gd name="connsiteY515" fmla="*/ 3077 h 10126"/>
                <a:gd name="connsiteX516" fmla="*/ 458 w 10000"/>
                <a:gd name="connsiteY516" fmla="*/ 3071 h 10126"/>
                <a:gd name="connsiteX517" fmla="*/ 540 w 10000"/>
                <a:gd name="connsiteY517" fmla="*/ 3065 h 10126"/>
                <a:gd name="connsiteX518" fmla="*/ 615 w 10000"/>
                <a:gd name="connsiteY518" fmla="*/ 3053 h 10126"/>
                <a:gd name="connsiteX519" fmla="*/ 684 w 10000"/>
                <a:gd name="connsiteY519" fmla="*/ 3029 h 10126"/>
                <a:gd name="connsiteX520" fmla="*/ 747 w 10000"/>
                <a:gd name="connsiteY520" fmla="*/ 3011 h 10126"/>
                <a:gd name="connsiteX521" fmla="*/ 809 w 10000"/>
                <a:gd name="connsiteY521" fmla="*/ 2980 h 10126"/>
                <a:gd name="connsiteX522" fmla="*/ 866 w 10000"/>
                <a:gd name="connsiteY522" fmla="*/ 2950 h 10126"/>
                <a:gd name="connsiteX523" fmla="*/ 922 w 10000"/>
                <a:gd name="connsiteY523" fmla="*/ 2914 h 10126"/>
                <a:gd name="connsiteX524" fmla="*/ 966 w 10000"/>
                <a:gd name="connsiteY524" fmla="*/ 2872 h 10126"/>
                <a:gd name="connsiteX525" fmla="*/ 1016 w 10000"/>
                <a:gd name="connsiteY525" fmla="*/ 2831 h 10126"/>
                <a:gd name="connsiteX526" fmla="*/ 1060 w 10000"/>
                <a:gd name="connsiteY526" fmla="*/ 2789 h 10126"/>
                <a:gd name="connsiteX527" fmla="*/ 1098 w 10000"/>
                <a:gd name="connsiteY527" fmla="*/ 2740 h 10126"/>
                <a:gd name="connsiteX528" fmla="*/ 1167 w 10000"/>
                <a:gd name="connsiteY528" fmla="*/ 2644 h 10126"/>
                <a:gd name="connsiteX529" fmla="*/ 1236 w 10000"/>
                <a:gd name="connsiteY529" fmla="*/ 2534 h 10126"/>
                <a:gd name="connsiteX530" fmla="*/ 1355 w 10000"/>
                <a:gd name="connsiteY530" fmla="*/ 2318 h 10126"/>
                <a:gd name="connsiteX531" fmla="*/ 1474 w 10000"/>
                <a:gd name="connsiteY531" fmla="*/ 2101 h 10126"/>
                <a:gd name="connsiteX532" fmla="*/ 1543 w 10000"/>
                <a:gd name="connsiteY532" fmla="*/ 2005 h 10126"/>
                <a:gd name="connsiteX533" fmla="*/ 1612 w 10000"/>
                <a:gd name="connsiteY533" fmla="*/ 1920 h 10126"/>
                <a:gd name="connsiteX534" fmla="*/ 1650 w 10000"/>
                <a:gd name="connsiteY534" fmla="*/ 1871 h 10126"/>
                <a:gd name="connsiteX535" fmla="*/ 1694 w 10000"/>
                <a:gd name="connsiteY535" fmla="*/ 1835 h 10126"/>
                <a:gd name="connsiteX536" fmla="*/ 1738 w 10000"/>
                <a:gd name="connsiteY536" fmla="*/ 1806 h 10126"/>
                <a:gd name="connsiteX537" fmla="*/ 1788 w 10000"/>
                <a:gd name="connsiteY537" fmla="*/ 1776 h 10126"/>
                <a:gd name="connsiteX538" fmla="*/ 1750 w 10000"/>
                <a:gd name="connsiteY538" fmla="*/ 1703 h 10126"/>
                <a:gd name="connsiteX539" fmla="*/ 1719 w 10000"/>
                <a:gd name="connsiteY539" fmla="*/ 1637 h 10126"/>
                <a:gd name="connsiteX540" fmla="*/ 1713 w 10000"/>
                <a:gd name="connsiteY540" fmla="*/ 1607 h 10126"/>
                <a:gd name="connsiteX541" fmla="*/ 1706 w 10000"/>
                <a:gd name="connsiteY541" fmla="*/ 1577 h 10126"/>
                <a:gd name="connsiteX542" fmla="*/ 1706 w 10000"/>
                <a:gd name="connsiteY542" fmla="*/ 1541 h 10126"/>
                <a:gd name="connsiteX543" fmla="*/ 1706 w 10000"/>
                <a:gd name="connsiteY543" fmla="*/ 1511 h 10126"/>
                <a:gd name="connsiteX544" fmla="*/ 1713 w 10000"/>
                <a:gd name="connsiteY544" fmla="*/ 1480 h 10126"/>
                <a:gd name="connsiteX545" fmla="*/ 1719 w 10000"/>
                <a:gd name="connsiteY545" fmla="*/ 1450 h 10126"/>
                <a:gd name="connsiteX546" fmla="*/ 1731 w 10000"/>
                <a:gd name="connsiteY546" fmla="*/ 1426 h 10126"/>
                <a:gd name="connsiteX547" fmla="*/ 1757 w 10000"/>
                <a:gd name="connsiteY547" fmla="*/ 1402 h 10126"/>
                <a:gd name="connsiteX548" fmla="*/ 1775 w 10000"/>
                <a:gd name="connsiteY548" fmla="*/ 1384 h 10126"/>
                <a:gd name="connsiteX549" fmla="*/ 1801 w 10000"/>
                <a:gd name="connsiteY549" fmla="*/ 1366 h 10126"/>
                <a:gd name="connsiteX550" fmla="*/ 1838 w 10000"/>
                <a:gd name="connsiteY550" fmla="*/ 1348 h 10126"/>
                <a:gd name="connsiteX551" fmla="*/ 1870 w 10000"/>
                <a:gd name="connsiteY551" fmla="*/ 1330 h 10126"/>
                <a:gd name="connsiteX552" fmla="*/ 1788 w 10000"/>
                <a:gd name="connsiteY552" fmla="*/ 1240 h 10126"/>
                <a:gd name="connsiteX553" fmla="*/ 1688 w 10000"/>
                <a:gd name="connsiteY553" fmla="*/ 1168 h 10126"/>
                <a:gd name="connsiteX554" fmla="*/ 1550 w 10000"/>
                <a:gd name="connsiteY554" fmla="*/ 1046 h 10126"/>
                <a:gd name="connsiteX555" fmla="*/ 1487 w 10000"/>
                <a:gd name="connsiteY555" fmla="*/ 986 h 10126"/>
                <a:gd name="connsiteX556" fmla="*/ 1383 w 10000"/>
                <a:gd name="connsiteY556" fmla="*/ 868 h 10126"/>
                <a:gd name="connsiteX557" fmla="*/ 1426 w 10000"/>
                <a:gd name="connsiteY557" fmla="*/ 764 h 10126"/>
                <a:gd name="connsiteX558" fmla="*/ 1603 w 10000"/>
                <a:gd name="connsiteY558" fmla="*/ 650 h 10126"/>
                <a:gd name="connsiteX559" fmla="*/ 1708 w 10000"/>
                <a:gd name="connsiteY559" fmla="*/ 605 h 10126"/>
                <a:gd name="connsiteX560" fmla="*/ 1673 w 10000"/>
                <a:gd name="connsiteY560" fmla="*/ 540 h 10126"/>
                <a:gd name="connsiteX561" fmla="*/ 1606 w 10000"/>
                <a:gd name="connsiteY561" fmla="*/ 463 h 10126"/>
                <a:gd name="connsiteX562" fmla="*/ 1539 w 10000"/>
                <a:gd name="connsiteY562" fmla="*/ 431 h 10126"/>
                <a:gd name="connsiteX563" fmla="*/ 1539 w 10000"/>
                <a:gd name="connsiteY563" fmla="*/ 366 h 10126"/>
                <a:gd name="connsiteX564" fmla="*/ 1473 w 10000"/>
                <a:gd name="connsiteY564" fmla="*/ 296 h 10126"/>
                <a:gd name="connsiteX565" fmla="*/ 1341 w 10000"/>
                <a:gd name="connsiteY565" fmla="*/ 236 h 10126"/>
                <a:gd name="connsiteX566" fmla="*/ 1490 w 10000"/>
                <a:gd name="connsiteY566" fmla="*/ 123 h 10126"/>
                <a:gd name="connsiteX567" fmla="*/ 1654 w 10000"/>
                <a:gd name="connsiteY567" fmla="*/ 0 h 10126"/>
                <a:gd name="connsiteX568" fmla="*/ 1895 w 10000"/>
                <a:gd name="connsiteY568" fmla="*/ 61 h 10126"/>
                <a:gd name="connsiteX569" fmla="*/ 2151 w 10000"/>
                <a:gd name="connsiteY569" fmla="*/ 94 h 10126"/>
                <a:gd name="connsiteX570" fmla="*/ 2280 w 10000"/>
                <a:gd name="connsiteY570" fmla="*/ 123 h 10126"/>
                <a:gd name="connsiteX571" fmla="*/ 2517 w 10000"/>
                <a:gd name="connsiteY571"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093 w 10000"/>
                <a:gd name="connsiteY4" fmla="*/ 619 h 10126"/>
                <a:gd name="connsiteX5" fmla="*/ 2992 w 10000"/>
                <a:gd name="connsiteY5" fmla="*/ 710 h 10126"/>
                <a:gd name="connsiteX6" fmla="*/ 3043 w 10000"/>
                <a:gd name="connsiteY6" fmla="*/ 734 h 10126"/>
                <a:gd name="connsiteX7" fmla="*/ 3087 w 10000"/>
                <a:gd name="connsiteY7" fmla="*/ 776 h 10126"/>
                <a:gd name="connsiteX8" fmla="*/ 3130 w 10000"/>
                <a:gd name="connsiteY8" fmla="*/ 823 h 10126"/>
                <a:gd name="connsiteX9" fmla="*/ 3174 w 10000"/>
                <a:gd name="connsiteY9" fmla="*/ 872 h 10126"/>
                <a:gd name="connsiteX10" fmla="*/ 3212 w 10000"/>
                <a:gd name="connsiteY10" fmla="*/ 932 h 10126"/>
                <a:gd name="connsiteX11" fmla="*/ 3256 w 10000"/>
                <a:gd name="connsiteY11" fmla="*/ 986 h 10126"/>
                <a:gd name="connsiteX12" fmla="*/ 3281 w 10000"/>
                <a:gd name="connsiteY12" fmla="*/ 1046 h 10126"/>
                <a:gd name="connsiteX13" fmla="*/ 3312 w 10000"/>
                <a:gd name="connsiteY13" fmla="*/ 1113 h 10126"/>
                <a:gd name="connsiteX14" fmla="*/ 3331 w 10000"/>
                <a:gd name="connsiteY14" fmla="*/ 1180 h 10126"/>
                <a:gd name="connsiteX15" fmla="*/ 3043 w 10000"/>
                <a:gd name="connsiteY15" fmla="*/ 1180 h 10126"/>
                <a:gd name="connsiteX16" fmla="*/ 3043 w 10000"/>
                <a:gd name="connsiteY16" fmla="*/ 1366 h 10126"/>
                <a:gd name="connsiteX17" fmla="*/ 3074 w 10000"/>
                <a:gd name="connsiteY17" fmla="*/ 1444 h 10126"/>
                <a:gd name="connsiteX18" fmla="*/ 3118 w 10000"/>
                <a:gd name="connsiteY18" fmla="*/ 1511 h 10126"/>
                <a:gd name="connsiteX19" fmla="*/ 3168 w 10000"/>
                <a:gd name="connsiteY19" fmla="*/ 1571 h 10126"/>
                <a:gd name="connsiteX20" fmla="*/ 3225 w 10000"/>
                <a:gd name="connsiteY20" fmla="*/ 1613 h 10126"/>
                <a:gd name="connsiteX21" fmla="*/ 3281 w 10000"/>
                <a:gd name="connsiteY21" fmla="*/ 1655 h 10126"/>
                <a:gd name="connsiteX22" fmla="*/ 3350 w 10000"/>
                <a:gd name="connsiteY22" fmla="*/ 1685 h 10126"/>
                <a:gd name="connsiteX23" fmla="*/ 3413 w 10000"/>
                <a:gd name="connsiteY23" fmla="*/ 1715 h 10126"/>
                <a:gd name="connsiteX24" fmla="*/ 3488 w 10000"/>
                <a:gd name="connsiteY24" fmla="*/ 1740 h 10126"/>
                <a:gd name="connsiteX25" fmla="*/ 3626 w 10000"/>
                <a:gd name="connsiteY25" fmla="*/ 1794 h 10126"/>
                <a:gd name="connsiteX26" fmla="*/ 3764 w 10000"/>
                <a:gd name="connsiteY26" fmla="*/ 1847 h 10126"/>
                <a:gd name="connsiteX27" fmla="*/ 3827 w 10000"/>
                <a:gd name="connsiteY27" fmla="*/ 1884 h 10126"/>
                <a:gd name="connsiteX28" fmla="*/ 3890 w 10000"/>
                <a:gd name="connsiteY28" fmla="*/ 1932 h 10126"/>
                <a:gd name="connsiteX29" fmla="*/ 3946 w 10000"/>
                <a:gd name="connsiteY29" fmla="*/ 1981 h 10126"/>
                <a:gd name="connsiteX30" fmla="*/ 4003 w 10000"/>
                <a:gd name="connsiteY30" fmla="*/ 2035 h 10126"/>
                <a:gd name="connsiteX31" fmla="*/ 3959 w 10000"/>
                <a:gd name="connsiteY31" fmla="*/ 2596 h 10126"/>
                <a:gd name="connsiteX32" fmla="*/ 4034 w 10000"/>
                <a:gd name="connsiteY32" fmla="*/ 2650 h 10126"/>
                <a:gd name="connsiteX33" fmla="*/ 4141 w 10000"/>
                <a:gd name="connsiteY33" fmla="*/ 2716 h 10126"/>
                <a:gd name="connsiteX34" fmla="*/ 4260 w 10000"/>
                <a:gd name="connsiteY34" fmla="*/ 2776 h 10126"/>
                <a:gd name="connsiteX35" fmla="*/ 4398 w 10000"/>
                <a:gd name="connsiteY35" fmla="*/ 2831 h 10126"/>
                <a:gd name="connsiteX36" fmla="*/ 4536 w 10000"/>
                <a:gd name="connsiteY36" fmla="*/ 2884 h 10126"/>
                <a:gd name="connsiteX37" fmla="*/ 4668 w 10000"/>
                <a:gd name="connsiteY37" fmla="*/ 2926 h 10126"/>
                <a:gd name="connsiteX38" fmla="*/ 4724 w 10000"/>
                <a:gd name="connsiteY38" fmla="*/ 2944 h 10126"/>
                <a:gd name="connsiteX39" fmla="*/ 4780 w 10000"/>
                <a:gd name="connsiteY39" fmla="*/ 2956 h 10126"/>
                <a:gd name="connsiteX40" fmla="*/ 4831 w 10000"/>
                <a:gd name="connsiteY40" fmla="*/ 2962 h 10126"/>
                <a:gd name="connsiteX41" fmla="*/ 4875 w 10000"/>
                <a:gd name="connsiteY41" fmla="*/ 2962 h 10126"/>
                <a:gd name="connsiteX42" fmla="*/ 4887 w 10000"/>
                <a:gd name="connsiteY42" fmla="*/ 3005 h 10126"/>
                <a:gd name="connsiteX43" fmla="*/ 4918 w 10000"/>
                <a:gd name="connsiteY43" fmla="*/ 3041 h 10126"/>
                <a:gd name="connsiteX44" fmla="*/ 4950 w 10000"/>
                <a:gd name="connsiteY44" fmla="*/ 3059 h 10126"/>
                <a:gd name="connsiteX45" fmla="*/ 4987 w 10000"/>
                <a:gd name="connsiteY45" fmla="*/ 3071 h 10126"/>
                <a:gd name="connsiteX46" fmla="*/ 5019 w 10000"/>
                <a:gd name="connsiteY46" fmla="*/ 3083 h 10126"/>
                <a:gd name="connsiteX47" fmla="*/ 5063 w 10000"/>
                <a:gd name="connsiteY47" fmla="*/ 3083 h 10126"/>
                <a:gd name="connsiteX48" fmla="*/ 5107 w 10000"/>
                <a:gd name="connsiteY48" fmla="*/ 3077 h 10126"/>
                <a:gd name="connsiteX49" fmla="*/ 5157 w 10000"/>
                <a:gd name="connsiteY49" fmla="*/ 3071 h 10126"/>
                <a:gd name="connsiteX50" fmla="*/ 5245 w 10000"/>
                <a:gd name="connsiteY50" fmla="*/ 3053 h 10126"/>
                <a:gd name="connsiteX51" fmla="*/ 5345 w 10000"/>
                <a:gd name="connsiteY51" fmla="*/ 3029 h 10126"/>
                <a:gd name="connsiteX52" fmla="*/ 5383 w 10000"/>
                <a:gd name="connsiteY52" fmla="*/ 3029 h 10126"/>
                <a:gd name="connsiteX53" fmla="*/ 5427 w 10000"/>
                <a:gd name="connsiteY53" fmla="*/ 3023 h 10126"/>
                <a:gd name="connsiteX54" fmla="*/ 5464 w 10000"/>
                <a:gd name="connsiteY54" fmla="*/ 3029 h 10126"/>
                <a:gd name="connsiteX55" fmla="*/ 5502 w 10000"/>
                <a:gd name="connsiteY55" fmla="*/ 3035 h 10126"/>
                <a:gd name="connsiteX56" fmla="*/ 5558 w 10000"/>
                <a:gd name="connsiteY56" fmla="*/ 3071 h 10126"/>
                <a:gd name="connsiteX57" fmla="*/ 5596 w 10000"/>
                <a:gd name="connsiteY57" fmla="*/ 3101 h 10126"/>
                <a:gd name="connsiteX58" fmla="*/ 5634 w 10000"/>
                <a:gd name="connsiteY58" fmla="*/ 3143 h 10126"/>
                <a:gd name="connsiteX59" fmla="*/ 5665 w 10000"/>
                <a:gd name="connsiteY59" fmla="*/ 3179 h 10126"/>
                <a:gd name="connsiteX60" fmla="*/ 5696 w 10000"/>
                <a:gd name="connsiteY60" fmla="*/ 3216 h 10126"/>
                <a:gd name="connsiteX61" fmla="*/ 5734 w 10000"/>
                <a:gd name="connsiteY61" fmla="*/ 3252 h 10126"/>
                <a:gd name="connsiteX62" fmla="*/ 5759 w 10000"/>
                <a:gd name="connsiteY62" fmla="*/ 3270 h 10126"/>
                <a:gd name="connsiteX63" fmla="*/ 5778 w 10000"/>
                <a:gd name="connsiteY63" fmla="*/ 3282 h 10126"/>
                <a:gd name="connsiteX64" fmla="*/ 5803 w 10000"/>
                <a:gd name="connsiteY64" fmla="*/ 3294 h 10126"/>
                <a:gd name="connsiteX65" fmla="*/ 5834 w 10000"/>
                <a:gd name="connsiteY65" fmla="*/ 3300 h 10126"/>
                <a:gd name="connsiteX66" fmla="*/ 5935 w 10000"/>
                <a:gd name="connsiteY66" fmla="*/ 3319 h 10126"/>
                <a:gd name="connsiteX67" fmla="*/ 6073 w 10000"/>
                <a:gd name="connsiteY67" fmla="*/ 3354 h 10126"/>
                <a:gd name="connsiteX68" fmla="*/ 6230 w 10000"/>
                <a:gd name="connsiteY68" fmla="*/ 3390 h 10126"/>
                <a:gd name="connsiteX69" fmla="*/ 6405 w 10000"/>
                <a:gd name="connsiteY69" fmla="*/ 3433 h 10126"/>
                <a:gd name="connsiteX70" fmla="*/ 6568 w 10000"/>
                <a:gd name="connsiteY70" fmla="*/ 3463 h 10126"/>
                <a:gd name="connsiteX71" fmla="*/ 6719 w 10000"/>
                <a:gd name="connsiteY71" fmla="*/ 3487 h 10126"/>
                <a:gd name="connsiteX72" fmla="*/ 6788 w 10000"/>
                <a:gd name="connsiteY72" fmla="*/ 3493 h 10126"/>
                <a:gd name="connsiteX73" fmla="*/ 6838 w 10000"/>
                <a:gd name="connsiteY73" fmla="*/ 3499 h 10126"/>
                <a:gd name="connsiteX74" fmla="*/ 6888 w 10000"/>
                <a:gd name="connsiteY74" fmla="*/ 3493 h 10126"/>
                <a:gd name="connsiteX75" fmla="*/ 6913 w 10000"/>
                <a:gd name="connsiteY75" fmla="*/ 3481 h 10126"/>
                <a:gd name="connsiteX76" fmla="*/ 6888 w 10000"/>
                <a:gd name="connsiteY76" fmla="*/ 3439 h 10126"/>
                <a:gd name="connsiteX77" fmla="*/ 6857 w 10000"/>
                <a:gd name="connsiteY77" fmla="*/ 3390 h 10126"/>
                <a:gd name="connsiteX78" fmla="*/ 6838 w 10000"/>
                <a:gd name="connsiteY78" fmla="*/ 3342 h 10126"/>
                <a:gd name="connsiteX79" fmla="*/ 6826 w 10000"/>
                <a:gd name="connsiteY79" fmla="*/ 3288 h 10126"/>
                <a:gd name="connsiteX80" fmla="*/ 6794 w 10000"/>
                <a:gd name="connsiteY80" fmla="*/ 3197 h 10126"/>
                <a:gd name="connsiteX81" fmla="*/ 6788 w 10000"/>
                <a:gd name="connsiteY81" fmla="*/ 3149 h 10126"/>
                <a:gd name="connsiteX82" fmla="*/ 6788 w 10000"/>
                <a:gd name="connsiteY82" fmla="*/ 2962 h 10126"/>
                <a:gd name="connsiteX83" fmla="*/ 6788 w 10000"/>
                <a:gd name="connsiteY83" fmla="*/ 2776 h 10126"/>
                <a:gd name="connsiteX84" fmla="*/ 6995 w 10000"/>
                <a:gd name="connsiteY84" fmla="*/ 2776 h 10126"/>
                <a:gd name="connsiteX85" fmla="*/ 7033 w 10000"/>
                <a:gd name="connsiteY85" fmla="*/ 2842 h 10126"/>
                <a:gd name="connsiteX86" fmla="*/ 7058 w 10000"/>
                <a:gd name="connsiteY86" fmla="*/ 2884 h 10126"/>
                <a:gd name="connsiteX87" fmla="*/ 7095 w 10000"/>
                <a:gd name="connsiteY87" fmla="*/ 2920 h 10126"/>
                <a:gd name="connsiteX88" fmla="*/ 7127 w 10000"/>
                <a:gd name="connsiteY88" fmla="*/ 2962 h 10126"/>
                <a:gd name="connsiteX89" fmla="*/ 7120 w 10000"/>
                <a:gd name="connsiteY89" fmla="*/ 3059 h 10126"/>
                <a:gd name="connsiteX90" fmla="*/ 7102 w 10000"/>
                <a:gd name="connsiteY90" fmla="*/ 3119 h 10126"/>
                <a:gd name="connsiteX91" fmla="*/ 7089 w 10000"/>
                <a:gd name="connsiteY91" fmla="*/ 3167 h 10126"/>
                <a:gd name="connsiteX92" fmla="*/ 7077 w 10000"/>
                <a:gd name="connsiteY92" fmla="*/ 3222 h 10126"/>
                <a:gd name="connsiteX93" fmla="*/ 7208 w 10000"/>
                <a:gd name="connsiteY93" fmla="*/ 3258 h 10126"/>
                <a:gd name="connsiteX94" fmla="*/ 7334 w 10000"/>
                <a:gd name="connsiteY94" fmla="*/ 3294 h 10126"/>
                <a:gd name="connsiteX95" fmla="*/ 7396 w 10000"/>
                <a:gd name="connsiteY95" fmla="*/ 3313 h 10126"/>
                <a:gd name="connsiteX96" fmla="*/ 7459 w 10000"/>
                <a:gd name="connsiteY96" fmla="*/ 3325 h 10126"/>
                <a:gd name="connsiteX97" fmla="*/ 7522 w 10000"/>
                <a:gd name="connsiteY97" fmla="*/ 3331 h 10126"/>
                <a:gd name="connsiteX98" fmla="*/ 7585 w 10000"/>
                <a:gd name="connsiteY98" fmla="*/ 3336 h 10126"/>
                <a:gd name="connsiteX99" fmla="*/ 7591 w 10000"/>
                <a:gd name="connsiteY99" fmla="*/ 3360 h 10126"/>
                <a:gd name="connsiteX100" fmla="*/ 7604 w 10000"/>
                <a:gd name="connsiteY100" fmla="*/ 3384 h 10126"/>
                <a:gd name="connsiteX101" fmla="*/ 7622 w 10000"/>
                <a:gd name="connsiteY101" fmla="*/ 3402 h 10126"/>
                <a:gd name="connsiteX102" fmla="*/ 7654 w 10000"/>
                <a:gd name="connsiteY102" fmla="*/ 3420 h 10126"/>
                <a:gd name="connsiteX103" fmla="*/ 7704 w 10000"/>
                <a:gd name="connsiteY103" fmla="*/ 3439 h 10126"/>
                <a:gd name="connsiteX104" fmla="*/ 7748 w 10000"/>
                <a:gd name="connsiteY104" fmla="*/ 3445 h 10126"/>
                <a:gd name="connsiteX105" fmla="*/ 7798 w 10000"/>
                <a:gd name="connsiteY105" fmla="*/ 3445 h 10126"/>
                <a:gd name="connsiteX106" fmla="*/ 7836 w 10000"/>
                <a:gd name="connsiteY106" fmla="*/ 3433 h 10126"/>
                <a:gd name="connsiteX107" fmla="*/ 7880 w 10000"/>
                <a:gd name="connsiteY107" fmla="*/ 3414 h 10126"/>
                <a:gd name="connsiteX108" fmla="*/ 7911 w 10000"/>
                <a:gd name="connsiteY108" fmla="*/ 3396 h 10126"/>
                <a:gd name="connsiteX109" fmla="*/ 7949 w 10000"/>
                <a:gd name="connsiteY109" fmla="*/ 3372 h 10126"/>
                <a:gd name="connsiteX110" fmla="*/ 7980 w 10000"/>
                <a:gd name="connsiteY110" fmla="*/ 3342 h 10126"/>
                <a:gd name="connsiteX111" fmla="*/ 8011 w 10000"/>
                <a:gd name="connsiteY111" fmla="*/ 3313 h 10126"/>
                <a:gd name="connsiteX112" fmla="*/ 8036 w 10000"/>
                <a:gd name="connsiteY112" fmla="*/ 3282 h 10126"/>
                <a:gd name="connsiteX113" fmla="*/ 8087 w 10000"/>
                <a:gd name="connsiteY113" fmla="*/ 3203 h 10126"/>
                <a:gd name="connsiteX114" fmla="*/ 8118 w 10000"/>
                <a:gd name="connsiteY114" fmla="*/ 3131 h 10126"/>
                <a:gd name="connsiteX115" fmla="*/ 8149 w 10000"/>
                <a:gd name="connsiteY115" fmla="*/ 3065 h 10126"/>
                <a:gd name="connsiteX116" fmla="*/ 8168 w 10000"/>
                <a:gd name="connsiteY116" fmla="*/ 2999 h 10126"/>
                <a:gd name="connsiteX117" fmla="*/ 8231 w 10000"/>
                <a:gd name="connsiteY117" fmla="*/ 2932 h 10126"/>
                <a:gd name="connsiteX118" fmla="*/ 8294 w 10000"/>
                <a:gd name="connsiteY118" fmla="*/ 2866 h 10126"/>
                <a:gd name="connsiteX119" fmla="*/ 8363 w 10000"/>
                <a:gd name="connsiteY119" fmla="*/ 2813 h 10126"/>
                <a:gd name="connsiteX120" fmla="*/ 8432 w 10000"/>
                <a:gd name="connsiteY120" fmla="*/ 2752 h 10126"/>
                <a:gd name="connsiteX121" fmla="*/ 8507 w 10000"/>
                <a:gd name="connsiteY121" fmla="*/ 2704 h 10126"/>
                <a:gd name="connsiteX122" fmla="*/ 8576 w 10000"/>
                <a:gd name="connsiteY122" fmla="*/ 2656 h 10126"/>
                <a:gd name="connsiteX123" fmla="*/ 8651 w 10000"/>
                <a:gd name="connsiteY123" fmla="*/ 2614 h 10126"/>
                <a:gd name="connsiteX124" fmla="*/ 8726 w 10000"/>
                <a:gd name="connsiteY124" fmla="*/ 2570 h 10126"/>
                <a:gd name="connsiteX125" fmla="*/ 8808 w 10000"/>
                <a:gd name="connsiteY125" fmla="*/ 2528 h 10126"/>
                <a:gd name="connsiteX126" fmla="*/ 8890 w 10000"/>
                <a:gd name="connsiteY126" fmla="*/ 2492 h 10126"/>
                <a:gd name="connsiteX127" fmla="*/ 8971 w 10000"/>
                <a:gd name="connsiteY127" fmla="*/ 2462 h 10126"/>
                <a:gd name="connsiteX128" fmla="*/ 9059 w 10000"/>
                <a:gd name="connsiteY128" fmla="*/ 2432 h 10126"/>
                <a:gd name="connsiteX129" fmla="*/ 9235 w 10000"/>
                <a:gd name="connsiteY129" fmla="*/ 2378 h 10126"/>
                <a:gd name="connsiteX130" fmla="*/ 9417 w 10000"/>
                <a:gd name="connsiteY130" fmla="*/ 2335 h 10126"/>
                <a:gd name="connsiteX131" fmla="*/ 9454 w 10000"/>
                <a:gd name="connsiteY131" fmla="*/ 2384 h 10126"/>
                <a:gd name="connsiteX132" fmla="*/ 9504 w 10000"/>
                <a:gd name="connsiteY132" fmla="*/ 2444 h 10126"/>
                <a:gd name="connsiteX133" fmla="*/ 9573 w 10000"/>
                <a:gd name="connsiteY133" fmla="*/ 2510 h 10126"/>
                <a:gd name="connsiteX134" fmla="*/ 9642 w 10000"/>
                <a:gd name="connsiteY134" fmla="*/ 2583 h 10126"/>
                <a:gd name="connsiteX135" fmla="*/ 9718 w 10000"/>
                <a:gd name="connsiteY135" fmla="*/ 2644 h 10126"/>
                <a:gd name="connsiteX136" fmla="*/ 9799 w 10000"/>
                <a:gd name="connsiteY136" fmla="*/ 2692 h 10126"/>
                <a:gd name="connsiteX137" fmla="*/ 9837 w 10000"/>
                <a:gd name="connsiteY137" fmla="*/ 2716 h 10126"/>
                <a:gd name="connsiteX138" fmla="*/ 9875 w 10000"/>
                <a:gd name="connsiteY138" fmla="*/ 2728 h 10126"/>
                <a:gd name="connsiteX139" fmla="*/ 9918 w 10000"/>
                <a:gd name="connsiteY139" fmla="*/ 2740 h 10126"/>
                <a:gd name="connsiteX140" fmla="*/ 9956 w 10000"/>
                <a:gd name="connsiteY140" fmla="*/ 2740 h 10126"/>
                <a:gd name="connsiteX141" fmla="*/ 10000 w 10000"/>
                <a:gd name="connsiteY141" fmla="*/ 2668 h 10126"/>
                <a:gd name="connsiteX142" fmla="*/ 9975 w 10000"/>
                <a:gd name="connsiteY142" fmla="*/ 2795 h 10126"/>
                <a:gd name="connsiteX143" fmla="*/ 9944 w 10000"/>
                <a:gd name="connsiteY143" fmla="*/ 2938 h 10126"/>
                <a:gd name="connsiteX144" fmla="*/ 9931 w 10000"/>
                <a:gd name="connsiteY144" fmla="*/ 3005 h 10126"/>
                <a:gd name="connsiteX145" fmla="*/ 9906 w 10000"/>
                <a:gd name="connsiteY145" fmla="*/ 3065 h 10126"/>
                <a:gd name="connsiteX146" fmla="*/ 9887 w 10000"/>
                <a:gd name="connsiteY146" fmla="*/ 3089 h 10126"/>
                <a:gd name="connsiteX147" fmla="*/ 9875 w 10000"/>
                <a:gd name="connsiteY147" fmla="*/ 3113 h 10126"/>
                <a:gd name="connsiteX148" fmla="*/ 9856 w 10000"/>
                <a:gd name="connsiteY148" fmla="*/ 3131 h 10126"/>
                <a:gd name="connsiteX149" fmla="*/ 9837 w 10000"/>
                <a:gd name="connsiteY149" fmla="*/ 3149 h 10126"/>
                <a:gd name="connsiteX150" fmla="*/ 9749 w 10000"/>
                <a:gd name="connsiteY150" fmla="*/ 3167 h 10126"/>
                <a:gd name="connsiteX151" fmla="*/ 9605 w 10000"/>
                <a:gd name="connsiteY151" fmla="*/ 3216 h 10126"/>
                <a:gd name="connsiteX152" fmla="*/ 9536 w 10000"/>
                <a:gd name="connsiteY152" fmla="*/ 3258 h 10126"/>
                <a:gd name="connsiteX153" fmla="*/ 9479 w 10000"/>
                <a:gd name="connsiteY153" fmla="*/ 3294 h 10126"/>
                <a:gd name="connsiteX154" fmla="*/ 9448 w 10000"/>
                <a:gd name="connsiteY154" fmla="*/ 3313 h 10126"/>
                <a:gd name="connsiteX155" fmla="*/ 9435 w 10000"/>
                <a:gd name="connsiteY155" fmla="*/ 3331 h 10126"/>
                <a:gd name="connsiteX156" fmla="*/ 9423 w 10000"/>
                <a:gd name="connsiteY156" fmla="*/ 3354 h 10126"/>
                <a:gd name="connsiteX157" fmla="*/ 9417 w 10000"/>
                <a:gd name="connsiteY157" fmla="*/ 3372 h 10126"/>
                <a:gd name="connsiteX158" fmla="*/ 9423 w 10000"/>
                <a:gd name="connsiteY158" fmla="*/ 3583 h 10126"/>
                <a:gd name="connsiteX159" fmla="*/ 9417 w 10000"/>
                <a:gd name="connsiteY159" fmla="*/ 3824 h 10126"/>
                <a:gd name="connsiteX160" fmla="*/ 9398 w 10000"/>
                <a:gd name="connsiteY160" fmla="*/ 3884 h 10126"/>
                <a:gd name="connsiteX161" fmla="*/ 9391 w 10000"/>
                <a:gd name="connsiteY161" fmla="*/ 3950 h 10126"/>
                <a:gd name="connsiteX162" fmla="*/ 9379 w 10000"/>
                <a:gd name="connsiteY162" fmla="*/ 4004 h 10126"/>
                <a:gd name="connsiteX163" fmla="*/ 9366 w 10000"/>
                <a:gd name="connsiteY163" fmla="*/ 4059 h 10126"/>
                <a:gd name="connsiteX164" fmla="*/ 9348 w 10000"/>
                <a:gd name="connsiteY164" fmla="*/ 4108 h 10126"/>
                <a:gd name="connsiteX165" fmla="*/ 9316 w 10000"/>
                <a:gd name="connsiteY165" fmla="*/ 4156 h 10126"/>
                <a:gd name="connsiteX166" fmla="*/ 9285 w 10000"/>
                <a:gd name="connsiteY166" fmla="*/ 4192 h 10126"/>
                <a:gd name="connsiteX167" fmla="*/ 9247 w 10000"/>
                <a:gd name="connsiteY167" fmla="*/ 4222 h 10126"/>
                <a:gd name="connsiteX168" fmla="*/ 9228 w 10000"/>
                <a:gd name="connsiteY168" fmla="*/ 4240 h 10126"/>
                <a:gd name="connsiteX169" fmla="*/ 9184 w 10000"/>
                <a:gd name="connsiteY169" fmla="*/ 4246 h 10126"/>
                <a:gd name="connsiteX170" fmla="*/ 9141 w 10000"/>
                <a:gd name="connsiteY170" fmla="*/ 4252 h 10126"/>
                <a:gd name="connsiteX171" fmla="*/ 9090 w 10000"/>
                <a:gd name="connsiteY171" fmla="*/ 4258 h 10126"/>
                <a:gd name="connsiteX172" fmla="*/ 9040 w 10000"/>
                <a:gd name="connsiteY172" fmla="*/ 4264 h 10126"/>
                <a:gd name="connsiteX173" fmla="*/ 8996 w 10000"/>
                <a:gd name="connsiteY173" fmla="*/ 4283 h 10126"/>
                <a:gd name="connsiteX174" fmla="*/ 8977 w 10000"/>
                <a:gd name="connsiteY174" fmla="*/ 4289 h 10126"/>
                <a:gd name="connsiteX175" fmla="*/ 8965 w 10000"/>
                <a:gd name="connsiteY175" fmla="*/ 4307 h 10126"/>
                <a:gd name="connsiteX176" fmla="*/ 8959 w 10000"/>
                <a:gd name="connsiteY176" fmla="*/ 4319 h 10126"/>
                <a:gd name="connsiteX177" fmla="*/ 8959 w 10000"/>
                <a:gd name="connsiteY177" fmla="*/ 4337 h 10126"/>
                <a:gd name="connsiteX178" fmla="*/ 8952 w 10000"/>
                <a:gd name="connsiteY178" fmla="*/ 4408 h 10126"/>
                <a:gd name="connsiteX179" fmla="*/ 8952 w 10000"/>
                <a:gd name="connsiteY179" fmla="*/ 4493 h 10126"/>
                <a:gd name="connsiteX180" fmla="*/ 8940 w 10000"/>
                <a:gd name="connsiteY180" fmla="*/ 4583 h 10126"/>
                <a:gd name="connsiteX181" fmla="*/ 8927 w 10000"/>
                <a:gd name="connsiteY181" fmla="*/ 4667 h 10126"/>
                <a:gd name="connsiteX182" fmla="*/ 8908 w 10000"/>
                <a:gd name="connsiteY182" fmla="*/ 4753 h 10126"/>
                <a:gd name="connsiteX183" fmla="*/ 8890 w 10000"/>
                <a:gd name="connsiteY183" fmla="*/ 4831 h 10126"/>
                <a:gd name="connsiteX184" fmla="*/ 8864 w 10000"/>
                <a:gd name="connsiteY184" fmla="*/ 4902 h 10126"/>
                <a:gd name="connsiteX185" fmla="*/ 8833 w 10000"/>
                <a:gd name="connsiteY185" fmla="*/ 4969 h 10126"/>
                <a:gd name="connsiteX186" fmla="*/ 8538 w 10000"/>
                <a:gd name="connsiteY186" fmla="*/ 4480 h 10126"/>
                <a:gd name="connsiteX187" fmla="*/ 8526 w 10000"/>
                <a:gd name="connsiteY187" fmla="*/ 4505 h 10126"/>
                <a:gd name="connsiteX188" fmla="*/ 8494 w 10000"/>
                <a:gd name="connsiteY188" fmla="*/ 4559 h 10126"/>
                <a:gd name="connsiteX189" fmla="*/ 8463 w 10000"/>
                <a:gd name="connsiteY189" fmla="*/ 4589 h 10126"/>
                <a:gd name="connsiteX190" fmla="*/ 8438 w 10000"/>
                <a:gd name="connsiteY190" fmla="*/ 4613 h 10126"/>
                <a:gd name="connsiteX191" fmla="*/ 8407 w 10000"/>
                <a:gd name="connsiteY191" fmla="*/ 4631 h 10126"/>
                <a:gd name="connsiteX192" fmla="*/ 8375 w 10000"/>
                <a:gd name="connsiteY192" fmla="*/ 4637 h 10126"/>
                <a:gd name="connsiteX193" fmla="*/ 8338 w 10000"/>
                <a:gd name="connsiteY193" fmla="*/ 4631 h 10126"/>
                <a:gd name="connsiteX194" fmla="*/ 8312 w 10000"/>
                <a:gd name="connsiteY194" fmla="*/ 4625 h 10126"/>
                <a:gd name="connsiteX195" fmla="*/ 8287 w 10000"/>
                <a:gd name="connsiteY195" fmla="*/ 4607 h 10126"/>
                <a:gd name="connsiteX196" fmla="*/ 8256 w 10000"/>
                <a:gd name="connsiteY196" fmla="*/ 4589 h 10126"/>
                <a:gd name="connsiteX197" fmla="*/ 8237 w 10000"/>
                <a:gd name="connsiteY197" fmla="*/ 4559 h 10126"/>
                <a:gd name="connsiteX198" fmla="*/ 8225 w 10000"/>
                <a:gd name="connsiteY198" fmla="*/ 4535 h 10126"/>
                <a:gd name="connsiteX199" fmla="*/ 8206 w 10000"/>
                <a:gd name="connsiteY199" fmla="*/ 4511 h 10126"/>
                <a:gd name="connsiteX200" fmla="*/ 8206 w 10000"/>
                <a:gd name="connsiteY200" fmla="*/ 4480 h 10126"/>
                <a:gd name="connsiteX201" fmla="*/ 8206 w 10000"/>
                <a:gd name="connsiteY201" fmla="*/ 4444 h 10126"/>
                <a:gd name="connsiteX202" fmla="*/ 8225 w 10000"/>
                <a:gd name="connsiteY202" fmla="*/ 4408 h 10126"/>
                <a:gd name="connsiteX203" fmla="*/ 8237 w 10000"/>
                <a:gd name="connsiteY203" fmla="*/ 4372 h 10126"/>
                <a:gd name="connsiteX204" fmla="*/ 8250 w 10000"/>
                <a:gd name="connsiteY204" fmla="*/ 4337 h 10126"/>
                <a:gd name="connsiteX205" fmla="*/ 8300 w 10000"/>
                <a:gd name="connsiteY205" fmla="*/ 4270 h 10126"/>
                <a:gd name="connsiteX206" fmla="*/ 8356 w 10000"/>
                <a:gd name="connsiteY206" fmla="*/ 4204 h 10126"/>
                <a:gd name="connsiteX207" fmla="*/ 8407 w 10000"/>
                <a:gd name="connsiteY207" fmla="*/ 4144 h 10126"/>
                <a:gd name="connsiteX208" fmla="*/ 8457 w 10000"/>
                <a:gd name="connsiteY208" fmla="*/ 4078 h 10126"/>
                <a:gd name="connsiteX209" fmla="*/ 8469 w 10000"/>
                <a:gd name="connsiteY209" fmla="*/ 4041 h 10126"/>
                <a:gd name="connsiteX210" fmla="*/ 8482 w 10000"/>
                <a:gd name="connsiteY210" fmla="*/ 4010 h 10126"/>
                <a:gd name="connsiteX211" fmla="*/ 8501 w 10000"/>
                <a:gd name="connsiteY211" fmla="*/ 3968 h 10126"/>
                <a:gd name="connsiteX212" fmla="*/ 8501 w 10000"/>
                <a:gd name="connsiteY212" fmla="*/ 3932 h 10126"/>
                <a:gd name="connsiteX213" fmla="*/ 7748 w 10000"/>
                <a:gd name="connsiteY213" fmla="*/ 3932 h 10126"/>
                <a:gd name="connsiteX214" fmla="*/ 7723 w 10000"/>
                <a:gd name="connsiteY214" fmla="*/ 3926 h 10126"/>
                <a:gd name="connsiteX215" fmla="*/ 7685 w 10000"/>
                <a:gd name="connsiteY215" fmla="*/ 3908 h 10126"/>
                <a:gd name="connsiteX216" fmla="*/ 7660 w 10000"/>
                <a:gd name="connsiteY216" fmla="*/ 3872 h 10126"/>
                <a:gd name="connsiteX217" fmla="*/ 7635 w 10000"/>
                <a:gd name="connsiteY217" fmla="*/ 3836 h 10126"/>
                <a:gd name="connsiteX218" fmla="*/ 7616 w 10000"/>
                <a:gd name="connsiteY218" fmla="*/ 3788 h 10126"/>
                <a:gd name="connsiteX219" fmla="*/ 7597 w 10000"/>
                <a:gd name="connsiteY219" fmla="*/ 3740 h 10126"/>
                <a:gd name="connsiteX220" fmla="*/ 7591 w 10000"/>
                <a:gd name="connsiteY220" fmla="*/ 3686 h 10126"/>
                <a:gd name="connsiteX221" fmla="*/ 7585 w 10000"/>
                <a:gd name="connsiteY221" fmla="*/ 3631 h 10126"/>
                <a:gd name="connsiteX222" fmla="*/ 7547 w 10000"/>
                <a:gd name="connsiteY222" fmla="*/ 3631 h 10126"/>
                <a:gd name="connsiteX223" fmla="*/ 7516 w 10000"/>
                <a:gd name="connsiteY223" fmla="*/ 3625 h 10126"/>
                <a:gd name="connsiteX224" fmla="*/ 7478 w 10000"/>
                <a:gd name="connsiteY224" fmla="*/ 3619 h 10126"/>
                <a:gd name="connsiteX225" fmla="*/ 7447 w 10000"/>
                <a:gd name="connsiteY225" fmla="*/ 3607 h 10126"/>
                <a:gd name="connsiteX226" fmla="*/ 7415 w 10000"/>
                <a:gd name="connsiteY226" fmla="*/ 3589 h 10126"/>
                <a:gd name="connsiteX227" fmla="*/ 7396 w 10000"/>
                <a:gd name="connsiteY227" fmla="*/ 3571 h 10126"/>
                <a:gd name="connsiteX228" fmla="*/ 7384 w 10000"/>
                <a:gd name="connsiteY228" fmla="*/ 3541 h 10126"/>
                <a:gd name="connsiteX229" fmla="*/ 7378 w 10000"/>
                <a:gd name="connsiteY229" fmla="*/ 3517 h 10126"/>
                <a:gd name="connsiteX230" fmla="*/ 7321 w 10000"/>
                <a:gd name="connsiteY230" fmla="*/ 3517 h 10126"/>
                <a:gd name="connsiteX231" fmla="*/ 7271 w 10000"/>
                <a:gd name="connsiteY231" fmla="*/ 3517 h 10126"/>
                <a:gd name="connsiteX232" fmla="*/ 7221 w 10000"/>
                <a:gd name="connsiteY232" fmla="*/ 3517 h 10126"/>
                <a:gd name="connsiteX233" fmla="*/ 7171 w 10000"/>
                <a:gd name="connsiteY233" fmla="*/ 3517 h 10126"/>
                <a:gd name="connsiteX234" fmla="*/ 7127 w 10000"/>
                <a:gd name="connsiteY234" fmla="*/ 3523 h 10126"/>
                <a:gd name="connsiteX235" fmla="*/ 7095 w 10000"/>
                <a:gd name="connsiteY235" fmla="*/ 3529 h 10126"/>
                <a:gd name="connsiteX236" fmla="*/ 7051 w 10000"/>
                <a:gd name="connsiteY236" fmla="*/ 3547 h 10126"/>
                <a:gd name="connsiteX237" fmla="*/ 7008 w 10000"/>
                <a:gd name="connsiteY237" fmla="*/ 3571 h 10126"/>
                <a:gd name="connsiteX238" fmla="*/ 6976 w 10000"/>
                <a:gd name="connsiteY238" fmla="*/ 3601 h 10126"/>
                <a:gd name="connsiteX239" fmla="*/ 6939 w 10000"/>
                <a:gd name="connsiteY239" fmla="*/ 3631 h 10126"/>
                <a:gd name="connsiteX240" fmla="*/ 6920 w 10000"/>
                <a:gd name="connsiteY240" fmla="*/ 3668 h 10126"/>
                <a:gd name="connsiteX241" fmla="*/ 6913 w 10000"/>
                <a:gd name="connsiteY241" fmla="*/ 3704 h 10126"/>
                <a:gd name="connsiteX242" fmla="*/ 6926 w 10000"/>
                <a:gd name="connsiteY242" fmla="*/ 3728 h 10126"/>
                <a:gd name="connsiteX243" fmla="*/ 6964 w 10000"/>
                <a:gd name="connsiteY243" fmla="*/ 3758 h 10126"/>
                <a:gd name="connsiteX244" fmla="*/ 7008 w 10000"/>
                <a:gd name="connsiteY244" fmla="*/ 3794 h 10126"/>
                <a:gd name="connsiteX245" fmla="*/ 7070 w 10000"/>
                <a:gd name="connsiteY245" fmla="*/ 3830 h 10126"/>
                <a:gd name="connsiteX246" fmla="*/ 7133 w 10000"/>
                <a:gd name="connsiteY246" fmla="*/ 3866 h 10126"/>
                <a:gd name="connsiteX247" fmla="*/ 7196 w 10000"/>
                <a:gd name="connsiteY247" fmla="*/ 3896 h 10126"/>
                <a:gd name="connsiteX248" fmla="*/ 7252 w 10000"/>
                <a:gd name="connsiteY248" fmla="*/ 3920 h 10126"/>
                <a:gd name="connsiteX249" fmla="*/ 7290 w 10000"/>
                <a:gd name="connsiteY249" fmla="*/ 3932 h 10126"/>
                <a:gd name="connsiteX250" fmla="*/ 7208 w 10000"/>
                <a:gd name="connsiteY250" fmla="*/ 3992 h 10126"/>
                <a:gd name="connsiteX251" fmla="*/ 7114 w 10000"/>
                <a:gd name="connsiteY251" fmla="*/ 4066 h 10126"/>
                <a:gd name="connsiteX252" fmla="*/ 7070 w 10000"/>
                <a:gd name="connsiteY252" fmla="*/ 4102 h 10126"/>
                <a:gd name="connsiteX253" fmla="*/ 7033 w 10000"/>
                <a:gd name="connsiteY253" fmla="*/ 4144 h 10126"/>
                <a:gd name="connsiteX254" fmla="*/ 7020 w 10000"/>
                <a:gd name="connsiteY254" fmla="*/ 4162 h 10126"/>
                <a:gd name="connsiteX255" fmla="*/ 7008 w 10000"/>
                <a:gd name="connsiteY255" fmla="*/ 4180 h 10126"/>
                <a:gd name="connsiteX256" fmla="*/ 7001 w 10000"/>
                <a:gd name="connsiteY256" fmla="*/ 4204 h 10126"/>
                <a:gd name="connsiteX257" fmla="*/ 6995 w 10000"/>
                <a:gd name="connsiteY257" fmla="*/ 4222 h 10126"/>
                <a:gd name="connsiteX258" fmla="*/ 7001 w 10000"/>
                <a:gd name="connsiteY258" fmla="*/ 4252 h 10126"/>
                <a:gd name="connsiteX259" fmla="*/ 7008 w 10000"/>
                <a:gd name="connsiteY259" fmla="*/ 4270 h 10126"/>
                <a:gd name="connsiteX260" fmla="*/ 7026 w 10000"/>
                <a:gd name="connsiteY260" fmla="*/ 4295 h 10126"/>
                <a:gd name="connsiteX261" fmla="*/ 7039 w 10000"/>
                <a:gd name="connsiteY261" fmla="*/ 4319 h 10126"/>
                <a:gd name="connsiteX262" fmla="*/ 7089 w 10000"/>
                <a:gd name="connsiteY262" fmla="*/ 4366 h 10126"/>
                <a:gd name="connsiteX263" fmla="*/ 7146 w 10000"/>
                <a:gd name="connsiteY263" fmla="*/ 4414 h 10126"/>
                <a:gd name="connsiteX264" fmla="*/ 7208 w 10000"/>
                <a:gd name="connsiteY264" fmla="*/ 4456 h 10126"/>
                <a:gd name="connsiteX265" fmla="*/ 7277 w 10000"/>
                <a:gd name="connsiteY265" fmla="*/ 4493 h 10126"/>
                <a:gd name="connsiteX266" fmla="*/ 7315 w 10000"/>
                <a:gd name="connsiteY266" fmla="*/ 4505 h 10126"/>
                <a:gd name="connsiteX267" fmla="*/ 7346 w 10000"/>
                <a:gd name="connsiteY267" fmla="*/ 4511 h 10126"/>
                <a:gd name="connsiteX268" fmla="*/ 7384 w 10000"/>
                <a:gd name="connsiteY268" fmla="*/ 4517 h 10126"/>
                <a:gd name="connsiteX269" fmla="*/ 7415 w 10000"/>
                <a:gd name="connsiteY269" fmla="*/ 4523 h 10126"/>
                <a:gd name="connsiteX270" fmla="*/ 7585 w 10000"/>
                <a:gd name="connsiteY270" fmla="*/ 5150 h 10126"/>
                <a:gd name="connsiteX271" fmla="*/ 7491 w 10000"/>
                <a:gd name="connsiteY271" fmla="*/ 5150 h 10126"/>
                <a:gd name="connsiteX272" fmla="*/ 7403 w 10000"/>
                <a:gd name="connsiteY272" fmla="*/ 5150 h 10126"/>
                <a:gd name="connsiteX273" fmla="*/ 7321 w 10000"/>
                <a:gd name="connsiteY273" fmla="*/ 5150 h 10126"/>
                <a:gd name="connsiteX274" fmla="*/ 7252 w 10000"/>
                <a:gd name="connsiteY274" fmla="*/ 5150 h 10126"/>
                <a:gd name="connsiteX275" fmla="*/ 7208 w 10000"/>
                <a:gd name="connsiteY275" fmla="*/ 5144 h 10126"/>
                <a:gd name="connsiteX276" fmla="*/ 7164 w 10000"/>
                <a:gd name="connsiteY276" fmla="*/ 5113 h 10126"/>
                <a:gd name="connsiteX277" fmla="*/ 7133 w 10000"/>
                <a:gd name="connsiteY277" fmla="*/ 5101 h 10126"/>
                <a:gd name="connsiteX278" fmla="*/ 7102 w 10000"/>
                <a:gd name="connsiteY278" fmla="*/ 5089 h 10126"/>
                <a:gd name="connsiteX279" fmla="*/ 7070 w 10000"/>
                <a:gd name="connsiteY279" fmla="*/ 5083 h 10126"/>
                <a:gd name="connsiteX280" fmla="*/ 7039 w 10000"/>
                <a:gd name="connsiteY280" fmla="*/ 5077 h 10126"/>
                <a:gd name="connsiteX281" fmla="*/ 7008 w 10000"/>
                <a:gd name="connsiteY281" fmla="*/ 5089 h 10126"/>
                <a:gd name="connsiteX282" fmla="*/ 6957 w 10000"/>
                <a:gd name="connsiteY282" fmla="*/ 5119 h 10126"/>
                <a:gd name="connsiteX283" fmla="*/ 6895 w 10000"/>
                <a:gd name="connsiteY283" fmla="*/ 5162 h 10126"/>
                <a:gd name="connsiteX284" fmla="*/ 6819 w 10000"/>
                <a:gd name="connsiteY284" fmla="*/ 5210 h 10126"/>
                <a:gd name="connsiteX285" fmla="*/ 6744 w 10000"/>
                <a:gd name="connsiteY285" fmla="*/ 5270 h 10126"/>
                <a:gd name="connsiteX286" fmla="*/ 6681 w 10000"/>
                <a:gd name="connsiteY286" fmla="*/ 5318 h 10126"/>
                <a:gd name="connsiteX287" fmla="*/ 6637 w 10000"/>
                <a:gd name="connsiteY287" fmla="*/ 5354 h 10126"/>
                <a:gd name="connsiteX288" fmla="*/ 6625 w 10000"/>
                <a:gd name="connsiteY288" fmla="*/ 5378 h 10126"/>
                <a:gd name="connsiteX289" fmla="*/ 6750 w 10000"/>
                <a:gd name="connsiteY289" fmla="*/ 5450 h 10126"/>
                <a:gd name="connsiteX290" fmla="*/ 6744 w 10000"/>
                <a:gd name="connsiteY290" fmla="*/ 5487 h 10126"/>
                <a:gd name="connsiteX291" fmla="*/ 6725 w 10000"/>
                <a:gd name="connsiteY291" fmla="*/ 5529 h 10126"/>
                <a:gd name="connsiteX292" fmla="*/ 6706 w 10000"/>
                <a:gd name="connsiteY292" fmla="*/ 5560 h 10126"/>
                <a:gd name="connsiteX293" fmla="*/ 6688 w 10000"/>
                <a:gd name="connsiteY293" fmla="*/ 5602 h 10126"/>
                <a:gd name="connsiteX294" fmla="*/ 6637 w 10000"/>
                <a:gd name="connsiteY294" fmla="*/ 5656 h 10126"/>
                <a:gd name="connsiteX295" fmla="*/ 6581 w 10000"/>
                <a:gd name="connsiteY295" fmla="*/ 5710 h 10126"/>
                <a:gd name="connsiteX296" fmla="*/ 6518 w 10000"/>
                <a:gd name="connsiteY296" fmla="*/ 5758 h 10126"/>
                <a:gd name="connsiteX297" fmla="*/ 6443 w 10000"/>
                <a:gd name="connsiteY297" fmla="*/ 5801 h 10126"/>
                <a:gd name="connsiteX298" fmla="*/ 6374 w 10000"/>
                <a:gd name="connsiteY298" fmla="*/ 5837 h 10126"/>
                <a:gd name="connsiteX299" fmla="*/ 6299 w 10000"/>
                <a:gd name="connsiteY299" fmla="*/ 5872 h 10126"/>
                <a:gd name="connsiteX300" fmla="*/ 6223 w 10000"/>
                <a:gd name="connsiteY300" fmla="*/ 5920 h 10126"/>
                <a:gd name="connsiteX301" fmla="*/ 6154 w 10000"/>
                <a:gd name="connsiteY301" fmla="*/ 5956 h 10126"/>
                <a:gd name="connsiteX302" fmla="*/ 6092 w 10000"/>
                <a:gd name="connsiteY302" fmla="*/ 5999 h 10126"/>
                <a:gd name="connsiteX303" fmla="*/ 6035 w 10000"/>
                <a:gd name="connsiteY303" fmla="*/ 6047 h 10126"/>
                <a:gd name="connsiteX304" fmla="*/ 6004 w 10000"/>
                <a:gd name="connsiteY304" fmla="*/ 6071 h 10126"/>
                <a:gd name="connsiteX305" fmla="*/ 5985 w 10000"/>
                <a:gd name="connsiteY305" fmla="*/ 6095 h 10126"/>
                <a:gd name="connsiteX306" fmla="*/ 5966 w 10000"/>
                <a:gd name="connsiteY306" fmla="*/ 6125 h 10126"/>
                <a:gd name="connsiteX307" fmla="*/ 5947 w 10000"/>
                <a:gd name="connsiteY307" fmla="*/ 6155 h 10126"/>
                <a:gd name="connsiteX308" fmla="*/ 5935 w 10000"/>
                <a:gd name="connsiteY308" fmla="*/ 6193 h 10126"/>
                <a:gd name="connsiteX309" fmla="*/ 5922 w 10000"/>
                <a:gd name="connsiteY309" fmla="*/ 6223 h 10126"/>
                <a:gd name="connsiteX310" fmla="*/ 5916 w 10000"/>
                <a:gd name="connsiteY310" fmla="*/ 6265 h 10126"/>
                <a:gd name="connsiteX311" fmla="*/ 5916 w 10000"/>
                <a:gd name="connsiteY311" fmla="*/ 6307 h 10126"/>
                <a:gd name="connsiteX312" fmla="*/ 5859 w 10000"/>
                <a:gd name="connsiteY312" fmla="*/ 6325 h 10126"/>
                <a:gd name="connsiteX313" fmla="*/ 5809 w 10000"/>
                <a:gd name="connsiteY313" fmla="*/ 6343 h 10126"/>
                <a:gd name="connsiteX314" fmla="*/ 5765 w 10000"/>
                <a:gd name="connsiteY314" fmla="*/ 6366 h 10126"/>
                <a:gd name="connsiteX315" fmla="*/ 5721 w 10000"/>
                <a:gd name="connsiteY315" fmla="*/ 6390 h 10126"/>
                <a:gd name="connsiteX316" fmla="*/ 5634 w 10000"/>
                <a:gd name="connsiteY316" fmla="*/ 6451 h 10126"/>
                <a:gd name="connsiteX317" fmla="*/ 5558 w 10000"/>
                <a:gd name="connsiteY317" fmla="*/ 6523 h 10126"/>
                <a:gd name="connsiteX318" fmla="*/ 5420 w 10000"/>
                <a:gd name="connsiteY318" fmla="*/ 6686 h 10126"/>
                <a:gd name="connsiteX319" fmla="*/ 5289 w 10000"/>
                <a:gd name="connsiteY319" fmla="*/ 6860 h 10126"/>
                <a:gd name="connsiteX320" fmla="*/ 5220 w 10000"/>
                <a:gd name="connsiteY320" fmla="*/ 6951 h 10126"/>
                <a:gd name="connsiteX321" fmla="*/ 5151 w 10000"/>
                <a:gd name="connsiteY321" fmla="*/ 7029 h 10126"/>
                <a:gd name="connsiteX322" fmla="*/ 5075 w 10000"/>
                <a:gd name="connsiteY322" fmla="*/ 7102 h 10126"/>
                <a:gd name="connsiteX323" fmla="*/ 4994 w 10000"/>
                <a:gd name="connsiteY323" fmla="*/ 7168 h 10126"/>
                <a:gd name="connsiteX324" fmla="*/ 4944 w 10000"/>
                <a:gd name="connsiteY324" fmla="*/ 7198 h 10126"/>
                <a:gd name="connsiteX325" fmla="*/ 4893 w 10000"/>
                <a:gd name="connsiteY325" fmla="*/ 7222 h 10126"/>
                <a:gd name="connsiteX326" fmla="*/ 4849 w 10000"/>
                <a:gd name="connsiteY326" fmla="*/ 7246 h 10126"/>
                <a:gd name="connsiteX327" fmla="*/ 4793 w 10000"/>
                <a:gd name="connsiteY327" fmla="*/ 7271 h 10126"/>
                <a:gd name="connsiteX328" fmla="*/ 4730 w 10000"/>
                <a:gd name="connsiteY328" fmla="*/ 7289 h 10126"/>
                <a:gd name="connsiteX329" fmla="*/ 4674 w 10000"/>
                <a:gd name="connsiteY329" fmla="*/ 7301 h 10126"/>
                <a:gd name="connsiteX330" fmla="*/ 4605 w 10000"/>
                <a:gd name="connsiteY330" fmla="*/ 7307 h 10126"/>
                <a:gd name="connsiteX331" fmla="*/ 4536 w 10000"/>
                <a:gd name="connsiteY331" fmla="*/ 7307 h 10126"/>
                <a:gd name="connsiteX332" fmla="*/ 4536 w 10000"/>
                <a:gd name="connsiteY332" fmla="*/ 7360 h 10126"/>
                <a:gd name="connsiteX333" fmla="*/ 4536 w 10000"/>
                <a:gd name="connsiteY333" fmla="*/ 7414 h 10126"/>
                <a:gd name="connsiteX334" fmla="*/ 4536 w 10000"/>
                <a:gd name="connsiteY334" fmla="*/ 7456 h 10126"/>
                <a:gd name="connsiteX335" fmla="*/ 4536 w 10000"/>
                <a:gd name="connsiteY335" fmla="*/ 7493 h 10126"/>
                <a:gd name="connsiteX336" fmla="*/ 4536 w 10000"/>
                <a:gd name="connsiteY336" fmla="*/ 7559 h 10126"/>
                <a:gd name="connsiteX337" fmla="*/ 4536 w 10000"/>
                <a:gd name="connsiteY337" fmla="*/ 7662 h 10126"/>
                <a:gd name="connsiteX338" fmla="*/ 4536 w 10000"/>
                <a:gd name="connsiteY338" fmla="*/ 7771 h 10126"/>
                <a:gd name="connsiteX339" fmla="*/ 4548 w 10000"/>
                <a:gd name="connsiteY339" fmla="*/ 7884 h 10126"/>
                <a:gd name="connsiteX340" fmla="*/ 4561 w 10000"/>
                <a:gd name="connsiteY340" fmla="*/ 7945 h 10126"/>
                <a:gd name="connsiteX341" fmla="*/ 4573 w 10000"/>
                <a:gd name="connsiteY341" fmla="*/ 7999 h 10126"/>
                <a:gd name="connsiteX342" fmla="*/ 4586 w 10000"/>
                <a:gd name="connsiteY342" fmla="*/ 8047 h 10126"/>
                <a:gd name="connsiteX343" fmla="*/ 4611 w 10000"/>
                <a:gd name="connsiteY343" fmla="*/ 8089 h 10126"/>
                <a:gd name="connsiteX344" fmla="*/ 4636 w 10000"/>
                <a:gd name="connsiteY344" fmla="*/ 8132 h 10126"/>
                <a:gd name="connsiteX345" fmla="*/ 4668 w 10000"/>
                <a:gd name="connsiteY345" fmla="*/ 8162 h 10126"/>
                <a:gd name="connsiteX346" fmla="*/ 4705 w 10000"/>
                <a:gd name="connsiteY346" fmla="*/ 8186 h 10126"/>
                <a:gd name="connsiteX347" fmla="*/ 4749 w 10000"/>
                <a:gd name="connsiteY347" fmla="*/ 8198 h 10126"/>
                <a:gd name="connsiteX348" fmla="*/ 4711 w 10000"/>
                <a:gd name="connsiteY348" fmla="*/ 8294 h 10126"/>
                <a:gd name="connsiteX349" fmla="*/ 4668 w 10000"/>
                <a:gd name="connsiteY349" fmla="*/ 8379 h 10126"/>
                <a:gd name="connsiteX350" fmla="*/ 4617 w 10000"/>
                <a:gd name="connsiteY350" fmla="*/ 8457 h 10126"/>
                <a:gd name="connsiteX351" fmla="*/ 4573 w 10000"/>
                <a:gd name="connsiteY351" fmla="*/ 8529 h 10126"/>
                <a:gd name="connsiteX352" fmla="*/ 4523 w 10000"/>
                <a:gd name="connsiteY352" fmla="*/ 8614 h 10126"/>
                <a:gd name="connsiteX353" fmla="*/ 4492 w 10000"/>
                <a:gd name="connsiteY353" fmla="*/ 8692 h 10126"/>
                <a:gd name="connsiteX354" fmla="*/ 4473 w 10000"/>
                <a:gd name="connsiteY354" fmla="*/ 8728 h 10126"/>
                <a:gd name="connsiteX355" fmla="*/ 4467 w 10000"/>
                <a:gd name="connsiteY355" fmla="*/ 8771 h 10126"/>
                <a:gd name="connsiteX356" fmla="*/ 4460 w 10000"/>
                <a:gd name="connsiteY356" fmla="*/ 8819 h 10126"/>
                <a:gd name="connsiteX357" fmla="*/ 4454 w 10000"/>
                <a:gd name="connsiteY357" fmla="*/ 8861 h 10126"/>
                <a:gd name="connsiteX358" fmla="*/ 4460 w 10000"/>
                <a:gd name="connsiteY358" fmla="*/ 8878 h 10126"/>
                <a:gd name="connsiteX359" fmla="*/ 4467 w 10000"/>
                <a:gd name="connsiteY359" fmla="*/ 8890 h 10126"/>
                <a:gd name="connsiteX360" fmla="*/ 4479 w 10000"/>
                <a:gd name="connsiteY360" fmla="*/ 8902 h 10126"/>
                <a:gd name="connsiteX361" fmla="*/ 4504 w 10000"/>
                <a:gd name="connsiteY361" fmla="*/ 8914 h 10126"/>
                <a:gd name="connsiteX362" fmla="*/ 4542 w 10000"/>
                <a:gd name="connsiteY362" fmla="*/ 8938 h 10126"/>
                <a:gd name="connsiteX363" fmla="*/ 4580 w 10000"/>
                <a:gd name="connsiteY363" fmla="*/ 8944 h 10126"/>
                <a:gd name="connsiteX364" fmla="*/ 4580 w 10000"/>
                <a:gd name="connsiteY364" fmla="*/ 9162 h 10126"/>
                <a:gd name="connsiteX365" fmla="*/ 4529 w 10000"/>
                <a:gd name="connsiteY365" fmla="*/ 9247 h 10126"/>
                <a:gd name="connsiteX366" fmla="*/ 4492 w 10000"/>
                <a:gd name="connsiteY366" fmla="*/ 9337 h 10126"/>
                <a:gd name="connsiteX367" fmla="*/ 4460 w 10000"/>
                <a:gd name="connsiteY367" fmla="*/ 9372 h 10126"/>
                <a:gd name="connsiteX368" fmla="*/ 4429 w 10000"/>
                <a:gd name="connsiteY368" fmla="*/ 9397 h 10126"/>
                <a:gd name="connsiteX369" fmla="*/ 4404 w 10000"/>
                <a:gd name="connsiteY369" fmla="*/ 9409 h 10126"/>
                <a:gd name="connsiteX370" fmla="*/ 4385 w 10000"/>
                <a:gd name="connsiteY370" fmla="*/ 9415 h 10126"/>
                <a:gd name="connsiteX371" fmla="*/ 4360 w 10000"/>
                <a:gd name="connsiteY371" fmla="*/ 9421 h 10126"/>
                <a:gd name="connsiteX372" fmla="*/ 4329 w 10000"/>
                <a:gd name="connsiteY372" fmla="*/ 9421 h 10126"/>
                <a:gd name="connsiteX373" fmla="*/ 4329 w 10000"/>
                <a:gd name="connsiteY373" fmla="*/ 9469 h 10126"/>
                <a:gd name="connsiteX374" fmla="*/ 4335 w 10000"/>
                <a:gd name="connsiteY374" fmla="*/ 9529 h 10126"/>
                <a:gd name="connsiteX375" fmla="*/ 4348 w 10000"/>
                <a:gd name="connsiteY375" fmla="*/ 9559 h 10126"/>
                <a:gd name="connsiteX376" fmla="*/ 4354 w 10000"/>
                <a:gd name="connsiteY376" fmla="*/ 9583 h 10126"/>
                <a:gd name="connsiteX377" fmla="*/ 4360 w 10000"/>
                <a:gd name="connsiteY377" fmla="*/ 9602 h 10126"/>
                <a:gd name="connsiteX378" fmla="*/ 4373 w 10000"/>
                <a:gd name="connsiteY378" fmla="*/ 9608 h 10126"/>
                <a:gd name="connsiteX379" fmla="*/ 4210 w 10000"/>
                <a:gd name="connsiteY379" fmla="*/ 9734 h 10126"/>
                <a:gd name="connsiteX380" fmla="*/ 4072 w 10000"/>
                <a:gd name="connsiteY380" fmla="*/ 9838 h 10126"/>
                <a:gd name="connsiteX381" fmla="*/ 4009 w 10000"/>
                <a:gd name="connsiteY381" fmla="*/ 9897 h 10126"/>
                <a:gd name="connsiteX382" fmla="*/ 3952 w 10000"/>
                <a:gd name="connsiteY382" fmla="*/ 9963 h 10126"/>
                <a:gd name="connsiteX383" fmla="*/ 3890 w 10000"/>
                <a:gd name="connsiteY383" fmla="*/ 10042 h 10126"/>
                <a:gd name="connsiteX384" fmla="*/ 3833 w 10000"/>
                <a:gd name="connsiteY384" fmla="*/ 10126 h 10126"/>
                <a:gd name="connsiteX385" fmla="*/ 3733 w 10000"/>
                <a:gd name="connsiteY385" fmla="*/ 10084 h 10126"/>
                <a:gd name="connsiteX386" fmla="*/ 3664 w 10000"/>
                <a:gd name="connsiteY386" fmla="*/ 10042 h 10126"/>
                <a:gd name="connsiteX387" fmla="*/ 3607 w 10000"/>
                <a:gd name="connsiteY387" fmla="*/ 9999 h 10126"/>
                <a:gd name="connsiteX388" fmla="*/ 3563 w 10000"/>
                <a:gd name="connsiteY388" fmla="*/ 9951 h 10126"/>
                <a:gd name="connsiteX389" fmla="*/ 3532 w 10000"/>
                <a:gd name="connsiteY389" fmla="*/ 9891 h 10126"/>
                <a:gd name="connsiteX390" fmla="*/ 3513 w 10000"/>
                <a:gd name="connsiteY390" fmla="*/ 9832 h 10126"/>
                <a:gd name="connsiteX391" fmla="*/ 3482 w 10000"/>
                <a:gd name="connsiteY391" fmla="*/ 9758 h 10126"/>
                <a:gd name="connsiteX392" fmla="*/ 3457 w 10000"/>
                <a:gd name="connsiteY392" fmla="*/ 9686 h 10126"/>
                <a:gd name="connsiteX393" fmla="*/ 3400 w 10000"/>
                <a:gd name="connsiteY393" fmla="*/ 9547 h 10126"/>
                <a:gd name="connsiteX394" fmla="*/ 3325 w 10000"/>
                <a:gd name="connsiteY394" fmla="*/ 9415 h 10126"/>
                <a:gd name="connsiteX395" fmla="*/ 3237 w 10000"/>
                <a:gd name="connsiteY395" fmla="*/ 9277 h 10126"/>
                <a:gd name="connsiteX396" fmla="*/ 3143 w 10000"/>
                <a:gd name="connsiteY396" fmla="*/ 9132 h 10126"/>
                <a:gd name="connsiteX397" fmla="*/ 3049 w 10000"/>
                <a:gd name="connsiteY397" fmla="*/ 8999 h 10126"/>
                <a:gd name="connsiteX398" fmla="*/ 2967 w 10000"/>
                <a:gd name="connsiteY398" fmla="*/ 8867 h 10126"/>
                <a:gd name="connsiteX399" fmla="*/ 2892 w 10000"/>
                <a:gd name="connsiteY399" fmla="*/ 8747 h 10126"/>
                <a:gd name="connsiteX400" fmla="*/ 2829 w 10000"/>
                <a:gd name="connsiteY400" fmla="*/ 8644 h 10126"/>
                <a:gd name="connsiteX401" fmla="*/ 2773 w 10000"/>
                <a:gd name="connsiteY401" fmla="*/ 8529 h 10126"/>
                <a:gd name="connsiteX402" fmla="*/ 2735 w 10000"/>
                <a:gd name="connsiteY402" fmla="*/ 8427 h 10126"/>
                <a:gd name="connsiteX403" fmla="*/ 2698 w 10000"/>
                <a:gd name="connsiteY403" fmla="*/ 8319 h 10126"/>
                <a:gd name="connsiteX404" fmla="*/ 2666 w 10000"/>
                <a:gd name="connsiteY404" fmla="*/ 8210 h 10126"/>
                <a:gd name="connsiteX405" fmla="*/ 2629 w 10000"/>
                <a:gd name="connsiteY405" fmla="*/ 8101 h 10126"/>
                <a:gd name="connsiteX406" fmla="*/ 2597 w 10000"/>
                <a:gd name="connsiteY406" fmla="*/ 7993 h 10126"/>
                <a:gd name="connsiteX407" fmla="*/ 2553 w 10000"/>
                <a:gd name="connsiteY407" fmla="*/ 7872 h 10126"/>
                <a:gd name="connsiteX408" fmla="*/ 2497 w 10000"/>
                <a:gd name="connsiteY408" fmla="*/ 7753 h 10126"/>
                <a:gd name="connsiteX409" fmla="*/ 2359 w 10000"/>
                <a:gd name="connsiteY409" fmla="*/ 7559 h 10126"/>
                <a:gd name="connsiteX410" fmla="*/ 2208 w 10000"/>
                <a:gd name="connsiteY410" fmla="*/ 7378 h 10126"/>
                <a:gd name="connsiteX411" fmla="*/ 2139 w 10000"/>
                <a:gd name="connsiteY411" fmla="*/ 7295 h 10126"/>
                <a:gd name="connsiteX412" fmla="*/ 2070 w 10000"/>
                <a:gd name="connsiteY412" fmla="*/ 7198 h 10126"/>
                <a:gd name="connsiteX413" fmla="*/ 2008 w 10000"/>
                <a:gd name="connsiteY413" fmla="*/ 7108 h 10126"/>
                <a:gd name="connsiteX414" fmla="*/ 1957 w 10000"/>
                <a:gd name="connsiteY414" fmla="*/ 7011 h 10126"/>
                <a:gd name="connsiteX415" fmla="*/ 1888 w 10000"/>
                <a:gd name="connsiteY415" fmla="*/ 6776 h 10126"/>
                <a:gd name="connsiteX416" fmla="*/ 1832 w 10000"/>
                <a:gd name="connsiteY416" fmla="*/ 6559 h 10126"/>
                <a:gd name="connsiteX417" fmla="*/ 1782 w 10000"/>
                <a:gd name="connsiteY417" fmla="*/ 6349 h 10126"/>
                <a:gd name="connsiteX418" fmla="*/ 1757 w 10000"/>
                <a:gd name="connsiteY418" fmla="*/ 6137 h 10126"/>
                <a:gd name="connsiteX419" fmla="*/ 1725 w 10000"/>
                <a:gd name="connsiteY419" fmla="*/ 5932 h 10126"/>
                <a:gd name="connsiteX420" fmla="*/ 1713 w 10000"/>
                <a:gd name="connsiteY420" fmla="*/ 5716 h 10126"/>
                <a:gd name="connsiteX421" fmla="*/ 1706 w 10000"/>
                <a:gd name="connsiteY421" fmla="*/ 5493 h 10126"/>
                <a:gd name="connsiteX422" fmla="*/ 1706 w 10000"/>
                <a:gd name="connsiteY422" fmla="*/ 5270 h 10126"/>
                <a:gd name="connsiteX423" fmla="*/ 1681 w 10000"/>
                <a:gd name="connsiteY423" fmla="*/ 5264 h 10126"/>
                <a:gd name="connsiteX424" fmla="*/ 1650 w 10000"/>
                <a:gd name="connsiteY424" fmla="*/ 5258 h 10126"/>
                <a:gd name="connsiteX425" fmla="*/ 1625 w 10000"/>
                <a:gd name="connsiteY425" fmla="*/ 5252 h 10126"/>
                <a:gd name="connsiteX426" fmla="*/ 1606 w 10000"/>
                <a:gd name="connsiteY426" fmla="*/ 5228 h 10126"/>
                <a:gd name="connsiteX427" fmla="*/ 1581 w 10000"/>
                <a:gd name="connsiteY427" fmla="*/ 5216 h 10126"/>
                <a:gd name="connsiteX428" fmla="*/ 1568 w 10000"/>
                <a:gd name="connsiteY428" fmla="*/ 5198 h 10126"/>
                <a:gd name="connsiteX429" fmla="*/ 1550 w 10000"/>
                <a:gd name="connsiteY429" fmla="*/ 5174 h 10126"/>
                <a:gd name="connsiteX430" fmla="*/ 1543 w 10000"/>
                <a:gd name="connsiteY430" fmla="*/ 5150 h 10126"/>
                <a:gd name="connsiteX431" fmla="*/ 1518 w 10000"/>
                <a:gd name="connsiteY431" fmla="*/ 5101 h 10126"/>
                <a:gd name="connsiteX432" fmla="*/ 1506 w 10000"/>
                <a:gd name="connsiteY432" fmla="*/ 5047 h 10126"/>
                <a:gd name="connsiteX433" fmla="*/ 1499 w 10000"/>
                <a:gd name="connsiteY433" fmla="*/ 4987 h 10126"/>
                <a:gd name="connsiteX434" fmla="*/ 1499 w 10000"/>
                <a:gd name="connsiteY434" fmla="*/ 4933 h 10126"/>
                <a:gd name="connsiteX435" fmla="*/ 1443 w 10000"/>
                <a:gd name="connsiteY435" fmla="*/ 4969 h 10126"/>
                <a:gd name="connsiteX436" fmla="*/ 1405 w 10000"/>
                <a:gd name="connsiteY436" fmla="*/ 5011 h 10126"/>
                <a:gd name="connsiteX437" fmla="*/ 1361 w 10000"/>
                <a:gd name="connsiteY437" fmla="*/ 5053 h 10126"/>
                <a:gd name="connsiteX438" fmla="*/ 1317 w 10000"/>
                <a:gd name="connsiteY438" fmla="*/ 5101 h 10126"/>
                <a:gd name="connsiteX439" fmla="*/ 1261 w 10000"/>
                <a:gd name="connsiteY439" fmla="*/ 5198 h 10126"/>
                <a:gd name="connsiteX440" fmla="*/ 1205 w 10000"/>
                <a:gd name="connsiteY440" fmla="*/ 5300 h 10126"/>
                <a:gd name="connsiteX441" fmla="*/ 1167 w 10000"/>
                <a:gd name="connsiteY441" fmla="*/ 5343 h 10126"/>
                <a:gd name="connsiteX442" fmla="*/ 1142 w 10000"/>
                <a:gd name="connsiteY442" fmla="*/ 5384 h 10126"/>
                <a:gd name="connsiteX443" fmla="*/ 1104 w 10000"/>
                <a:gd name="connsiteY443" fmla="*/ 5426 h 10126"/>
                <a:gd name="connsiteX444" fmla="*/ 1073 w 10000"/>
                <a:gd name="connsiteY444" fmla="*/ 5456 h 10126"/>
                <a:gd name="connsiteX445" fmla="*/ 1029 w 10000"/>
                <a:gd name="connsiteY445" fmla="*/ 5487 h 10126"/>
                <a:gd name="connsiteX446" fmla="*/ 985 w 10000"/>
                <a:gd name="connsiteY446" fmla="*/ 5505 h 10126"/>
                <a:gd name="connsiteX447" fmla="*/ 928 w 10000"/>
                <a:gd name="connsiteY447" fmla="*/ 5517 h 10126"/>
                <a:gd name="connsiteX448" fmla="*/ 872 w 10000"/>
                <a:gd name="connsiteY448" fmla="*/ 5523 h 10126"/>
                <a:gd name="connsiteX449" fmla="*/ 841 w 10000"/>
                <a:gd name="connsiteY449" fmla="*/ 5517 h 10126"/>
                <a:gd name="connsiteX450" fmla="*/ 797 w 10000"/>
                <a:gd name="connsiteY450" fmla="*/ 5505 h 10126"/>
                <a:gd name="connsiteX451" fmla="*/ 753 w 10000"/>
                <a:gd name="connsiteY451" fmla="*/ 5487 h 10126"/>
                <a:gd name="connsiteX452" fmla="*/ 709 w 10000"/>
                <a:gd name="connsiteY452" fmla="*/ 5456 h 10126"/>
                <a:gd name="connsiteX453" fmla="*/ 659 w 10000"/>
                <a:gd name="connsiteY453" fmla="*/ 5420 h 10126"/>
                <a:gd name="connsiteX454" fmla="*/ 609 w 10000"/>
                <a:gd name="connsiteY454" fmla="*/ 5384 h 10126"/>
                <a:gd name="connsiteX455" fmla="*/ 565 w 10000"/>
                <a:gd name="connsiteY455" fmla="*/ 5343 h 10126"/>
                <a:gd name="connsiteX456" fmla="*/ 514 w 10000"/>
                <a:gd name="connsiteY456" fmla="*/ 5294 h 10126"/>
                <a:gd name="connsiteX457" fmla="*/ 471 w 10000"/>
                <a:gd name="connsiteY457" fmla="*/ 5246 h 10126"/>
                <a:gd name="connsiteX458" fmla="*/ 433 w 10000"/>
                <a:gd name="connsiteY458" fmla="*/ 5192 h 10126"/>
                <a:gd name="connsiteX459" fmla="*/ 389 w 10000"/>
                <a:gd name="connsiteY459" fmla="*/ 5138 h 10126"/>
                <a:gd name="connsiteX460" fmla="*/ 358 w 10000"/>
                <a:gd name="connsiteY460" fmla="*/ 5083 h 10126"/>
                <a:gd name="connsiteX461" fmla="*/ 326 w 10000"/>
                <a:gd name="connsiteY461" fmla="*/ 5035 h 10126"/>
                <a:gd name="connsiteX462" fmla="*/ 307 w 10000"/>
                <a:gd name="connsiteY462" fmla="*/ 4987 h 10126"/>
                <a:gd name="connsiteX463" fmla="*/ 295 w 10000"/>
                <a:gd name="connsiteY463" fmla="*/ 4939 h 10126"/>
                <a:gd name="connsiteX464" fmla="*/ 289 w 10000"/>
                <a:gd name="connsiteY464" fmla="*/ 4890 h 10126"/>
                <a:gd name="connsiteX465" fmla="*/ 320 w 10000"/>
                <a:gd name="connsiteY465" fmla="*/ 4872 h 10126"/>
                <a:gd name="connsiteX466" fmla="*/ 395 w 10000"/>
                <a:gd name="connsiteY466" fmla="*/ 4837 h 10126"/>
                <a:gd name="connsiteX467" fmla="*/ 483 w 10000"/>
                <a:gd name="connsiteY467" fmla="*/ 4801 h 10126"/>
                <a:gd name="connsiteX468" fmla="*/ 533 w 10000"/>
                <a:gd name="connsiteY468" fmla="*/ 4783 h 10126"/>
                <a:gd name="connsiteX469" fmla="*/ 483 w 10000"/>
                <a:gd name="connsiteY469" fmla="*/ 4783 h 10126"/>
                <a:gd name="connsiteX470" fmla="*/ 420 w 10000"/>
                <a:gd name="connsiteY470" fmla="*/ 4777 h 10126"/>
                <a:gd name="connsiteX471" fmla="*/ 370 w 10000"/>
                <a:gd name="connsiteY471" fmla="*/ 4765 h 10126"/>
                <a:gd name="connsiteX472" fmla="*/ 320 w 10000"/>
                <a:gd name="connsiteY472" fmla="*/ 4759 h 10126"/>
                <a:gd name="connsiteX473" fmla="*/ 276 w 10000"/>
                <a:gd name="connsiteY473" fmla="*/ 4740 h 10126"/>
                <a:gd name="connsiteX474" fmla="*/ 232 w 10000"/>
                <a:gd name="connsiteY474" fmla="*/ 4728 h 10126"/>
                <a:gd name="connsiteX475" fmla="*/ 188 w 10000"/>
                <a:gd name="connsiteY475" fmla="*/ 4710 h 10126"/>
                <a:gd name="connsiteX476" fmla="*/ 157 w 10000"/>
                <a:gd name="connsiteY476" fmla="*/ 4685 h 10126"/>
                <a:gd name="connsiteX477" fmla="*/ 132 w 10000"/>
                <a:gd name="connsiteY477" fmla="*/ 4661 h 10126"/>
                <a:gd name="connsiteX478" fmla="*/ 100 w 10000"/>
                <a:gd name="connsiteY478" fmla="*/ 4637 h 10126"/>
                <a:gd name="connsiteX479" fmla="*/ 75 w 10000"/>
                <a:gd name="connsiteY479" fmla="*/ 4607 h 10126"/>
                <a:gd name="connsiteX480" fmla="*/ 50 w 10000"/>
                <a:gd name="connsiteY480" fmla="*/ 4583 h 10126"/>
                <a:gd name="connsiteX481" fmla="*/ 19 w 10000"/>
                <a:gd name="connsiteY481" fmla="*/ 4511 h 10126"/>
                <a:gd name="connsiteX482" fmla="*/ 0 w 10000"/>
                <a:gd name="connsiteY482" fmla="*/ 4444 h 10126"/>
                <a:gd name="connsiteX483" fmla="*/ 63 w 10000"/>
                <a:gd name="connsiteY483" fmla="*/ 4396 h 10126"/>
                <a:gd name="connsiteX484" fmla="*/ 132 w 10000"/>
                <a:gd name="connsiteY484" fmla="*/ 4360 h 10126"/>
                <a:gd name="connsiteX485" fmla="*/ 201 w 10000"/>
                <a:gd name="connsiteY485" fmla="*/ 4331 h 10126"/>
                <a:gd name="connsiteX486" fmla="*/ 276 w 10000"/>
                <a:gd name="connsiteY486" fmla="*/ 4307 h 10126"/>
                <a:gd name="connsiteX487" fmla="*/ 420 w 10000"/>
                <a:gd name="connsiteY487" fmla="*/ 4277 h 10126"/>
                <a:gd name="connsiteX488" fmla="*/ 565 w 10000"/>
                <a:gd name="connsiteY488" fmla="*/ 4252 h 10126"/>
                <a:gd name="connsiteX489" fmla="*/ 640 w 10000"/>
                <a:gd name="connsiteY489" fmla="*/ 4240 h 10126"/>
                <a:gd name="connsiteX490" fmla="*/ 709 w 10000"/>
                <a:gd name="connsiteY490" fmla="*/ 4216 h 10126"/>
                <a:gd name="connsiteX491" fmla="*/ 772 w 10000"/>
                <a:gd name="connsiteY491" fmla="*/ 4198 h 10126"/>
                <a:gd name="connsiteX492" fmla="*/ 834 w 10000"/>
                <a:gd name="connsiteY492" fmla="*/ 4168 h 10126"/>
                <a:gd name="connsiteX493" fmla="*/ 891 w 10000"/>
                <a:gd name="connsiteY493" fmla="*/ 4138 h 10126"/>
                <a:gd name="connsiteX494" fmla="*/ 947 w 10000"/>
                <a:gd name="connsiteY494" fmla="*/ 4090 h 10126"/>
                <a:gd name="connsiteX495" fmla="*/ 997 w 10000"/>
                <a:gd name="connsiteY495" fmla="*/ 4035 h 10126"/>
                <a:gd name="connsiteX496" fmla="*/ 1035 w 10000"/>
                <a:gd name="connsiteY496" fmla="*/ 3968 h 10126"/>
                <a:gd name="connsiteX497" fmla="*/ 1010 w 10000"/>
                <a:gd name="connsiteY497" fmla="*/ 3956 h 10126"/>
                <a:gd name="connsiteX498" fmla="*/ 985 w 10000"/>
                <a:gd name="connsiteY498" fmla="*/ 3938 h 10126"/>
                <a:gd name="connsiteX499" fmla="*/ 947 w 10000"/>
                <a:gd name="connsiteY499" fmla="*/ 3914 h 10126"/>
                <a:gd name="connsiteX500" fmla="*/ 910 w 10000"/>
                <a:gd name="connsiteY500" fmla="*/ 3878 h 10126"/>
                <a:gd name="connsiteX501" fmla="*/ 822 w 10000"/>
                <a:gd name="connsiteY501" fmla="*/ 3806 h 10126"/>
                <a:gd name="connsiteX502" fmla="*/ 740 w 10000"/>
                <a:gd name="connsiteY502" fmla="*/ 3722 h 10126"/>
                <a:gd name="connsiteX503" fmla="*/ 665 w 10000"/>
                <a:gd name="connsiteY503" fmla="*/ 3631 h 10126"/>
                <a:gd name="connsiteX504" fmla="*/ 596 w 10000"/>
                <a:gd name="connsiteY504" fmla="*/ 3535 h 10126"/>
                <a:gd name="connsiteX505" fmla="*/ 577 w 10000"/>
                <a:gd name="connsiteY505" fmla="*/ 3493 h 10126"/>
                <a:gd name="connsiteX506" fmla="*/ 558 w 10000"/>
                <a:gd name="connsiteY506" fmla="*/ 3451 h 10126"/>
                <a:gd name="connsiteX507" fmla="*/ 540 w 10000"/>
                <a:gd name="connsiteY507" fmla="*/ 3408 h 10126"/>
                <a:gd name="connsiteX508" fmla="*/ 533 w 10000"/>
                <a:gd name="connsiteY508" fmla="*/ 3372 h 10126"/>
                <a:gd name="connsiteX509" fmla="*/ 508 w 10000"/>
                <a:gd name="connsiteY509" fmla="*/ 3366 h 10126"/>
                <a:gd name="connsiteX510" fmla="*/ 483 w 10000"/>
                <a:gd name="connsiteY510" fmla="*/ 3360 h 10126"/>
                <a:gd name="connsiteX511" fmla="*/ 458 w 10000"/>
                <a:gd name="connsiteY511" fmla="*/ 3348 h 10126"/>
                <a:gd name="connsiteX512" fmla="*/ 439 w 10000"/>
                <a:gd name="connsiteY512" fmla="*/ 3325 h 10126"/>
                <a:gd name="connsiteX513" fmla="*/ 402 w 10000"/>
                <a:gd name="connsiteY513" fmla="*/ 3282 h 10126"/>
                <a:gd name="connsiteX514" fmla="*/ 370 w 10000"/>
                <a:gd name="connsiteY514" fmla="*/ 3222 h 10126"/>
                <a:gd name="connsiteX515" fmla="*/ 370 w 10000"/>
                <a:gd name="connsiteY515" fmla="*/ 3077 h 10126"/>
                <a:gd name="connsiteX516" fmla="*/ 458 w 10000"/>
                <a:gd name="connsiteY516" fmla="*/ 3071 h 10126"/>
                <a:gd name="connsiteX517" fmla="*/ 540 w 10000"/>
                <a:gd name="connsiteY517" fmla="*/ 3065 h 10126"/>
                <a:gd name="connsiteX518" fmla="*/ 615 w 10000"/>
                <a:gd name="connsiteY518" fmla="*/ 3053 h 10126"/>
                <a:gd name="connsiteX519" fmla="*/ 684 w 10000"/>
                <a:gd name="connsiteY519" fmla="*/ 3029 h 10126"/>
                <a:gd name="connsiteX520" fmla="*/ 747 w 10000"/>
                <a:gd name="connsiteY520" fmla="*/ 3011 h 10126"/>
                <a:gd name="connsiteX521" fmla="*/ 809 w 10000"/>
                <a:gd name="connsiteY521" fmla="*/ 2980 h 10126"/>
                <a:gd name="connsiteX522" fmla="*/ 866 w 10000"/>
                <a:gd name="connsiteY522" fmla="*/ 2950 h 10126"/>
                <a:gd name="connsiteX523" fmla="*/ 922 w 10000"/>
                <a:gd name="connsiteY523" fmla="*/ 2914 h 10126"/>
                <a:gd name="connsiteX524" fmla="*/ 966 w 10000"/>
                <a:gd name="connsiteY524" fmla="*/ 2872 h 10126"/>
                <a:gd name="connsiteX525" fmla="*/ 1016 w 10000"/>
                <a:gd name="connsiteY525" fmla="*/ 2831 h 10126"/>
                <a:gd name="connsiteX526" fmla="*/ 1060 w 10000"/>
                <a:gd name="connsiteY526" fmla="*/ 2789 h 10126"/>
                <a:gd name="connsiteX527" fmla="*/ 1098 w 10000"/>
                <a:gd name="connsiteY527" fmla="*/ 2740 h 10126"/>
                <a:gd name="connsiteX528" fmla="*/ 1167 w 10000"/>
                <a:gd name="connsiteY528" fmla="*/ 2644 h 10126"/>
                <a:gd name="connsiteX529" fmla="*/ 1236 w 10000"/>
                <a:gd name="connsiteY529" fmla="*/ 2534 h 10126"/>
                <a:gd name="connsiteX530" fmla="*/ 1355 w 10000"/>
                <a:gd name="connsiteY530" fmla="*/ 2318 h 10126"/>
                <a:gd name="connsiteX531" fmla="*/ 1474 w 10000"/>
                <a:gd name="connsiteY531" fmla="*/ 2101 h 10126"/>
                <a:gd name="connsiteX532" fmla="*/ 1543 w 10000"/>
                <a:gd name="connsiteY532" fmla="*/ 2005 h 10126"/>
                <a:gd name="connsiteX533" fmla="*/ 1612 w 10000"/>
                <a:gd name="connsiteY533" fmla="*/ 1920 h 10126"/>
                <a:gd name="connsiteX534" fmla="*/ 1650 w 10000"/>
                <a:gd name="connsiteY534" fmla="*/ 1871 h 10126"/>
                <a:gd name="connsiteX535" fmla="*/ 1694 w 10000"/>
                <a:gd name="connsiteY535" fmla="*/ 1835 h 10126"/>
                <a:gd name="connsiteX536" fmla="*/ 1738 w 10000"/>
                <a:gd name="connsiteY536" fmla="*/ 1806 h 10126"/>
                <a:gd name="connsiteX537" fmla="*/ 1788 w 10000"/>
                <a:gd name="connsiteY537" fmla="*/ 1776 h 10126"/>
                <a:gd name="connsiteX538" fmla="*/ 1750 w 10000"/>
                <a:gd name="connsiteY538" fmla="*/ 1703 h 10126"/>
                <a:gd name="connsiteX539" fmla="*/ 1719 w 10000"/>
                <a:gd name="connsiteY539" fmla="*/ 1637 h 10126"/>
                <a:gd name="connsiteX540" fmla="*/ 1713 w 10000"/>
                <a:gd name="connsiteY540" fmla="*/ 1607 h 10126"/>
                <a:gd name="connsiteX541" fmla="*/ 1706 w 10000"/>
                <a:gd name="connsiteY541" fmla="*/ 1577 h 10126"/>
                <a:gd name="connsiteX542" fmla="*/ 1706 w 10000"/>
                <a:gd name="connsiteY542" fmla="*/ 1541 h 10126"/>
                <a:gd name="connsiteX543" fmla="*/ 1706 w 10000"/>
                <a:gd name="connsiteY543" fmla="*/ 1511 h 10126"/>
                <a:gd name="connsiteX544" fmla="*/ 1713 w 10000"/>
                <a:gd name="connsiteY544" fmla="*/ 1480 h 10126"/>
                <a:gd name="connsiteX545" fmla="*/ 1719 w 10000"/>
                <a:gd name="connsiteY545" fmla="*/ 1450 h 10126"/>
                <a:gd name="connsiteX546" fmla="*/ 1731 w 10000"/>
                <a:gd name="connsiteY546" fmla="*/ 1426 h 10126"/>
                <a:gd name="connsiteX547" fmla="*/ 1757 w 10000"/>
                <a:gd name="connsiteY547" fmla="*/ 1402 h 10126"/>
                <a:gd name="connsiteX548" fmla="*/ 1775 w 10000"/>
                <a:gd name="connsiteY548" fmla="*/ 1384 h 10126"/>
                <a:gd name="connsiteX549" fmla="*/ 1801 w 10000"/>
                <a:gd name="connsiteY549" fmla="*/ 1366 h 10126"/>
                <a:gd name="connsiteX550" fmla="*/ 1838 w 10000"/>
                <a:gd name="connsiteY550" fmla="*/ 1348 h 10126"/>
                <a:gd name="connsiteX551" fmla="*/ 1870 w 10000"/>
                <a:gd name="connsiteY551" fmla="*/ 1330 h 10126"/>
                <a:gd name="connsiteX552" fmla="*/ 1788 w 10000"/>
                <a:gd name="connsiteY552" fmla="*/ 1240 h 10126"/>
                <a:gd name="connsiteX553" fmla="*/ 1688 w 10000"/>
                <a:gd name="connsiteY553" fmla="*/ 1168 h 10126"/>
                <a:gd name="connsiteX554" fmla="*/ 1550 w 10000"/>
                <a:gd name="connsiteY554" fmla="*/ 1046 h 10126"/>
                <a:gd name="connsiteX555" fmla="*/ 1487 w 10000"/>
                <a:gd name="connsiteY555" fmla="*/ 986 h 10126"/>
                <a:gd name="connsiteX556" fmla="*/ 1383 w 10000"/>
                <a:gd name="connsiteY556" fmla="*/ 868 h 10126"/>
                <a:gd name="connsiteX557" fmla="*/ 1426 w 10000"/>
                <a:gd name="connsiteY557" fmla="*/ 764 h 10126"/>
                <a:gd name="connsiteX558" fmla="*/ 1603 w 10000"/>
                <a:gd name="connsiteY558" fmla="*/ 650 h 10126"/>
                <a:gd name="connsiteX559" fmla="*/ 1708 w 10000"/>
                <a:gd name="connsiteY559" fmla="*/ 605 h 10126"/>
                <a:gd name="connsiteX560" fmla="*/ 1673 w 10000"/>
                <a:gd name="connsiteY560" fmla="*/ 540 h 10126"/>
                <a:gd name="connsiteX561" fmla="*/ 1606 w 10000"/>
                <a:gd name="connsiteY561" fmla="*/ 463 h 10126"/>
                <a:gd name="connsiteX562" fmla="*/ 1539 w 10000"/>
                <a:gd name="connsiteY562" fmla="*/ 431 h 10126"/>
                <a:gd name="connsiteX563" fmla="*/ 1539 w 10000"/>
                <a:gd name="connsiteY563" fmla="*/ 366 h 10126"/>
                <a:gd name="connsiteX564" fmla="*/ 1473 w 10000"/>
                <a:gd name="connsiteY564" fmla="*/ 296 h 10126"/>
                <a:gd name="connsiteX565" fmla="*/ 1341 w 10000"/>
                <a:gd name="connsiteY565" fmla="*/ 236 h 10126"/>
                <a:gd name="connsiteX566" fmla="*/ 1490 w 10000"/>
                <a:gd name="connsiteY566" fmla="*/ 123 h 10126"/>
                <a:gd name="connsiteX567" fmla="*/ 1654 w 10000"/>
                <a:gd name="connsiteY567" fmla="*/ 0 h 10126"/>
                <a:gd name="connsiteX568" fmla="*/ 1895 w 10000"/>
                <a:gd name="connsiteY568" fmla="*/ 61 h 10126"/>
                <a:gd name="connsiteX569" fmla="*/ 2151 w 10000"/>
                <a:gd name="connsiteY569" fmla="*/ 94 h 10126"/>
                <a:gd name="connsiteX570" fmla="*/ 2280 w 10000"/>
                <a:gd name="connsiteY570" fmla="*/ 123 h 10126"/>
                <a:gd name="connsiteX571" fmla="*/ 2517 w 10000"/>
                <a:gd name="connsiteY571"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093 w 10000"/>
                <a:gd name="connsiteY4" fmla="*/ 619 h 10126"/>
                <a:gd name="connsiteX5" fmla="*/ 2992 w 10000"/>
                <a:gd name="connsiteY5" fmla="*/ 710 h 10126"/>
                <a:gd name="connsiteX6" fmla="*/ 3043 w 10000"/>
                <a:gd name="connsiteY6" fmla="*/ 734 h 10126"/>
                <a:gd name="connsiteX7" fmla="*/ 3087 w 10000"/>
                <a:gd name="connsiteY7" fmla="*/ 776 h 10126"/>
                <a:gd name="connsiteX8" fmla="*/ 3130 w 10000"/>
                <a:gd name="connsiteY8" fmla="*/ 823 h 10126"/>
                <a:gd name="connsiteX9" fmla="*/ 3174 w 10000"/>
                <a:gd name="connsiteY9" fmla="*/ 872 h 10126"/>
                <a:gd name="connsiteX10" fmla="*/ 3256 w 10000"/>
                <a:gd name="connsiteY10" fmla="*/ 986 h 10126"/>
                <a:gd name="connsiteX11" fmla="*/ 3281 w 10000"/>
                <a:gd name="connsiteY11" fmla="*/ 1046 h 10126"/>
                <a:gd name="connsiteX12" fmla="*/ 3312 w 10000"/>
                <a:gd name="connsiteY12" fmla="*/ 1113 h 10126"/>
                <a:gd name="connsiteX13" fmla="*/ 3331 w 10000"/>
                <a:gd name="connsiteY13" fmla="*/ 1180 h 10126"/>
                <a:gd name="connsiteX14" fmla="*/ 3043 w 10000"/>
                <a:gd name="connsiteY14" fmla="*/ 1180 h 10126"/>
                <a:gd name="connsiteX15" fmla="*/ 3043 w 10000"/>
                <a:gd name="connsiteY15" fmla="*/ 1366 h 10126"/>
                <a:gd name="connsiteX16" fmla="*/ 3074 w 10000"/>
                <a:gd name="connsiteY16" fmla="*/ 1444 h 10126"/>
                <a:gd name="connsiteX17" fmla="*/ 3118 w 10000"/>
                <a:gd name="connsiteY17" fmla="*/ 1511 h 10126"/>
                <a:gd name="connsiteX18" fmla="*/ 3168 w 10000"/>
                <a:gd name="connsiteY18" fmla="*/ 1571 h 10126"/>
                <a:gd name="connsiteX19" fmla="*/ 3225 w 10000"/>
                <a:gd name="connsiteY19" fmla="*/ 1613 h 10126"/>
                <a:gd name="connsiteX20" fmla="*/ 3281 w 10000"/>
                <a:gd name="connsiteY20" fmla="*/ 1655 h 10126"/>
                <a:gd name="connsiteX21" fmla="*/ 3350 w 10000"/>
                <a:gd name="connsiteY21" fmla="*/ 1685 h 10126"/>
                <a:gd name="connsiteX22" fmla="*/ 3413 w 10000"/>
                <a:gd name="connsiteY22" fmla="*/ 1715 h 10126"/>
                <a:gd name="connsiteX23" fmla="*/ 3488 w 10000"/>
                <a:gd name="connsiteY23" fmla="*/ 1740 h 10126"/>
                <a:gd name="connsiteX24" fmla="*/ 3626 w 10000"/>
                <a:gd name="connsiteY24" fmla="*/ 1794 h 10126"/>
                <a:gd name="connsiteX25" fmla="*/ 3764 w 10000"/>
                <a:gd name="connsiteY25" fmla="*/ 1847 h 10126"/>
                <a:gd name="connsiteX26" fmla="*/ 3827 w 10000"/>
                <a:gd name="connsiteY26" fmla="*/ 1884 h 10126"/>
                <a:gd name="connsiteX27" fmla="*/ 3890 w 10000"/>
                <a:gd name="connsiteY27" fmla="*/ 1932 h 10126"/>
                <a:gd name="connsiteX28" fmla="*/ 3946 w 10000"/>
                <a:gd name="connsiteY28" fmla="*/ 1981 h 10126"/>
                <a:gd name="connsiteX29" fmla="*/ 4003 w 10000"/>
                <a:gd name="connsiteY29" fmla="*/ 2035 h 10126"/>
                <a:gd name="connsiteX30" fmla="*/ 3959 w 10000"/>
                <a:gd name="connsiteY30" fmla="*/ 2596 h 10126"/>
                <a:gd name="connsiteX31" fmla="*/ 4034 w 10000"/>
                <a:gd name="connsiteY31" fmla="*/ 2650 h 10126"/>
                <a:gd name="connsiteX32" fmla="*/ 4141 w 10000"/>
                <a:gd name="connsiteY32" fmla="*/ 2716 h 10126"/>
                <a:gd name="connsiteX33" fmla="*/ 4260 w 10000"/>
                <a:gd name="connsiteY33" fmla="*/ 2776 h 10126"/>
                <a:gd name="connsiteX34" fmla="*/ 4398 w 10000"/>
                <a:gd name="connsiteY34" fmla="*/ 2831 h 10126"/>
                <a:gd name="connsiteX35" fmla="*/ 4536 w 10000"/>
                <a:gd name="connsiteY35" fmla="*/ 2884 h 10126"/>
                <a:gd name="connsiteX36" fmla="*/ 4668 w 10000"/>
                <a:gd name="connsiteY36" fmla="*/ 2926 h 10126"/>
                <a:gd name="connsiteX37" fmla="*/ 4724 w 10000"/>
                <a:gd name="connsiteY37" fmla="*/ 2944 h 10126"/>
                <a:gd name="connsiteX38" fmla="*/ 4780 w 10000"/>
                <a:gd name="connsiteY38" fmla="*/ 2956 h 10126"/>
                <a:gd name="connsiteX39" fmla="*/ 4831 w 10000"/>
                <a:gd name="connsiteY39" fmla="*/ 2962 h 10126"/>
                <a:gd name="connsiteX40" fmla="*/ 4875 w 10000"/>
                <a:gd name="connsiteY40" fmla="*/ 2962 h 10126"/>
                <a:gd name="connsiteX41" fmla="*/ 4887 w 10000"/>
                <a:gd name="connsiteY41" fmla="*/ 3005 h 10126"/>
                <a:gd name="connsiteX42" fmla="*/ 4918 w 10000"/>
                <a:gd name="connsiteY42" fmla="*/ 3041 h 10126"/>
                <a:gd name="connsiteX43" fmla="*/ 4950 w 10000"/>
                <a:gd name="connsiteY43" fmla="*/ 3059 h 10126"/>
                <a:gd name="connsiteX44" fmla="*/ 4987 w 10000"/>
                <a:gd name="connsiteY44" fmla="*/ 3071 h 10126"/>
                <a:gd name="connsiteX45" fmla="*/ 5019 w 10000"/>
                <a:gd name="connsiteY45" fmla="*/ 3083 h 10126"/>
                <a:gd name="connsiteX46" fmla="*/ 5063 w 10000"/>
                <a:gd name="connsiteY46" fmla="*/ 3083 h 10126"/>
                <a:gd name="connsiteX47" fmla="*/ 5107 w 10000"/>
                <a:gd name="connsiteY47" fmla="*/ 3077 h 10126"/>
                <a:gd name="connsiteX48" fmla="*/ 5157 w 10000"/>
                <a:gd name="connsiteY48" fmla="*/ 3071 h 10126"/>
                <a:gd name="connsiteX49" fmla="*/ 5245 w 10000"/>
                <a:gd name="connsiteY49" fmla="*/ 3053 h 10126"/>
                <a:gd name="connsiteX50" fmla="*/ 5345 w 10000"/>
                <a:gd name="connsiteY50" fmla="*/ 3029 h 10126"/>
                <a:gd name="connsiteX51" fmla="*/ 5383 w 10000"/>
                <a:gd name="connsiteY51" fmla="*/ 3029 h 10126"/>
                <a:gd name="connsiteX52" fmla="*/ 5427 w 10000"/>
                <a:gd name="connsiteY52" fmla="*/ 3023 h 10126"/>
                <a:gd name="connsiteX53" fmla="*/ 5464 w 10000"/>
                <a:gd name="connsiteY53" fmla="*/ 3029 h 10126"/>
                <a:gd name="connsiteX54" fmla="*/ 5502 w 10000"/>
                <a:gd name="connsiteY54" fmla="*/ 3035 h 10126"/>
                <a:gd name="connsiteX55" fmla="*/ 5558 w 10000"/>
                <a:gd name="connsiteY55" fmla="*/ 3071 h 10126"/>
                <a:gd name="connsiteX56" fmla="*/ 5596 w 10000"/>
                <a:gd name="connsiteY56" fmla="*/ 3101 h 10126"/>
                <a:gd name="connsiteX57" fmla="*/ 5634 w 10000"/>
                <a:gd name="connsiteY57" fmla="*/ 3143 h 10126"/>
                <a:gd name="connsiteX58" fmla="*/ 5665 w 10000"/>
                <a:gd name="connsiteY58" fmla="*/ 3179 h 10126"/>
                <a:gd name="connsiteX59" fmla="*/ 5696 w 10000"/>
                <a:gd name="connsiteY59" fmla="*/ 3216 h 10126"/>
                <a:gd name="connsiteX60" fmla="*/ 5734 w 10000"/>
                <a:gd name="connsiteY60" fmla="*/ 3252 h 10126"/>
                <a:gd name="connsiteX61" fmla="*/ 5759 w 10000"/>
                <a:gd name="connsiteY61" fmla="*/ 3270 h 10126"/>
                <a:gd name="connsiteX62" fmla="*/ 5778 w 10000"/>
                <a:gd name="connsiteY62" fmla="*/ 3282 h 10126"/>
                <a:gd name="connsiteX63" fmla="*/ 5803 w 10000"/>
                <a:gd name="connsiteY63" fmla="*/ 3294 h 10126"/>
                <a:gd name="connsiteX64" fmla="*/ 5834 w 10000"/>
                <a:gd name="connsiteY64" fmla="*/ 3300 h 10126"/>
                <a:gd name="connsiteX65" fmla="*/ 5935 w 10000"/>
                <a:gd name="connsiteY65" fmla="*/ 3319 h 10126"/>
                <a:gd name="connsiteX66" fmla="*/ 6073 w 10000"/>
                <a:gd name="connsiteY66" fmla="*/ 3354 h 10126"/>
                <a:gd name="connsiteX67" fmla="*/ 6230 w 10000"/>
                <a:gd name="connsiteY67" fmla="*/ 3390 h 10126"/>
                <a:gd name="connsiteX68" fmla="*/ 6405 w 10000"/>
                <a:gd name="connsiteY68" fmla="*/ 3433 h 10126"/>
                <a:gd name="connsiteX69" fmla="*/ 6568 w 10000"/>
                <a:gd name="connsiteY69" fmla="*/ 3463 h 10126"/>
                <a:gd name="connsiteX70" fmla="*/ 6719 w 10000"/>
                <a:gd name="connsiteY70" fmla="*/ 3487 h 10126"/>
                <a:gd name="connsiteX71" fmla="*/ 6788 w 10000"/>
                <a:gd name="connsiteY71" fmla="*/ 3493 h 10126"/>
                <a:gd name="connsiteX72" fmla="*/ 6838 w 10000"/>
                <a:gd name="connsiteY72" fmla="*/ 3499 h 10126"/>
                <a:gd name="connsiteX73" fmla="*/ 6888 w 10000"/>
                <a:gd name="connsiteY73" fmla="*/ 3493 h 10126"/>
                <a:gd name="connsiteX74" fmla="*/ 6913 w 10000"/>
                <a:gd name="connsiteY74" fmla="*/ 3481 h 10126"/>
                <a:gd name="connsiteX75" fmla="*/ 6888 w 10000"/>
                <a:gd name="connsiteY75" fmla="*/ 3439 h 10126"/>
                <a:gd name="connsiteX76" fmla="*/ 6857 w 10000"/>
                <a:gd name="connsiteY76" fmla="*/ 3390 h 10126"/>
                <a:gd name="connsiteX77" fmla="*/ 6838 w 10000"/>
                <a:gd name="connsiteY77" fmla="*/ 3342 h 10126"/>
                <a:gd name="connsiteX78" fmla="*/ 6826 w 10000"/>
                <a:gd name="connsiteY78" fmla="*/ 3288 h 10126"/>
                <a:gd name="connsiteX79" fmla="*/ 6794 w 10000"/>
                <a:gd name="connsiteY79" fmla="*/ 3197 h 10126"/>
                <a:gd name="connsiteX80" fmla="*/ 6788 w 10000"/>
                <a:gd name="connsiteY80" fmla="*/ 3149 h 10126"/>
                <a:gd name="connsiteX81" fmla="*/ 6788 w 10000"/>
                <a:gd name="connsiteY81" fmla="*/ 2962 h 10126"/>
                <a:gd name="connsiteX82" fmla="*/ 6788 w 10000"/>
                <a:gd name="connsiteY82" fmla="*/ 2776 h 10126"/>
                <a:gd name="connsiteX83" fmla="*/ 6995 w 10000"/>
                <a:gd name="connsiteY83" fmla="*/ 2776 h 10126"/>
                <a:gd name="connsiteX84" fmla="*/ 7033 w 10000"/>
                <a:gd name="connsiteY84" fmla="*/ 2842 h 10126"/>
                <a:gd name="connsiteX85" fmla="*/ 7058 w 10000"/>
                <a:gd name="connsiteY85" fmla="*/ 2884 h 10126"/>
                <a:gd name="connsiteX86" fmla="*/ 7095 w 10000"/>
                <a:gd name="connsiteY86" fmla="*/ 2920 h 10126"/>
                <a:gd name="connsiteX87" fmla="*/ 7127 w 10000"/>
                <a:gd name="connsiteY87" fmla="*/ 2962 h 10126"/>
                <a:gd name="connsiteX88" fmla="*/ 7120 w 10000"/>
                <a:gd name="connsiteY88" fmla="*/ 3059 h 10126"/>
                <a:gd name="connsiteX89" fmla="*/ 7102 w 10000"/>
                <a:gd name="connsiteY89" fmla="*/ 3119 h 10126"/>
                <a:gd name="connsiteX90" fmla="*/ 7089 w 10000"/>
                <a:gd name="connsiteY90" fmla="*/ 3167 h 10126"/>
                <a:gd name="connsiteX91" fmla="*/ 7077 w 10000"/>
                <a:gd name="connsiteY91" fmla="*/ 3222 h 10126"/>
                <a:gd name="connsiteX92" fmla="*/ 7208 w 10000"/>
                <a:gd name="connsiteY92" fmla="*/ 3258 h 10126"/>
                <a:gd name="connsiteX93" fmla="*/ 7334 w 10000"/>
                <a:gd name="connsiteY93" fmla="*/ 3294 h 10126"/>
                <a:gd name="connsiteX94" fmla="*/ 7396 w 10000"/>
                <a:gd name="connsiteY94" fmla="*/ 3313 h 10126"/>
                <a:gd name="connsiteX95" fmla="*/ 7459 w 10000"/>
                <a:gd name="connsiteY95" fmla="*/ 3325 h 10126"/>
                <a:gd name="connsiteX96" fmla="*/ 7522 w 10000"/>
                <a:gd name="connsiteY96" fmla="*/ 3331 h 10126"/>
                <a:gd name="connsiteX97" fmla="*/ 7585 w 10000"/>
                <a:gd name="connsiteY97" fmla="*/ 3336 h 10126"/>
                <a:gd name="connsiteX98" fmla="*/ 7591 w 10000"/>
                <a:gd name="connsiteY98" fmla="*/ 3360 h 10126"/>
                <a:gd name="connsiteX99" fmla="*/ 7604 w 10000"/>
                <a:gd name="connsiteY99" fmla="*/ 3384 h 10126"/>
                <a:gd name="connsiteX100" fmla="*/ 7622 w 10000"/>
                <a:gd name="connsiteY100" fmla="*/ 3402 h 10126"/>
                <a:gd name="connsiteX101" fmla="*/ 7654 w 10000"/>
                <a:gd name="connsiteY101" fmla="*/ 3420 h 10126"/>
                <a:gd name="connsiteX102" fmla="*/ 7704 w 10000"/>
                <a:gd name="connsiteY102" fmla="*/ 3439 h 10126"/>
                <a:gd name="connsiteX103" fmla="*/ 7748 w 10000"/>
                <a:gd name="connsiteY103" fmla="*/ 3445 h 10126"/>
                <a:gd name="connsiteX104" fmla="*/ 7798 w 10000"/>
                <a:gd name="connsiteY104" fmla="*/ 3445 h 10126"/>
                <a:gd name="connsiteX105" fmla="*/ 7836 w 10000"/>
                <a:gd name="connsiteY105" fmla="*/ 3433 h 10126"/>
                <a:gd name="connsiteX106" fmla="*/ 7880 w 10000"/>
                <a:gd name="connsiteY106" fmla="*/ 3414 h 10126"/>
                <a:gd name="connsiteX107" fmla="*/ 7911 w 10000"/>
                <a:gd name="connsiteY107" fmla="*/ 3396 h 10126"/>
                <a:gd name="connsiteX108" fmla="*/ 7949 w 10000"/>
                <a:gd name="connsiteY108" fmla="*/ 3372 h 10126"/>
                <a:gd name="connsiteX109" fmla="*/ 7980 w 10000"/>
                <a:gd name="connsiteY109" fmla="*/ 3342 h 10126"/>
                <a:gd name="connsiteX110" fmla="*/ 8011 w 10000"/>
                <a:gd name="connsiteY110" fmla="*/ 3313 h 10126"/>
                <a:gd name="connsiteX111" fmla="*/ 8036 w 10000"/>
                <a:gd name="connsiteY111" fmla="*/ 3282 h 10126"/>
                <a:gd name="connsiteX112" fmla="*/ 8087 w 10000"/>
                <a:gd name="connsiteY112" fmla="*/ 3203 h 10126"/>
                <a:gd name="connsiteX113" fmla="*/ 8118 w 10000"/>
                <a:gd name="connsiteY113" fmla="*/ 3131 h 10126"/>
                <a:gd name="connsiteX114" fmla="*/ 8149 w 10000"/>
                <a:gd name="connsiteY114" fmla="*/ 3065 h 10126"/>
                <a:gd name="connsiteX115" fmla="*/ 8168 w 10000"/>
                <a:gd name="connsiteY115" fmla="*/ 2999 h 10126"/>
                <a:gd name="connsiteX116" fmla="*/ 8231 w 10000"/>
                <a:gd name="connsiteY116" fmla="*/ 2932 h 10126"/>
                <a:gd name="connsiteX117" fmla="*/ 8294 w 10000"/>
                <a:gd name="connsiteY117" fmla="*/ 2866 h 10126"/>
                <a:gd name="connsiteX118" fmla="*/ 8363 w 10000"/>
                <a:gd name="connsiteY118" fmla="*/ 2813 h 10126"/>
                <a:gd name="connsiteX119" fmla="*/ 8432 w 10000"/>
                <a:gd name="connsiteY119" fmla="*/ 2752 h 10126"/>
                <a:gd name="connsiteX120" fmla="*/ 8507 w 10000"/>
                <a:gd name="connsiteY120" fmla="*/ 2704 h 10126"/>
                <a:gd name="connsiteX121" fmla="*/ 8576 w 10000"/>
                <a:gd name="connsiteY121" fmla="*/ 2656 h 10126"/>
                <a:gd name="connsiteX122" fmla="*/ 8651 w 10000"/>
                <a:gd name="connsiteY122" fmla="*/ 2614 h 10126"/>
                <a:gd name="connsiteX123" fmla="*/ 8726 w 10000"/>
                <a:gd name="connsiteY123" fmla="*/ 2570 h 10126"/>
                <a:gd name="connsiteX124" fmla="*/ 8808 w 10000"/>
                <a:gd name="connsiteY124" fmla="*/ 2528 h 10126"/>
                <a:gd name="connsiteX125" fmla="*/ 8890 w 10000"/>
                <a:gd name="connsiteY125" fmla="*/ 2492 h 10126"/>
                <a:gd name="connsiteX126" fmla="*/ 8971 w 10000"/>
                <a:gd name="connsiteY126" fmla="*/ 2462 h 10126"/>
                <a:gd name="connsiteX127" fmla="*/ 9059 w 10000"/>
                <a:gd name="connsiteY127" fmla="*/ 2432 h 10126"/>
                <a:gd name="connsiteX128" fmla="*/ 9235 w 10000"/>
                <a:gd name="connsiteY128" fmla="*/ 2378 h 10126"/>
                <a:gd name="connsiteX129" fmla="*/ 9417 w 10000"/>
                <a:gd name="connsiteY129" fmla="*/ 2335 h 10126"/>
                <a:gd name="connsiteX130" fmla="*/ 9454 w 10000"/>
                <a:gd name="connsiteY130" fmla="*/ 2384 h 10126"/>
                <a:gd name="connsiteX131" fmla="*/ 9504 w 10000"/>
                <a:gd name="connsiteY131" fmla="*/ 2444 h 10126"/>
                <a:gd name="connsiteX132" fmla="*/ 9573 w 10000"/>
                <a:gd name="connsiteY132" fmla="*/ 2510 h 10126"/>
                <a:gd name="connsiteX133" fmla="*/ 9642 w 10000"/>
                <a:gd name="connsiteY133" fmla="*/ 2583 h 10126"/>
                <a:gd name="connsiteX134" fmla="*/ 9718 w 10000"/>
                <a:gd name="connsiteY134" fmla="*/ 2644 h 10126"/>
                <a:gd name="connsiteX135" fmla="*/ 9799 w 10000"/>
                <a:gd name="connsiteY135" fmla="*/ 2692 h 10126"/>
                <a:gd name="connsiteX136" fmla="*/ 9837 w 10000"/>
                <a:gd name="connsiteY136" fmla="*/ 2716 h 10126"/>
                <a:gd name="connsiteX137" fmla="*/ 9875 w 10000"/>
                <a:gd name="connsiteY137" fmla="*/ 2728 h 10126"/>
                <a:gd name="connsiteX138" fmla="*/ 9918 w 10000"/>
                <a:gd name="connsiteY138" fmla="*/ 2740 h 10126"/>
                <a:gd name="connsiteX139" fmla="*/ 9956 w 10000"/>
                <a:gd name="connsiteY139" fmla="*/ 2740 h 10126"/>
                <a:gd name="connsiteX140" fmla="*/ 10000 w 10000"/>
                <a:gd name="connsiteY140" fmla="*/ 2668 h 10126"/>
                <a:gd name="connsiteX141" fmla="*/ 9975 w 10000"/>
                <a:gd name="connsiteY141" fmla="*/ 2795 h 10126"/>
                <a:gd name="connsiteX142" fmla="*/ 9944 w 10000"/>
                <a:gd name="connsiteY142" fmla="*/ 2938 h 10126"/>
                <a:gd name="connsiteX143" fmla="*/ 9931 w 10000"/>
                <a:gd name="connsiteY143" fmla="*/ 3005 h 10126"/>
                <a:gd name="connsiteX144" fmla="*/ 9906 w 10000"/>
                <a:gd name="connsiteY144" fmla="*/ 3065 h 10126"/>
                <a:gd name="connsiteX145" fmla="*/ 9887 w 10000"/>
                <a:gd name="connsiteY145" fmla="*/ 3089 h 10126"/>
                <a:gd name="connsiteX146" fmla="*/ 9875 w 10000"/>
                <a:gd name="connsiteY146" fmla="*/ 3113 h 10126"/>
                <a:gd name="connsiteX147" fmla="*/ 9856 w 10000"/>
                <a:gd name="connsiteY147" fmla="*/ 3131 h 10126"/>
                <a:gd name="connsiteX148" fmla="*/ 9837 w 10000"/>
                <a:gd name="connsiteY148" fmla="*/ 3149 h 10126"/>
                <a:gd name="connsiteX149" fmla="*/ 9749 w 10000"/>
                <a:gd name="connsiteY149" fmla="*/ 3167 h 10126"/>
                <a:gd name="connsiteX150" fmla="*/ 9605 w 10000"/>
                <a:gd name="connsiteY150" fmla="*/ 3216 h 10126"/>
                <a:gd name="connsiteX151" fmla="*/ 9536 w 10000"/>
                <a:gd name="connsiteY151" fmla="*/ 3258 h 10126"/>
                <a:gd name="connsiteX152" fmla="*/ 9479 w 10000"/>
                <a:gd name="connsiteY152" fmla="*/ 3294 h 10126"/>
                <a:gd name="connsiteX153" fmla="*/ 9448 w 10000"/>
                <a:gd name="connsiteY153" fmla="*/ 3313 h 10126"/>
                <a:gd name="connsiteX154" fmla="*/ 9435 w 10000"/>
                <a:gd name="connsiteY154" fmla="*/ 3331 h 10126"/>
                <a:gd name="connsiteX155" fmla="*/ 9423 w 10000"/>
                <a:gd name="connsiteY155" fmla="*/ 3354 h 10126"/>
                <a:gd name="connsiteX156" fmla="*/ 9417 w 10000"/>
                <a:gd name="connsiteY156" fmla="*/ 3372 h 10126"/>
                <a:gd name="connsiteX157" fmla="*/ 9423 w 10000"/>
                <a:gd name="connsiteY157" fmla="*/ 3583 h 10126"/>
                <a:gd name="connsiteX158" fmla="*/ 9417 w 10000"/>
                <a:gd name="connsiteY158" fmla="*/ 3824 h 10126"/>
                <a:gd name="connsiteX159" fmla="*/ 9398 w 10000"/>
                <a:gd name="connsiteY159" fmla="*/ 3884 h 10126"/>
                <a:gd name="connsiteX160" fmla="*/ 9391 w 10000"/>
                <a:gd name="connsiteY160" fmla="*/ 3950 h 10126"/>
                <a:gd name="connsiteX161" fmla="*/ 9379 w 10000"/>
                <a:gd name="connsiteY161" fmla="*/ 4004 h 10126"/>
                <a:gd name="connsiteX162" fmla="*/ 9366 w 10000"/>
                <a:gd name="connsiteY162" fmla="*/ 4059 h 10126"/>
                <a:gd name="connsiteX163" fmla="*/ 9348 w 10000"/>
                <a:gd name="connsiteY163" fmla="*/ 4108 h 10126"/>
                <a:gd name="connsiteX164" fmla="*/ 9316 w 10000"/>
                <a:gd name="connsiteY164" fmla="*/ 4156 h 10126"/>
                <a:gd name="connsiteX165" fmla="*/ 9285 w 10000"/>
                <a:gd name="connsiteY165" fmla="*/ 4192 h 10126"/>
                <a:gd name="connsiteX166" fmla="*/ 9247 w 10000"/>
                <a:gd name="connsiteY166" fmla="*/ 4222 h 10126"/>
                <a:gd name="connsiteX167" fmla="*/ 9228 w 10000"/>
                <a:gd name="connsiteY167" fmla="*/ 4240 h 10126"/>
                <a:gd name="connsiteX168" fmla="*/ 9184 w 10000"/>
                <a:gd name="connsiteY168" fmla="*/ 4246 h 10126"/>
                <a:gd name="connsiteX169" fmla="*/ 9141 w 10000"/>
                <a:gd name="connsiteY169" fmla="*/ 4252 h 10126"/>
                <a:gd name="connsiteX170" fmla="*/ 9090 w 10000"/>
                <a:gd name="connsiteY170" fmla="*/ 4258 h 10126"/>
                <a:gd name="connsiteX171" fmla="*/ 9040 w 10000"/>
                <a:gd name="connsiteY171" fmla="*/ 4264 h 10126"/>
                <a:gd name="connsiteX172" fmla="*/ 8996 w 10000"/>
                <a:gd name="connsiteY172" fmla="*/ 4283 h 10126"/>
                <a:gd name="connsiteX173" fmla="*/ 8977 w 10000"/>
                <a:gd name="connsiteY173" fmla="*/ 4289 h 10126"/>
                <a:gd name="connsiteX174" fmla="*/ 8965 w 10000"/>
                <a:gd name="connsiteY174" fmla="*/ 4307 h 10126"/>
                <a:gd name="connsiteX175" fmla="*/ 8959 w 10000"/>
                <a:gd name="connsiteY175" fmla="*/ 4319 h 10126"/>
                <a:gd name="connsiteX176" fmla="*/ 8959 w 10000"/>
                <a:gd name="connsiteY176" fmla="*/ 4337 h 10126"/>
                <a:gd name="connsiteX177" fmla="*/ 8952 w 10000"/>
                <a:gd name="connsiteY177" fmla="*/ 4408 h 10126"/>
                <a:gd name="connsiteX178" fmla="*/ 8952 w 10000"/>
                <a:gd name="connsiteY178" fmla="*/ 4493 h 10126"/>
                <a:gd name="connsiteX179" fmla="*/ 8940 w 10000"/>
                <a:gd name="connsiteY179" fmla="*/ 4583 h 10126"/>
                <a:gd name="connsiteX180" fmla="*/ 8927 w 10000"/>
                <a:gd name="connsiteY180" fmla="*/ 4667 h 10126"/>
                <a:gd name="connsiteX181" fmla="*/ 8908 w 10000"/>
                <a:gd name="connsiteY181" fmla="*/ 4753 h 10126"/>
                <a:gd name="connsiteX182" fmla="*/ 8890 w 10000"/>
                <a:gd name="connsiteY182" fmla="*/ 4831 h 10126"/>
                <a:gd name="connsiteX183" fmla="*/ 8864 w 10000"/>
                <a:gd name="connsiteY183" fmla="*/ 4902 h 10126"/>
                <a:gd name="connsiteX184" fmla="*/ 8833 w 10000"/>
                <a:gd name="connsiteY184" fmla="*/ 4969 h 10126"/>
                <a:gd name="connsiteX185" fmla="*/ 8538 w 10000"/>
                <a:gd name="connsiteY185" fmla="*/ 4480 h 10126"/>
                <a:gd name="connsiteX186" fmla="*/ 8526 w 10000"/>
                <a:gd name="connsiteY186" fmla="*/ 4505 h 10126"/>
                <a:gd name="connsiteX187" fmla="*/ 8494 w 10000"/>
                <a:gd name="connsiteY187" fmla="*/ 4559 h 10126"/>
                <a:gd name="connsiteX188" fmla="*/ 8463 w 10000"/>
                <a:gd name="connsiteY188" fmla="*/ 4589 h 10126"/>
                <a:gd name="connsiteX189" fmla="*/ 8438 w 10000"/>
                <a:gd name="connsiteY189" fmla="*/ 4613 h 10126"/>
                <a:gd name="connsiteX190" fmla="*/ 8407 w 10000"/>
                <a:gd name="connsiteY190" fmla="*/ 4631 h 10126"/>
                <a:gd name="connsiteX191" fmla="*/ 8375 w 10000"/>
                <a:gd name="connsiteY191" fmla="*/ 4637 h 10126"/>
                <a:gd name="connsiteX192" fmla="*/ 8338 w 10000"/>
                <a:gd name="connsiteY192" fmla="*/ 4631 h 10126"/>
                <a:gd name="connsiteX193" fmla="*/ 8312 w 10000"/>
                <a:gd name="connsiteY193" fmla="*/ 4625 h 10126"/>
                <a:gd name="connsiteX194" fmla="*/ 8287 w 10000"/>
                <a:gd name="connsiteY194" fmla="*/ 4607 h 10126"/>
                <a:gd name="connsiteX195" fmla="*/ 8256 w 10000"/>
                <a:gd name="connsiteY195" fmla="*/ 4589 h 10126"/>
                <a:gd name="connsiteX196" fmla="*/ 8237 w 10000"/>
                <a:gd name="connsiteY196" fmla="*/ 4559 h 10126"/>
                <a:gd name="connsiteX197" fmla="*/ 8225 w 10000"/>
                <a:gd name="connsiteY197" fmla="*/ 4535 h 10126"/>
                <a:gd name="connsiteX198" fmla="*/ 8206 w 10000"/>
                <a:gd name="connsiteY198" fmla="*/ 4511 h 10126"/>
                <a:gd name="connsiteX199" fmla="*/ 8206 w 10000"/>
                <a:gd name="connsiteY199" fmla="*/ 4480 h 10126"/>
                <a:gd name="connsiteX200" fmla="*/ 8206 w 10000"/>
                <a:gd name="connsiteY200" fmla="*/ 4444 h 10126"/>
                <a:gd name="connsiteX201" fmla="*/ 8225 w 10000"/>
                <a:gd name="connsiteY201" fmla="*/ 4408 h 10126"/>
                <a:gd name="connsiteX202" fmla="*/ 8237 w 10000"/>
                <a:gd name="connsiteY202" fmla="*/ 4372 h 10126"/>
                <a:gd name="connsiteX203" fmla="*/ 8250 w 10000"/>
                <a:gd name="connsiteY203" fmla="*/ 4337 h 10126"/>
                <a:gd name="connsiteX204" fmla="*/ 8300 w 10000"/>
                <a:gd name="connsiteY204" fmla="*/ 4270 h 10126"/>
                <a:gd name="connsiteX205" fmla="*/ 8356 w 10000"/>
                <a:gd name="connsiteY205" fmla="*/ 4204 h 10126"/>
                <a:gd name="connsiteX206" fmla="*/ 8407 w 10000"/>
                <a:gd name="connsiteY206" fmla="*/ 4144 h 10126"/>
                <a:gd name="connsiteX207" fmla="*/ 8457 w 10000"/>
                <a:gd name="connsiteY207" fmla="*/ 4078 h 10126"/>
                <a:gd name="connsiteX208" fmla="*/ 8469 w 10000"/>
                <a:gd name="connsiteY208" fmla="*/ 4041 h 10126"/>
                <a:gd name="connsiteX209" fmla="*/ 8482 w 10000"/>
                <a:gd name="connsiteY209" fmla="*/ 4010 h 10126"/>
                <a:gd name="connsiteX210" fmla="*/ 8501 w 10000"/>
                <a:gd name="connsiteY210" fmla="*/ 3968 h 10126"/>
                <a:gd name="connsiteX211" fmla="*/ 8501 w 10000"/>
                <a:gd name="connsiteY211" fmla="*/ 3932 h 10126"/>
                <a:gd name="connsiteX212" fmla="*/ 7748 w 10000"/>
                <a:gd name="connsiteY212" fmla="*/ 3932 h 10126"/>
                <a:gd name="connsiteX213" fmla="*/ 7723 w 10000"/>
                <a:gd name="connsiteY213" fmla="*/ 3926 h 10126"/>
                <a:gd name="connsiteX214" fmla="*/ 7685 w 10000"/>
                <a:gd name="connsiteY214" fmla="*/ 3908 h 10126"/>
                <a:gd name="connsiteX215" fmla="*/ 7660 w 10000"/>
                <a:gd name="connsiteY215" fmla="*/ 3872 h 10126"/>
                <a:gd name="connsiteX216" fmla="*/ 7635 w 10000"/>
                <a:gd name="connsiteY216" fmla="*/ 3836 h 10126"/>
                <a:gd name="connsiteX217" fmla="*/ 7616 w 10000"/>
                <a:gd name="connsiteY217" fmla="*/ 3788 h 10126"/>
                <a:gd name="connsiteX218" fmla="*/ 7597 w 10000"/>
                <a:gd name="connsiteY218" fmla="*/ 3740 h 10126"/>
                <a:gd name="connsiteX219" fmla="*/ 7591 w 10000"/>
                <a:gd name="connsiteY219" fmla="*/ 3686 h 10126"/>
                <a:gd name="connsiteX220" fmla="*/ 7585 w 10000"/>
                <a:gd name="connsiteY220" fmla="*/ 3631 h 10126"/>
                <a:gd name="connsiteX221" fmla="*/ 7547 w 10000"/>
                <a:gd name="connsiteY221" fmla="*/ 3631 h 10126"/>
                <a:gd name="connsiteX222" fmla="*/ 7516 w 10000"/>
                <a:gd name="connsiteY222" fmla="*/ 3625 h 10126"/>
                <a:gd name="connsiteX223" fmla="*/ 7478 w 10000"/>
                <a:gd name="connsiteY223" fmla="*/ 3619 h 10126"/>
                <a:gd name="connsiteX224" fmla="*/ 7447 w 10000"/>
                <a:gd name="connsiteY224" fmla="*/ 3607 h 10126"/>
                <a:gd name="connsiteX225" fmla="*/ 7415 w 10000"/>
                <a:gd name="connsiteY225" fmla="*/ 3589 h 10126"/>
                <a:gd name="connsiteX226" fmla="*/ 7396 w 10000"/>
                <a:gd name="connsiteY226" fmla="*/ 3571 h 10126"/>
                <a:gd name="connsiteX227" fmla="*/ 7384 w 10000"/>
                <a:gd name="connsiteY227" fmla="*/ 3541 h 10126"/>
                <a:gd name="connsiteX228" fmla="*/ 7378 w 10000"/>
                <a:gd name="connsiteY228" fmla="*/ 3517 h 10126"/>
                <a:gd name="connsiteX229" fmla="*/ 7321 w 10000"/>
                <a:gd name="connsiteY229" fmla="*/ 3517 h 10126"/>
                <a:gd name="connsiteX230" fmla="*/ 7271 w 10000"/>
                <a:gd name="connsiteY230" fmla="*/ 3517 h 10126"/>
                <a:gd name="connsiteX231" fmla="*/ 7221 w 10000"/>
                <a:gd name="connsiteY231" fmla="*/ 3517 h 10126"/>
                <a:gd name="connsiteX232" fmla="*/ 7171 w 10000"/>
                <a:gd name="connsiteY232" fmla="*/ 3517 h 10126"/>
                <a:gd name="connsiteX233" fmla="*/ 7127 w 10000"/>
                <a:gd name="connsiteY233" fmla="*/ 3523 h 10126"/>
                <a:gd name="connsiteX234" fmla="*/ 7095 w 10000"/>
                <a:gd name="connsiteY234" fmla="*/ 3529 h 10126"/>
                <a:gd name="connsiteX235" fmla="*/ 7051 w 10000"/>
                <a:gd name="connsiteY235" fmla="*/ 3547 h 10126"/>
                <a:gd name="connsiteX236" fmla="*/ 7008 w 10000"/>
                <a:gd name="connsiteY236" fmla="*/ 3571 h 10126"/>
                <a:gd name="connsiteX237" fmla="*/ 6976 w 10000"/>
                <a:gd name="connsiteY237" fmla="*/ 3601 h 10126"/>
                <a:gd name="connsiteX238" fmla="*/ 6939 w 10000"/>
                <a:gd name="connsiteY238" fmla="*/ 3631 h 10126"/>
                <a:gd name="connsiteX239" fmla="*/ 6920 w 10000"/>
                <a:gd name="connsiteY239" fmla="*/ 3668 h 10126"/>
                <a:gd name="connsiteX240" fmla="*/ 6913 w 10000"/>
                <a:gd name="connsiteY240" fmla="*/ 3704 h 10126"/>
                <a:gd name="connsiteX241" fmla="*/ 6926 w 10000"/>
                <a:gd name="connsiteY241" fmla="*/ 3728 h 10126"/>
                <a:gd name="connsiteX242" fmla="*/ 6964 w 10000"/>
                <a:gd name="connsiteY242" fmla="*/ 3758 h 10126"/>
                <a:gd name="connsiteX243" fmla="*/ 7008 w 10000"/>
                <a:gd name="connsiteY243" fmla="*/ 3794 h 10126"/>
                <a:gd name="connsiteX244" fmla="*/ 7070 w 10000"/>
                <a:gd name="connsiteY244" fmla="*/ 3830 h 10126"/>
                <a:gd name="connsiteX245" fmla="*/ 7133 w 10000"/>
                <a:gd name="connsiteY245" fmla="*/ 3866 h 10126"/>
                <a:gd name="connsiteX246" fmla="*/ 7196 w 10000"/>
                <a:gd name="connsiteY246" fmla="*/ 3896 h 10126"/>
                <a:gd name="connsiteX247" fmla="*/ 7252 w 10000"/>
                <a:gd name="connsiteY247" fmla="*/ 3920 h 10126"/>
                <a:gd name="connsiteX248" fmla="*/ 7290 w 10000"/>
                <a:gd name="connsiteY248" fmla="*/ 3932 h 10126"/>
                <a:gd name="connsiteX249" fmla="*/ 7208 w 10000"/>
                <a:gd name="connsiteY249" fmla="*/ 3992 h 10126"/>
                <a:gd name="connsiteX250" fmla="*/ 7114 w 10000"/>
                <a:gd name="connsiteY250" fmla="*/ 4066 h 10126"/>
                <a:gd name="connsiteX251" fmla="*/ 7070 w 10000"/>
                <a:gd name="connsiteY251" fmla="*/ 4102 h 10126"/>
                <a:gd name="connsiteX252" fmla="*/ 7033 w 10000"/>
                <a:gd name="connsiteY252" fmla="*/ 4144 h 10126"/>
                <a:gd name="connsiteX253" fmla="*/ 7020 w 10000"/>
                <a:gd name="connsiteY253" fmla="*/ 4162 h 10126"/>
                <a:gd name="connsiteX254" fmla="*/ 7008 w 10000"/>
                <a:gd name="connsiteY254" fmla="*/ 4180 h 10126"/>
                <a:gd name="connsiteX255" fmla="*/ 7001 w 10000"/>
                <a:gd name="connsiteY255" fmla="*/ 4204 h 10126"/>
                <a:gd name="connsiteX256" fmla="*/ 6995 w 10000"/>
                <a:gd name="connsiteY256" fmla="*/ 4222 h 10126"/>
                <a:gd name="connsiteX257" fmla="*/ 7001 w 10000"/>
                <a:gd name="connsiteY257" fmla="*/ 4252 h 10126"/>
                <a:gd name="connsiteX258" fmla="*/ 7008 w 10000"/>
                <a:gd name="connsiteY258" fmla="*/ 4270 h 10126"/>
                <a:gd name="connsiteX259" fmla="*/ 7026 w 10000"/>
                <a:gd name="connsiteY259" fmla="*/ 4295 h 10126"/>
                <a:gd name="connsiteX260" fmla="*/ 7039 w 10000"/>
                <a:gd name="connsiteY260" fmla="*/ 4319 h 10126"/>
                <a:gd name="connsiteX261" fmla="*/ 7089 w 10000"/>
                <a:gd name="connsiteY261" fmla="*/ 4366 h 10126"/>
                <a:gd name="connsiteX262" fmla="*/ 7146 w 10000"/>
                <a:gd name="connsiteY262" fmla="*/ 4414 h 10126"/>
                <a:gd name="connsiteX263" fmla="*/ 7208 w 10000"/>
                <a:gd name="connsiteY263" fmla="*/ 4456 h 10126"/>
                <a:gd name="connsiteX264" fmla="*/ 7277 w 10000"/>
                <a:gd name="connsiteY264" fmla="*/ 4493 h 10126"/>
                <a:gd name="connsiteX265" fmla="*/ 7315 w 10000"/>
                <a:gd name="connsiteY265" fmla="*/ 4505 h 10126"/>
                <a:gd name="connsiteX266" fmla="*/ 7346 w 10000"/>
                <a:gd name="connsiteY266" fmla="*/ 4511 h 10126"/>
                <a:gd name="connsiteX267" fmla="*/ 7384 w 10000"/>
                <a:gd name="connsiteY267" fmla="*/ 4517 h 10126"/>
                <a:gd name="connsiteX268" fmla="*/ 7415 w 10000"/>
                <a:gd name="connsiteY268" fmla="*/ 4523 h 10126"/>
                <a:gd name="connsiteX269" fmla="*/ 7585 w 10000"/>
                <a:gd name="connsiteY269" fmla="*/ 5150 h 10126"/>
                <a:gd name="connsiteX270" fmla="*/ 7491 w 10000"/>
                <a:gd name="connsiteY270" fmla="*/ 5150 h 10126"/>
                <a:gd name="connsiteX271" fmla="*/ 7403 w 10000"/>
                <a:gd name="connsiteY271" fmla="*/ 5150 h 10126"/>
                <a:gd name="connsiteX272" fmla="*/ 7321 w 10000"/>
                <a:gd name="connsiteY272" fmla="*/ 5150 h 10126"/>
                <a:gd name="connsiteX273" fmla="*/ 7252 w 10000"/>
                <a:gd name="connsiteY273" fmla="*/ 5150 h 10126"/>
                <a:gd name="connsiteX274" fmla="*/ 7208 w 10000"/>
                <a:gd name="connsiteY274" fmla="*/ 5144 h 10126"/>
                <a:gd name="connsiteX275" fmla="*/ 7164 w 10000"/>
                <a:gd name="connsiteY275" fmla="*/ 5113 h 10126"/>
                <a:gd name="connsiteX276" fmla="*/ 7133 w 10000"/>
                <a:gd name="connsiteY276" fmla="*/ 5101 h 10126"/>
                <a:gd name="connsiteX277" fmla="*/ 7102 w 10000"/>
                <a:gd name="connsiteY277" fmla="*/ 5089 h 10126"/>
                <a:gd name="connsiteX278" fmla="*/ 7070 w 10000"/>
                <a:gd name="connsiteY278" fmla="*/ 5083 h 10126"/>
                <a:gd name="connsiteX279" fmla="*/ 7039 w 10000"/>
                <a:gd name="connsiteY279" fmla="*/ 5077 h 10126"/>
                <a:gd name="connsiteX280" fmla="*/ 7008 w 10000"/>
                <a:gd name="connsiteY280" fmla="*/ 5089 h 10126"/>
                <a:gd name="connsiteX281" fmla="*/ 6957 w 10000"/>
                <a:gd name="connsiteY281" fmla="*/ 5119 h 10126"/>
                <a:gd name="connsiteX282" fmla="*/ 6895 w 10000"/>
                <a:gd name="connsiteY282" fmla="*/ 5162 h 10126"/>
                <a:gd name="connsiteX283" fmla="*/ 6819 w 10000"/>
                <a:gd name="connsiteY283" fmla="*/ 5210 h 10126"/>
                <a:gd name="connsiteX284" fmla="*/ 6744 w 10000"/>
                <a:gd name="connsiteY284" fmla="*/ 5270 h 10126"/>
                <a:gd name="connsiteX285" fmla="*/ 6681 w 10000"/>
                <a:gd name="connsiteY285" fmla="*/ 5318 h 10126"/>
                <a:gd name="connsiteX286" fmla="*/ 6637 w 10000"/>
                <a:gd name="connsiteY286" fmla="*/ 5354 h 10126"/>
                <a:gd name="connsiteX287" fmla="*/ 6625 w 10000"/>
                <a:gd name="connsiteY287" fmla="*/ 5378 h 10126"/>
                <a:gd name="connsiteX288" fmla="*/ 6750 w 10000"/>
                <a:gd name="connsiteY288" fmla="*/ 5450 h 10126"/>
                <a:gd name="connsiteX289" fmla="*/ 6744 w 10000"/>
                <a:gd name="connsiteY289" fmla="*/ 5487 h 10126"/>
                <a:gd name="connsiteX290" fmla="*/ 6725 w 10000"/>
                <a:gd name="connsiteY290" fmla="*/ 5529 h 10126"/>
                <a:gd name="connsiteX291" fmla="*/ 6706 w 10000"/>
                <a:gd name="connsiteY291" fmla="*/ 5560 h 10126"/>
                <a:gd name="connsiteX292" fmla="*/ 6688 w 10000"/>
                <a:gd name="connsiteY292" fmla="*/ 5602 h 10126"/>
                <a:gd name="connsiteX293" fmla="*/ 6637 w 10000"/>
                <a:gd name="connsiteY293" fmla="*/ 5656 h 10126"/>
                <a:gd name="connsiteX294" fmla="*/ 6581 w 10000"/>
                <a:gd name="connsiteY294" fmla="*/ 5710 h 10126"/>
                <a:gd name="connsiteX295" fmla="*/ 6518 w 10000"/>
                <a:gd name="connsiteY295" fmla="*/ 5758 h 10126"/>
                <a:gd name="connsiteX296" fmla="*/ 6443 w 10000"/>
                <a:gd name="connsiteY296" fmla="*/ 5801 h 10126"/>
                <a:gd name="connsiteX297" fmla="*/ 6374 w 10000"/>
                <a:gd name="connsiteY297" fmla="*/ 5837 h 10126"/>
                <a:gd name="connsiteX298" fmla="*/ 6299 w 10000"/>
                <a:gd name="connsiteY298" fmla="*/ 5872 h 10126"/>
                <a:gd name="connsiteX299" fmla="*/ 6223 w 10000"/>
                <a:gd name="connsiteY299" fmla="*/ 5920 h 10126"/>
                <a:gd name="connsiteX300" fmla="*/ 6154 w 10000"/>
                <a:gd name="connsiteY300" fmla="*/ 5956 h 10126"/>
                <a:gd name="connsiteX301" fmla="*/ 6092 w 10000"/>
                <a:gd name="connsiteY301" fmla="*/ 5999 h 10126"/>
                <a:gd name="connsiteX302" fmla="*/ 6035 w 10000"/>
                <a:gd name="connsiteY302" fmla="*/ 6047 h 10126"/>
                <a:gd name="connsiteX303" fmla="*/ 6004 w 10000"/>
                <a:gd name="connsiteY303" fmla="*/ 6071 h 10126"/>
                <a:gd name="connsiteX304" fmla="*/ 5985 w 10000"/>
                <a:gd name="connsiteY304" fmla="*/ 6095 h 10126"/>
                <a:gd name="connsiteX305" fmla="*/ 5966 w 10000"/>
                <a:gd name="connsiteY305" fmla="*/ 6125 h 10126"/>
                <a:gd name="connsiteX306" fmla="*/ 5947 w 10000"/>
                <a:gd name="connsiteY306" fmla="*/ 6155 h 10126"/>
                <a:gd name="connsiteX307" fmla="*/ 5935 w 10000"/>
                <a:gd name="connsiteY307" fmla="*/ 6193 h 10126"/>
                <a:gd name="connsiteX308" fmla="*/ 5922 w 10000"/>
                <a:gd name="connsiteY308" fmla="*/ 6223 h 10126"/>
                <a:gd name="connsiteX309" fmla="*/ 5916 w 10000"/>
                <a:gd name="connsiteY309" fmla="*/ 6265 h 10126"/>
                <a:gd name="connsiteX310" fmla="*/ 5916 w 10000"/>
                <a:gd name="connsiteY310" fmla="*/ 6307 h 10126"/>
                <a:gd name="connsiteX311" fmla="*/ 5859 w 10000"/>
                <a:gd name="connsiteY311" fmla="*/ 6325 h 10126"/>
                <a:gd name="connsiteX312" fmla="*/ 5809 w 10000"/>
                <a:gd name="connsiteY312" fmla="*/ 6343 h 10126"/>
                <a:gd name="connsiteX313" fmla="*/ 5765 w 10000"/>
                <a:gd name="connsiteY313" fmla="*/ 6366 h 10126"/>
                <a:gd name="connsiteX314" fmla="*/ 5721 w 10000"/>
                <a:gd name="connsiteY314" fmla="*/ 6390 h 10126"/>
                <a:gd name="connsiteX315" fmla="*/ 5634 w 10000"/>
                <a:gd name="connsiteY315" fmla="*/ 6451 h 10126"/>
                <a:gd name="connsiteX316" fmla="*/ 5558 w 10000"/>
                <a:gd name="connsiteY316" fmla="*/ 6523 h 10126"/>
                <a:gd name="connsiteX317" fmla="*/ 5420 w 10000"/>
                <a:gd name="connsiteY317" fmla="*/ 6686 h 10126"/>
                <a:gd name="connsiteX318" fmla="*/ 5289 w 10000"/>
                <a:gd name="connsiteY318" fmla="*/ 6860 h 10126"/>
                <a:gd name="connsiteX319" fmla="*/ 5220 w 10000"/>
                <a:gd name="connsiteY319" fmla="*/ 6951 h 10126"/>
                <a:gd name="connsiteX320" fmla="*/ 5151 w 10000"/>
                <a:gd name="connsiteY320" fmla="*/ 7029 h 10126"/>
                <a:gd name="connsiteX321" fmla="*/ 5075 w 10000"/>
                <a:gd name="connsiteY321" fmla="*/ 7102 h 10126"/>
                <a:gd name="connsiteX322" fmla="*/ 4994 w 10000"/>
                <a:gd name="connsiteY322" fmla="*/ 7168 h 10126"/>
                <a:gd name="connsiteX323" fmla="*/ 4944 w 10000"/>
                <a:gd name="connsiteY323" fmla="*/ 7198 h 10126"/>
                <a:gd name="connsiteX324" fmla="*/ 4893 w 10000"/>
                <a:gd name="connsiteY324" fmla="*/ 7222 h 10126"/>
                <a:gd name="connsiteX325" fmla="*/ 4849 w 10000"/>
                <a:gd name="connsiteY325" fmla="*/ 7246 h 10126"/>
                <a:gd name="connsiteX326" fmla="*/ 4793 w 10000"/>
                <a:gd name="connsiteY326" fmla="*/ 7271 h 10126"/>
                <a:gd name="connsiteX327" fmla="*/ 4730 w 10000"/>
                <a:gd name="connsiteY327" fmla="*/ 7289 h 10126"/>
                <a:gd name="connsiteX328" fmla="*/ 4674 w 10000"/>
                <a:gd name="connsiteY328" fmla="*/ 7301 h 10126"/>
                <a:gd name="connsiteX329" fmla="*/ 4605 w 10000"/>
                <a:gd name="connsiteY329" fmla="*/ 7307 h 10126"/>
                <a:gd name="connsiteX330" fmla="*/ 4536 w 10000"/>
                <a:gd name="connsiteY330" fmla="*/ 7307 h 10126"/>
                <a:gd name="connsiteX331" fmla="*/ 4536 w 10000"/>
                <a:gd name="connsiteY331" fmla="*/ 7360 h 10126"/>
                <a:gd name="connsiteX332" fmla="*/ 4536 w 10000"/>
                <a:gd name="connsiteY332" fmla="*/ 7414 h 10126"/>
                <a:gd name="connsiteX333" fmla="*/ 4536 w 10000"/>
                <a:gd name="connsiteY333" fmla="*/ 7456 h 10126"/>
                <a:gd name="connsiteX334" fmla="*/ 4536 w 10000"/>
                <a:gd name="connsiteY334" fmla="*/ 7493 h 10126"/>
                <a:gd name="connsiteX335" fmla="*/ 4536 w 10000"/>
                <a:gd name="connsiteY335" fmla="*/ 7559 h 10126"/>
                <a:gd name="connsiteX336" fmla="*/ 4536 w 10000"/>
                <a:gd name="connsiteY336" fmla="*/ 7662 h 10126"/>
                <a:gd name="connsiteX337" fmla="*/ 4536 w 10000"/>
                <a:gd name="connsiteY337" fmla="*/ 7771 h 10126"/>
                <a:gd name="connsiteX338" fmla="*/ 4548 w 10000"/>
                <a:gd name="connsiteY338" fmla="*/ 7884 h 10126"/>
                <a:gd name="connsiteX339" fmla="*/ 4561 w 10000"/>
                <a:gd name="connsiteY339" fmla="*/ 7945 h 10126"/>
                <a:gd name="connsiteX340" fmla="*/ 4573 w 10000"/>
                <a:gd name="connsiteY340" fmla="*/ 7999 h 10126"/>
                <a:gd name="connsiteX341" fmla="*/ 4586 w 10000"/>
                <a:gd name="connsiteY341" fmla="*/ 8047 h 10126"/>
                <a:gd name="connsiteX342" fmla="*/ 4611 w 10000"/>
                <a:gd name="connsiteY342" fmla="*/ 8089 h 10126"/>
                <a:gd name="connsiteX343" fmla="*/ 4636 w 10000"/>
                <a:gd name="connsiteY343" fmla="*/ 8132 h 10126"/>
                <a:gd name="connsiteX344" fmla="*/ 4668 w 10000"/>
                <a:gd name="connsiteY344" fmla="*/ 8162 h 10126"/>
                <a:gd name="connsiteX345" fmla="*/ 4705 w 10000"/>
                <a:gd name="connsiteY345" fmla="*/ 8186 h 10126"/>
                <a:gd name="connsiteX346" fmla="*/ 4749 w 10000"/>
                <a:gd name="connsiteY346" fmla="*/ 8198 h 10126"/>
                <a:gd name="connsiteX347" fmla="*/ 4711 w 10000"/>
                <a:gd name="connsiteY347" fmla="*/ 8294 h 10126"/>
                <a:gd name="connsiteX348" fmla="*/ 4668 w 10000"/>
                <a:gd name="connsiteY348" fmla="*/ 8379 h 10126"/>
                <a:gd name="connsiteX349" fmla="*/ 4617 w 10000"/>
                <a:gd name="connsiteY349" fmla="*/ 8457 h 10126"/>
                <a:gd name="connsiteX350" fmla="*/ 4573 w 10000"/>
                <a:gd name="connsiteY350" fmla="*/ 8529 h 10126"/>
                <a:gd name="connsiteX351" fmla="*/ 4523 w 10000"/>
                <a:gd name="connsiteY351" fmla="*/ 8614 h 10126"/>
                <a:gd name="connsiteX352" fmla="*/ 4492 w 10000"/>
                <a:gd name="connsiteY352" fmla="*/ 8692 h 10126"/>
                <a:gd name="connsiteX353" fmla="*/ 4473 w 10000"/>
                <a:gd name="connsiteY353" fmla="*/ 8728 h 10126"/>
                <a:gd name="connsiteX354" fmla="*/ 4467 w 10000"/>
                <a:gd name="connsiteY354" fmla="*/ 8771 h 10126"/>
                <a:gd name="connsiteX355" fmla="*/ 4460 w 10000"/>
                <a:gd name="connsiteY355" fmla="*/ 8819 h 10126"/>
                <a:gd name="connsiteX356" fmla="*/ 4454 w 10000"/>
                <a:gd name="connsiteY356" fmla="*/ 8861 h 10126"/>
                <a:gd name="connsiteX357" fmla="*/ 4460 w 10000"/>
                <a:gd name="connsiteY357" fmla="*/ 8878 h 10126"/>
                <a:gd name="connsiteX358" fmla="*/ 4467 w 10000"/>
                <a:gd name="connsiteY358" fmla="*/ 8890 h 10126"/>
                <a:gd name="connsiteX359" fmla="*/ 4479 w 10000"/>
                <a:gd name="connsiteY359" fmla="*/ 8902 h 10126"/>
                <a:gd name="connsiteX360" fmla="*/ 4504 w 10000"/>
                <a:gd name="connsiteY360" fmla="*/ 8914 h 10126"/>
                <a:gd name="connsiteX361" fmla="*/ 4542 w 10000"/>
                <a:gd name="connsiteY361" fmla="*/ 8938 h 10126"/>
                <a:gd name="connsiteX362" fmla="*/ 4580 w 10000"/>
                <a:gd name="connsiteY362" fmla="*/ 8944 h 10126"/>
                <a:gd name="connsiteX363" fmla="*/ 4580 w 10000"/>
                <a:gd name="connsiteY363" fmla="*/ 9162 h 10126"/>
                <a:gd name="connsiteX364" fmla="*/ 4529 w 10000"/>
                <a:gd name="connsiteY364" fmla="*/ 9247 h 10126"/>
                <a:gd name="connsiteX365" fmla="*/ 4492 w 10000"/>
                <a:gd name="connsiteY365" fmla="*/ 9337 h 10126"/>
                <a:gd name="connsiteX366" fmla="*/ 4460 w 10000"/>
                <a:gd name="connsiteY366" fmla="*/ 9372 h 10126"/>
                <a:gd name="connsiteX367" fmla="*/ 4429 w 10000"/>
                <a:gd name="connsiteY367" fmla="*/ 9397 h 10126"/>
                <a:gd name="connsiteX368" fmla="*/ 4404 w 10000"/>
                <a:gd name="connsiteY368" fmla="*/ 9409 h 10126"/>
                <a:gd name="connsiteX369" fmla="*/ 4385 w 10000"/>
                <a:gd name="connsiteY369" fmla="*/ 9415 h 10126"/>
                <a:gd name="connsiteX370" fmla="*/ 4360 w 10000"/>
                <a:gd name="connsiteY370" fmla="*/ 9421 h 10126"/>
                <a:gd name="connsiteX371" fmla="*/ 4329 w 10000"/>
                <a:gd name="connsiteY371" fmla="*/ 9421 h 10126"/>
                <a:gd name="connsiteX372" fmla="*/ 4329 w 10000"/>
                <a:gd name="connsiteY372" fmla="*/ 9469 h 10126"/>
                <a:gd name="connsiteX373" fmla="*/ 4335 w 10000"/>
                <a:gd name="connsiteY373" fmla="*/ 9529 h 10126"/>
                <a:gd name="connsiteX374" fmla="*/ 4348 w 10000"/>
                <a:gd name="connsiteY374" fmla="*/ 9559 h 10126"/>
                <a:gd name="connsiteX375" fmla="*/ 4354 w 10000"/>
                <a:gd name="connsiteY375" fmla="*/ 9583 h 10126"/>
                <a:gd name="connsiteX376" fmla="*/ 4360 w 10000"/>
                <a:gd name="connsiteY376" fmla="*/ 9602 h 10126"/>
                <a:gd name="connsiteX377" fmla="*/ 4373 w 10000"/>
                <a:gd name="connsiteY377" fmla="*/ 9608 h 10126"/>
                <a:gd name="connsiteX378" fmla="*/ 4210 w 10000"/>
                <a:gd name="connsiteY378" fmla="*/ 9734 h 10126"/>
                <a:gd name="connsiteX379" fmla="*/ 4072 w 10000"/>
                <a:gd name="connsiteY379" fmla="*/ 9838 h 10126"/>
                <a:gd name="connsiteX380" fmla="*/ 4009 w 10000"/>
                <a:gd name="connsiteY380" fmla="*/ 9897 h 10126"/>
                <a:gd name="connsiteX381" fmla="*/ 3952 w 10000"/>
                <a:gd name="connsiteY381" fmla="*/ 9963 h 10126"/>
                <a:gd name="connsiteX382" fmla="*/ 3890 w 10000"/>
                <a:gd name="connsiteY382" fmla="*/ 10042 h 10126"/>
                <a:gd name="connsiteX383" fmla="*/ 3833 w 10000"/>
                <a:gd name="connsiteY383" fmla="*/ 10126 h 10126"/>
                <a:gd name="connsiteX384" fmla="*/ 3733 w 10000"/>
                <a:gd name="connsiteY384" fmla="*/ 10084 h 10126"/>
                <a:gd name="connsiteX385" fmla="*/ 3664 w 10000"/>
                <a:gd name="connsiteY385" fmla="*/ 10042 h 10126"/>
                <a:gd name="connsiteX386" fmla="*/ 3607 w 10000"/>
                <a:gd name="connsiteY386" fmla="*/ 9999 h 10126"/>
                <a:gd name="connsiteX387" fmla="*/ 3563 w 10000"/>
                <a:gd name="connsiteY387" fmla="*/ 9951 h 10126"/>
                <a:gd name="connsiteX388" fmla="*/ 3532 w 10000"/>
                <a:gd name="connsiteY388" fmla="*/ 9891 h 10126"/>
                <a:gd name="connsiteX389" fmla="*/ 3513 w 10000"/>
                <a:gd name="connsiteY389" fmla="*/ 9832 h 10126"/>
                <a:gd name="connsiteX390" fmla="*/ 3482 w 10000"/>
                <a:gd name="connsiteY390" fmla="*/ 9758 h 10126"/>
                <a:gd name="connsiteX391" fmla="*/ 3457 w 10000"/>
                <a:gd name="connsiteY391" fmla="*/ 9686 h 10126"/>
                <a:gd name="connsiteX392" fmla="*/ 3400 w 10000"/>
                <a:gd name="connsiteY392" fmla="*/ 9547 h 10126"/>
                <a:gd name="connsiteX393" fmla="*/ 3325 w 10000"/>
                <a:gd name="connsiteY393" fmla="*/ 9415 h 10126"/>
                <a:gd name="connsiteX394" fmla="*/ 3237 w 10000"/>
                <a:gd name="connsiteY394" fmla="*/ 9277 h 10126"/>
                <a:gd name="connsiteX395" fmla="*/ 3143 w 10000"/>
                <a:gd name="connsiteY395" fmla="*/ 9132 h 10126"/>
                <a:gd name="connsiteX396" fmla="*/ 3049 w 10000"/>
                <a:gd name="connsiteY396" fmla="*/ 8999 h 10126"/>
                <a:gd name="connsiteX397" fmla="*/ 2967 w 10000"/>
                <a:gd name="connsiteY397" fmla="*/ 8867 h 10126"/>
                <a:gd name="connsiteX398" fmla="*/ 2892 w 10000"/>
                <a:gd name="connsiteY398" fmla="*/ 8747 h 10126"/>
                <a:gd name="connsiteX399" fmla="*/ 2829 w 10000"/>
                <a:gd name="connsiteY399" fmla="*/ 8644 h 10126"/>
                <a:gd name="connsiteX400" fmla="*/ 2773 w 10000"/>
                <a:gd name="connsiteY400" fmla="*/ 8529 h 10126"/>
                <a:gd name="connsiteX401" fmla="*/ 2735 w 10000"/>
                <a:gd name="connsiteY401" fmla="*/ 8427 h 10126"/>
                <a:gd name="connsiteX402" fmla="*/ 2698 w 10000"/>
                <a:gd name="connsiteY402" fmla="*/ 8319 h 10126"/>
                <a:gd name="connsiteX403" fmla="*/ 2666 w 10000"/>
                <a:gd name="connsiteY403" fmla="*/ 8210 h 10126"/>
                <a:gd name="connsiteX404" fmla="*/ 2629 w 10000"/>
                <a:gd name="connsiteY404" fmla="*/ 8101 h 10126"/>
                <a:gd name="connsiteX405" fmla="*/ 2597 w 10000"/>
                <a:gd name="connsiteY405" fmla="*/ 7993 h 10126"/>
                <a:gd name="connsiteX406" fmla="*/ 2553 w 10000"/>
                <a:gd name="connsiteY406" fmla="*/ 7872 h 10126"/>
                <a:gd name="connsiteX407" fmla="*/ 2497 w 10000"/>
                <a:gd name="connsiteY407" fmla="*/ 7753 h 10126"/>
                <a:gd name="connsiteX408" fmla="*/ 2359 w 10000"/>
                <a:gd name="connsiteY408" fmla="*/ 7559 h 10126"/>
                <a:gd name="connsiteX409" fmla="*/ 2208 w 10000"/>
                <a:gd name="connsiteY409" fmla="*/ 7378 h 10126"/>
                <a:gd name="connsiteX410" fmla="*/ 2139 w 10000"/>
                <a:gd name="connsiteY410" fmla="*/ 7295 h 10126"/>
                <a:gd name="connsiteX411" fmla="*/ 2070 w 10000"/>
                <a:gd name="connsiteY411" fmla="*/ 7198 h 10126"/>
                <a:gd name="connsiteX412" fmla="*/ 2008 w 10000"/>
                <a:gd name="connsiteY412" fmla="*/ 7108 h 10126"/>
                <a:gd name="connsiteX413" fmla="*/ 1957 w 10000"/>
                <a:gd name="connsiteY413" fmla="*/ 7011 h 10126"/>
                <a:gd name="connsiteX414" fmla="*/ 1888 w 10000"/>
                <a:gd name="connsiteY414" fmla="*/ 6776 h 10126"/>
                <a:gd name="connsiteX415" fmla="*/ 1832 w 10000"/>
                <a:gd name="connsiteY415" fmla="*/ 6559 h 10126"/>
                <a:gd name="connsiteX416" fmla="*/ 1782 w 10000"/>
                <a:gd name="connsiteY416" fmla="*/ 6349 h 10126"/>
                <a:gd name="connsiteX417" fmla="*/ 1757 w 10000"/>
                <a:gd name="connsiteY417" fmla="*/ 6137 h 10126"/>
                <a:gd name="connsiteX418" fmla="*/ 1725 w 10000"/>
                <a:gd name="connsiteY418" fmla="*/ 5932 h 10126"/>
                <a:gd name="connsiteX419" fmla="*/ 1713 w 10000"/>
                <a:gd name="connsiteY419" fmla="*/ 5716 h 10126"/>
                <a:gd name="connsiteX420" fmla="*/ 1706 w 10000"/>
                <a:gd name="connsiteY420" fmla="*/ 5493 h 10126"/>
                <a:gd name="connsiteX421" fmla="*/ 1706 w 10000"/>
                <a:gd name="connsiteY421" fmla="*/ 5270 h 10126"/>
                <a:gd name="connsiteX422" fmla="*/ 1681 w 10000"/>
                <a:gd name="connsiteY422" fmla="*/ 5264 h 10126"/>
                <a:gd name="connsiteX423" fmla="*/ 1650 w 10000"/>
                <a:gd name="connsiteY423" fmla="*/ 5258 h 10126"/>
                <a:gd name="connsiteX424" fmla="*/ 1625 w 10000"/>
                <a:gd name="connsiteY424" fmla="*/ 5252 h 10126"/>
                <a:gd name="connsiteX425" fmla="*/ 1606 w 10000"/>
                <a:gd name="connsiteY425" fmla="*/ 5228 h 10126"/>
                <a:gd name="connsiteX426" fmla="*/ 1581 w 10000"/>
                <a:gd name="connsiteY426" fmla="*/ 5216 h 10126"/>
                <a:gd name="connsiteX427" fmla="*/ 1568 w 10000"/>
                <a:gd name="connsiteY427" fmla="*/ 5198 h 10126"/>
                <a:gd name="connsiteX428" fmla="*/ 1550 w 10000"/>
                <a:gd name="connsiteY428" fmla="*/ 5174 h 10126"/>
                <a:gd name="connsiteX429" fmla="*/ 1543 w 10000"/>
                <a:gd name="connsiteY429" fmla="*/ 5150 h 10126"/>
                <a:gd name="connsiteX430" fmla="*/ 1518 w 10000"/>
                <a:gd name="connsiteY430" fmla="*/ 5101 h 10126"/>
                <a:gd name="connsiteX431" fmla="*/ 1506 w 10000"/>
                <a:gd name="connsiteY431" fmla="*/ 5047 h 10126"/>
                <a:gd name="connsiteX432" fmla="*/ 1499 w 10000"/>
                <a:gd name="connsiteY432" fmla="*/ 4987 h 10126"/>
                <a:gd name="connsiteX433" fmla="*/ 1499 w 10000"/>
                <a:gd name="connsiteY433" fmla="*/ 4933 h 10126"/>
                <a:gd name="connsiteX434" fmla="*/ 1443 w 10000"/>
                <a:gd name="connsiteY434" fmla="*/ 4969 h 10126"/>
                <a:gd name="connsiteX435" fmla="*/ 1405 w 10000"/>
                <a:gd name="connsiteY435" fmla="*/ 5011 h 10126"/>
                <a:gd name="connsiteX436" fmla="*/ 1361 w 10000"/>
                <a:gd name="connsiteY436" fmla="*/ 5053 h 10126"/>
                <a:gd name="connsiteX437" fmla="*/ 1317 w 10000"/>
                <a:gd name="connsiteY437" fmla="*/ 5101 h 10126"/>
                <a:gd name="connsiteX438" fmla="*/ 1261 w 10000"/>
                <a:gd name="connsiteY438" fmla="*/ 5198 h 10126"/>
                <a:gd name="connsiteX439" fmla="*/ 1205 w 10000"/>
                <a:gd name="connsiteY439" fmla="*/ 5300 h 10126"/>
                <a:gd name="connsiteX440" fmla="*/ 1167 w 10000"/>
                <a:gd name="connsiteY440" fmla="*/ 5343 h 10126"/>
                <a:gd name="connsiteX441" fmla="*/ 1142 w 10000"/>
                <a:gd name="connsiteY441" fmla="*/ 5384 h 10126"/>
                <a:gd name="connsiteX442" fmla="*/ 1104 w 10000"/>
                <a:gd name="connsiteY442" fmla="*/ 5426 h 10126"/>
                <a:gd name="connsiteX443" fmla="*/ 1073 w 10000"/>
                <a:gd name="connsiteY443" fmla="*/ 5456 h 10126"/>
                <a:gd name="connsiteX444" fmla="*/ 1029 w 10000"/>
                <a:gd name="connsiteY444" fmla="*/ 5487 h 10126"/>
                <a:gd name="connsiteX445" fmla="*/ 985 w 10000"/>
                <a:gd name="connsiteY445" fmla="*/ 5505 h 10126"/>
                <a:gd name="connsiteX446" fmla="*/ 928 w 10000"/>
                <a:gd name="connsiteY446" fmla="*/ 5517 h 10126"/>
                <a:gd name="connsiteX447" fmla="*/ 872 w 10000"/>
                <a:gd name="connsiteY447" fmla="*/ 5523 h 10126"/>
                <a:gd name="connsiteX448" fmla="*/ 841 w 10000"/>
                <a:gd name="connsiteY448" fmla="*/ 5517 h 10126"/>
                <a:gd name="connsiteX449" fmla="*/ 797 w 10000"/>
                <a:gd name="connsiteY449" fmla="*/ 5505 h 10126"/>
                <a:gd name="connsiteX450" fmla="*/ 753 w 10000"/>
                <a:gd name="connsiteY450" fmla="*/ 5487 h 10126"/>
                <a:gd name="connsiteX451" fmla="*/ 709 w 10000"/>
                <a:gd name="connsiteY451" fmla="*/ 5456 h 10126"/>
                <a:gd name="connsiteX452" fmla="*/ 659 w 10000"/>
                <a:gd name="connsiteY452" fmla="*/ 5420 h 10126"/>
                <a:gd name="connsiteX453" fmla="*/ 609 w 10000"/>
                <a:gd name="connsiteY453" fmla="*/ 5384 h 10126"/>
                <a:gd name="connsiteX454" fmla="*/ 565 w 10000"/>
                <a:gd name="connsiteY454" fmla="*/ 5343 h 10126"/>
                <a:gd name="connsiteX455" fmla="*/ 514 w 10000"/>
                <a:gd name="connsiteY455" fmla="*/ 5294 h 10126"/>
                <a:gd name="connsiteX456" fmla="*/ 471 w 10000"/>
                <a:gd name="connsiteY456" fmla="*/ 5246 h 10126"/>
                <a:gd name="connsiteX457" fmla="*/ 433 w 10000"/>
                <a:gd name="connsiteY457" fmla="*/ 5192 h 10126"/>
                <a:gd name="connsiteX458" fmla="*/ 389 w 10000"/>
                <a:gd name="connsiteY458" fmla="*/ 5138 h 10126"/>
                <a:gd name="connsiteX459" fmla="*/ 358 w 10000"/>
                <a:gd name="connsiteY459" fmla="*/ 5083 h 10126"/>
                <a:gd name="connsiteX460" fmla="*/ 326 w 10000"/>
                <a:gd name="connsiteY460" fmla="*/ 5035 h 10126"/>
                <a:gd name="connsiteX461" fmla="*/ 307 w 10000"/>
                <a:gd name="connsiteY461" fmla="*/ 4987 h 10126"/>
                <a:gd name="connsiteX462" fmla="*/ 295 w 10000"/>
                <a:gd name="connsiteY462" fmla="*/ 4939 h 10126"/>
                <a:gd name="connsiteX463" fmla="*/ 289 w 10000"/>
                <a:gd name="connsiteY463" fmla="*/ 4890 h 10126"/>
                <a:gd name="connsiteX464" fmla="*/ 320 w 10000"/>
                <a:gd name="connsiteY464" fmla="*/ 4872 h 10126"/>
                <a:gd name="connsiteX465" fmla="*/ 395 w 10000"/>
                <a:gd name="connsiteY465" fmla="*/ 4837 h 10126"/>
                <a:gd name="connsiteX466" fmla="*/ 483 w 10000"/>
                <a:gd name="connsiteY466" fmla="*/ 4801 h 10126"/>
                <a:gd name="connsiteX467" fmla="*/ 533 w 10000"/>
                <a:gd name="connsiteY467" fmla="*/ 4783 h 10126"/>
                <a:gd name="connsiteX468" fmla="*/ 483 w 10000"/>
                <a:gd name="connsiteY468" fmla="*/ 4783 h 10126"/>
                <a:gd name="connsiteX469" fmla="*/ 420 w 10000"/>
                <a:gd name="connsiteY469" fmla="*/ 4777 h 10126"/>
                <a:gd name="connsiteX470" fmla="*/ 370 w 10000"/>
                <a:gd name="connsiteY470" fmla="*/ 4765 h 10126"/>
                <a:gd name="connsiteX471" fmla="*/ 320 w 10000"/>
                <a:gd name="connsiteY471" fmla="*/ 4759 h 10126"/>
                <a:gd name="connsiteX472" fmla="*/ 276 w 10000"/>
                <a:gd name="connsiteY472" fmla="*/ 4740 h 10126"/>
                <a:gd name="connsiteX473" fmla="*/ 232 w 10000"/>
                <a:gd name="connsiteY473" fmla="*/ 4728 h 10126"/>
                <a:gd name="connsiteX474" fmla="*/ 188 w 10000"/>
                <a:gd name="connsiteY474" fmla="*/ 4710 h 10126"/>
                <a:gd name="connsiteX475" fmla="*/ 157 w 10000"/>
                <a:gd name="connsiteY475" fmla="*/ 4685 h 10126"/>
                <a:gd name="connsiteX476" fmla="*/ 132 w 10000"/>
                <a:gd name="connsiteY476" fmla="*/ 4661 h 10126"/>
                <a:gd name="connsiteX477" fmla="*/ 100 w 10000"/>
                <a:gd name="connsiteY477" fmla="*/ 4637 h 10126"/>
                <a:gd name="connsiteX478" fmla="*/ 75 w 10000"/>
                <a:gd name="connsiteY478" fmla="*/ 4607 h 10126"/>
                <a:gd name="connsiteX479" fmla="*/ 50 w 10000"/>
                <a:gd name="connsiteY479" fmla="*/ 4583 h 10126"/>
                <a:gd name="connsiteX480" fmla="*/ 19 w 10000"/>
                <a:gd name="connsiteY480" fmla="*/ 4511 h 10126"/>
                <a:gd name="connsiteX481" fmla="*/ 0 w 10000"/>
                <a:gd name="connsiteY481" fmla="*/ 4444 h 10126"/>
                <a:gd name="connsiteX482" fmla="*/ 63 w 10000"/>
                <a:gd name="connsiteY482" fmla="*/ 4396 h 10126"/>
                <a:gd name="connsiteX483" fmla="*/ 132 w 10000"/>
                <a:gd name="connsiteY483" fmla="*/ 4360 h 10126"/>
                <a:gd name="connsiteX484" fmla="*/ 201 w 10000"/>
                <a:gd name="connsiteY484" fmla="*/ 4331 h 10126"/>
                <a:gd name="connsiteX485" fmla="*/ 276 w 10000"/>
                <a:gd name="connsiteY485" fmla="*/ 4307 h 10126"/>
                <a:gd name="connsiteX486" fmla="*/ 420 w 10000"/>
                <a:gd name="connsiteY486" fmla="*/ 4277 h 10126"/>
                <a:gd name="connsiteX487" fmla="*/ 565 w 10000"/>
                <a:gd name="connsiteY487" fmla="*/ 4252 h 10126"/>
                <a:gd name="connsiteX488" fmla="*/ 640 w 10000"/>
                <a:gd name="connsiteY488" fmla="*/ 4240 h 10126"/>
                <a:gd name="connsiteX489" fmla="*/ 709 w 10000"/>
                <a:gd name="connsiteY489" fmla="*/ 4216 h 10126"/>
                <a:gd name="connsiteX490" fmla="*/ 772 w 10000"/>
                <a:gd name="connsiteY490" fmla="*/ 4198 h 10126"/>
                <a:gd name="connsiteX491" fmla="*/ 834 w 10000"/>
                <a:gd name="connsiteY491" fmla="*/ 4168 h 10126"/>
                <a:gd name="connsiteX492" fmla="*/ 891 w 10000"/>
                <a:gd name="connsiteY492" fmla="*/ 4138 h 10126"/>
                <a:gd name="connsiteX493" fmla="*/ 947 w 10000"/>
                <a:gd name="connsiteY493" fmla="*/ 4090 h 10126"/>
                <a:gd name="connsiteX494" fmla="*/ 997 w 10000"/>
                <a:gd name="connsiteY494" fmla="*/ 4035 h 10126"/>
                <a:gd name="connsiteX495" fmla="*/ 1035 w 10000"/>
                <a:gd name="connsiteY495" fmla="*/ 3968 h 10126"/>
                <a:gd name="connsiteX496" fmla="*/ 1010 w 10000"/>
                <a:gd name="connsiteY496" fmla="*/ 3956 h 10126"/>
                <a:gd name="connsiteX497" fmla="*/ 985 w 10000"/>
                <a:gd name="connsiteY497" fmla="*/ 3938 h 10126"/>
                <a:gd name="connsiteX498" fmla="*/ 947 w 10000"/>
                <a:gd name="connsiteY498" fmla="*/ 3914 h 10126"/>
                <a:gd name="connsiteX499" fmla="*/ 910 w 10000"/>
                <a:gd name="connsiteY499" fmla="*/ 3878 h 10126"/>
                <a:gd name="connsiteX500" fmla="*/ 822 w 10000"/>
                <a:gd name="connsiteY500" fmla="*/ 3806 h 10126"/>
                <a:gd name="connsiteX501" fmla="*/ 740 w 10000"/>
                <a:gd name="connsiteY501" fmla="*/ 3722 h 10126"/>
                <a:gd name="connsiteX502" fmla="*/ 665 w 10000"/>
                <a:gd name="connsiteY502" fmla="*/ 3631 h 10126"/>
                <a:gd name="connsiteX503" fmla="*/ 596 w 10000"/>
                <a:gd name="connsiteY503" fmla="*/ 3535 h 10126"/>
                <a:gd name="connsiteX504" fmla="*/ 577 w 10000"/>
                <a:gd name="connsiteY504" fmla="*/ 3493 h 10126"/>
                <a:gd name="connsiteX505" fmla="*/ 558 w 10000"/>
                <a:gd name="connsiteY505" fmla="*/ 3451 h 10126"/>
                <a:gd name="connsiteX506" fmla="*/ 540 w 10000"/>
                <a:gd name="connsiteY506" fmla="*/ 3408 h 10126"/>
                <a:gd name="connsiteX507" fmla="*/ 533 w 10000"/>
                <a:gd name="connsiteY507" fmla="*/ 3372 h 10126"/>
                <a:gd name="connsiteX508" fmla="*/ 508 w 10000"/>
                <a:gd name="connsiteY508" fmla="*/ 3366 h 10126"/>
                <a:gd name="connsiteX509" fmla="*/ 483 w 10000"/>
                <a:gd name="connsiteY509" fmla="*/ 3360 h 10126"/>
                <a:gd name="connsiteX510" fmla="*/ 458 w 10000"/>
                <a:gd name="connsiteY510" fmla="*/ 3348 h 10126"/>
                <a:gd name="connsiteX511" fmla="*/ 439 w 10000"/>
                <a:gd name="connsiteY511" fmla="*/ 3325 h 10126"/>
                <a:gd name="connsiteX512" fmla="*/ 402 w 10000"/>
                <a:gd name="connsiteY512" fmla="*/ 3282 h 10126"/>
                <a:gd name="connsiteX513" fmla="*/ 370 w 10000"/>
                <a:gd name="connsiteY513" fmla="*/ 3222 h 10126"/>
                <a:gd name="connsiteX514" fmla="*/ 370 w 10000"/>
                <a:gd name="connsiteY514" fmla="*/ 3077 h 10126"/>
                <a:gd name="connsiteX515" fmla="*/ 458 w 10000"/>
                <a:gd name="connsiteY515" fmla="*/ 3071 h 10126"/>
                <a:gd name="connsiteX516" fmla="*/ 540 w 10000"/>
                <a:gd name="connsiteY516" fmla="*/ 3065 h 10126"/>
                <a:gd name="connsiteX517" fmla="*/ 615 w 10000"/>
                <a:gd name="connsiteY517" fmla="*/ 3053 h 10126"/>
                <a:gd name="connsiteX518" fmla="*/ 684 w 10000"/>
                <a:gd name="connsiteY518" fmla="*/ 3029 h 10126"/>
                <a:gd name="connsiteX519" fmla="*/ 747 w 10000"/>
                <a:gd name="connsiteY519" fmla="*/ 3011 h 10126"/>
                <a:gd name="connsiteX520" fmla="*/ 809 w 10000"/>
                <a:gd name="connsiteY520" fmla="*/ 2980 h 10126"/>
                <a:gd name="connsiteX521" fmla="*/ 866 w 10000"/>
                <a:gd name="connsiteY521" fmla="*/ 2950 h 10126"/>
                <a:gd name="connsiteX522" fmla="*/ 922 w 10000"/>
                <a:gd name="connsiteY522" fmla="*/ 2914 h 10126"/>
                <a:gd name="connsiteX523" fmla="*/ 966 w 10000"/>
                <a:gd name="connsiteY523" fmla="*/ 2872 h 10126"/>
                <a:gd name="connsiteX524" fmla="*/ 1016 w 10000"/>
                <a:gd name="connsiteY524" fmla="*/ 2831 h 10126"/>
                <a:gd name="connsiteX525" fmla="*/ 1060 w 10000"/>
                <a:gd name="connsiteY525" fmla="*/ 2789 h 10126"/>
                <a:gd name="connsiteX526" fmla="*/ 1098 w 10000"/>
                <a:gd name="connsiteY526" fmla="*/ 2740 h 10126"/>
                <a:gd name="connsiteX527" fmla="*/ 1167 w 10000"/>
                <a:gd name="connsiteY527" fmla="*/ 2644 h 10126"/>
                <a:gd name="connsiteX528" fmla="*/ 1236 w 10000"/>
                <a:gd name="connsiteY528" fmla="*/ 2534 h 10126"/>
                <a:gd name="connsiteX529" fmla="*/ 1355 w 10000"/>
                <a:gd name="connsiteY529" fmla="*/ 2318 h 10126"/>
                <a:gd name="connsiteX530" fmla="*/ 1474 w 10000"/>
                <a:gd name="connsiteY530" fmla="*/ 2101 h 10126"/>
                <a:gd name="connsiteX531" fmla="*/ 1543 w 10000"/>
                <a:gd name="connsiteY531" fmla="*/ 2005 h 10126"/>
                <a:gd name="connsiteX532" fmla="*/ 1612 w 10000"/>
                <a:gd name="connsiteY532" fmla="*/ 1920 h 10126"/>
                <a:gd name="connsiteX533" fmla="*/ 1650 w 10000"/>
                <a:gd name="connsiteY533" fmla="*/ 1871 h 10126"/>
                <a:gd name="connsiteX534" fmla="*/ 1694 w 10000"/>
                <a:gd name="connsiteY534" fmla="*/ 1835 h 10126"/>
                <a:gd name="connsiteX535" fmla="*/ 1738 w 10000"/>
                <a:gd name="connsiteY535" fmla="*/ 1806 h 10126"/>
                <a:gd name="connsiteX536" fmla="*/ 1788 w 10000"/>
                <a:gd name="connsiteY536" fmla="*/ 1776 h 10126"/>
                <a:gd name="connsiteX537" fmla="*/ 1750 w 10000"/>
                <a:gd name="connsiteY537" fmla="*/ 1703 h 10126"/>
                <a:gd name="connsiteX538" fmla="*/ 1719 w 10000"/>
                <a:gd name="connsiteY538" fmla="*/ 1637 h 10126"/>
                <a:gd name="connsiteX539" fmla="*/ 1713 w 10000"/>
                <a:gd name="connsiteY539" fmla="*/ 1607 h 10126"/>
                <a:gd name="connsiteX540" fmla="*/ 1706 w 10000"/>
                <a:gd name="connsiteY540" fmla="*/ 1577 h 10126"/>
                <a:gd name="connsiteX541" fmla="*/ 1706 w 10000"/>
                <a:gd name="connsiteY541" fmla="*/ 1541 h 10126"/>
                <a:gd name="connsiteX542" fmla="*/ 1706 w 10000"/>
                <a:gd name="connsiteY542" fmla="*/ 1511 h 10126"/>
                <a:gd name="connsiteX543" fmla="*/ 1713 w 10000"/>
                <a:gd name="connsiteY543" fmla="*/ 1480 h 10126"/>
                <a:gd name="connsiteX544" fmla="*/ 1719 w 10000"/>
                <a:gd name="connsiteY544" fmla="*/ 1450 h 10126"/>
                <a:gd name="connsiteX545" fmla="*/ 1731 w 10000"/>
                <a:gd name="connsiteY545" fmla="*/ 1426 h 10126"/>
                <a:gd name="connsiteX546" fmla="*/ 1757 w 10000"/>
                <a:gd name="connsiteY546" fmla="*/ 1402 h 10126"/>
                <a:gd name="connsiteX547" fmla="*/ 1775 w 10000"/>
                <a:gd name="connsiteY547" fmla="*/ 1384 h 10126"/>
                <a:gd name="connsiteX548" fmla="*/ 1801 w 10000"/>
                <a:gd name="connsiteY548" fmla="*/ 1366 h 10126"/>
                <a:gd name="connsiteX549" fmla="*/ 1838 w 10000"/>
                <a:gd name="connsiteY549" fmla="*/ 1348 h 10126"/>
                <a:gd name="connsiteX550" fmla="*/ 1870 w 10000"/>
                <a:gd name="connsiteY550" fmla="*/ 1330 h 10126"/>
                <a:gd name="connsiteX551" fmla="*/ 1788 w 10000"/>
                <a:gd name="connsiteY551" fmla="*/ 1240 h 10126"/>
                <a:gd name="connsiteX552" fmla="*/ 1688 w 10000"/>
                <a:gd name="connsiteY552" fmla="*/ 1168 h 10126"/>
                <a:gd name="connsiteX553" fmla="*/ 1550 w 10000"/>
                <a:gd name="connsiteY553" fmla="*/ 1046 h 10126"/>
                <a:gd name="connsiteX554" fmla="*/ 1487 w 10000"/>
                <a:gd name="connsiteY554" fmla="*/ 986 h 10126"/>
                <a:gd name="connsiteX555" fmla="*/ 1383 w 10000"/>
                <a:gd name="connsiteY555" fmla="*/ 868 h 10126"/>
                <a:gd name="connsiteX556" fmla="*/ 1426 w 10000"/>
                <a:gd name="connsiteY556" fmla="*/ 764 h 10126"/>
                <a:gd name="connsiteX557" fmla="*/ 1603 w 10000"/>
                <a:gd name="connsiteY557" fmla="*/ 650 h 10126"/>
                <a:gd name="connsiteX558" fmla="*/ 1708 w 10000"/>
                <a:gd name="connsiteY558" fmla="*/ 605 h 10126"/>
                <a:gd name="connsiteX559" fmla="*/ 1673 w 10000"/>
                <a:gd name="connsiteY559" fmla="*/ 540 h 10126"/>
                <a:gd name="connsiteX560" fmla="*/ 1606 w 10000"/>
                <a:gd name="connsiteY560" fmla="*/ 463 h 10126"/>
                <a:gd name="connsiteX561" fmla="*/ 1539 w 10000"/>
                <a:gd name="connsiteY561" fmla="*/ 431 h 10126"/>
                <a:gd name="connsiteX562" fmla="*/ 1539 w 10000"/>
                <a:gd name="connsiteY562" fmla="*/ 366 h 10126"/>
                <a:gd name="connsiteX563" fmla="*/ 1473 w 10000"/>
                <a:gd name="connsiteY563" fmla="*/ 296 h 10126"/>
                <a:gd name="connsiteX564" fmla="*/ 1341 w 10000"/>
                <a:gd name="connsiteY564" fmla="*/ 236 h 10126"/>
                <a:gd name="connsiteX565" fmla="*/ 1490 w 10000"/>
                <a:gd name="connsiteY565" fmla="*/ 123 h 10126"/>
                <a:gd name="connsiteX566" fmla="*/ 1654 w 10000"/>
                <a:gd name="connsiteY566" fmla="*/ 0 h 10126"/>
                <a:gd name="connsiteX567" fmla="*/ 1895 w 10000"/>
                <a:gd name="connsiteY567" fmla="*/ 61 h 10126"/>
                <a:gd name="connsiteX568" fmla="*/ 2151 w 10000"/>
                <a:gd name="connsiteY568" fmla="*/ 94 h 10126"/>
                <a:gd name="connsiteX569" fmla="*/ 2280 w 10000"/>
                <a:gd name="connsiteY569" fmla="*/ 123 h 10126"/>
                <a:gd name="connsiteX570" fmla="*/ 2517 w 10000"/>
                <a:gd name="connsiteY570"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093 w 10000"/>
                <a:gd name="connsiteY4" fmla="*/ 619 h 10126"/>
                <a:gd name="connsiteX5" fmla="*/ 2992 w 10000"/>
                <a:gd name="connsiteY5" fmla="*/ 710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193 w 10000"/>
                <a:gd name="connsiteY4" fmla="*/ 539 h 10126"/>
                <a:gd name="connsiteX5" fmla="*/ 2992 w 10000"/>
                <a:gd name="connsiteY5" fmla="*/ 710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152 w 10000"/>
                <a:gd name="connsiteY3" fmla="*/ 534 h 10126"/>
                <a:gd name="connsiteX4" fmla="*/ 3193 w 10000"/>
                <a:gd name="connsiteY4" fmla="*/ 539 h 10126"/>
                <a:gd name="connsiteX5" fmla="*/ 3126 w 10000"/>
                <a:gd name="connsiteY5" fmla="*/ 657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193 w 10000"/>
                <a:gd name="connsiteY4" fmla="*/ 539 h 10126"/>
                <a:gd name="connsiteX5" fmla="*/ 3126 w 10000"/>
                <a:gd name="connsiteY5" fmla="*/ 657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26 w 10000"/>
                <a:gd name="connsiteY5" fmla="*/ 657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043 w 10000"/>
                <a:gd name="connsiteY6" fmla="*/ 734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043 w 10000"/>
                <a:gd name="connsiteY13" fmla="*/ 1180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12 w 10000"/>
                <a:gd name="connsiteY11" fmla="*/ 1113 h 10126"/>
                <a:gd name="connsiteX12" fmla="*/ 3331 w 10000"/>
                <a:gd name="connsiteY12" fmla="*/ 1180 h 10126"/>
                <a:gd name="connsiteX13" fmla="*/ 3348 w 10000"/>
                <a:gd name="connsiteY13" fmla="*/ 1238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56 w 10000"/>
                <a:gd name="connsiteY11" fmla="*/ 1113 h 10126"/>
                <a:gd name="connsiteX12" fmla="*/ 3331 w 10000"/>
                <a:gd name="connsiteY12" fmla="*/ 1180 h 10126"/>
                <a:gd name="connsiteX13" fmla="*/ 3348 w 10000"/>
                <a:gd name="connsiteY13" fmla="*/ 1238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256 w 10000"/>
                <a:gd name="connsiteY9" fmla="*/ 986 h 10126"/>
                <a:gd name="connsiteX10" fmla="*/ 3281 w 10000"/>
                <a:gd name="connsiteY10" fmla="*/ 1046 h 10126"/>
                <a:gd name="connsiteX11" fmla="*/ 3356 w 10000"/>
                <a:gd name="connsiteY11" fmla="*/ 1113 h 10126"/>
                <a:gd name="connsiteX12" fmla="*/ 3389 w 10000"/>
                <a:gd name="connsiteY12" fmla="*/ 1215 h 10126"/>
                <a:gd name="connsiteX13" fmla="*/ 3348 w 10000"/>
                <a:gd name="connsiteY13" fmla="*/ 1238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256 w 10000"/>
                <a:gd name="connsiteY9" fmla="*/ 986 h 10126"/>
                <a:gd name="connsiteX10" fmla="*/ 3412 w 10000"/>
                <a:gd name="connsiteY10" fmla="*/ 1046 h 10126"/>
                <a:gd name="connsiteX11" fmla="*/ 3356 w 10000"/>
                <a:gd name="connsiteY11" fmla="*/ 1113 h 10126"/>
                <a:gd name="connsiteX12" fmla="*/ 3389 w 10000"/>
                <a:gd name="connsiteY12" fmla="*/ 1215 h 10126"/>
                <a:gd name="connsiteX13" fmla="*/ 3348 w 10000"/>
                <a:gd name="connsiteY13" fmla="*/ 1238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174 w 10000"/>
                <a:gd name="connsiteY8" fmla="*/ 872 h 10126"/>
                <a:gd name="connsiteX9" fmla="*/ 3314 w 10000"/>
                <a:gd name="connsiteY9" fmla="*/ 940 h 10126"/>
                <a:gd name="connsiteX10" fmla="*/ 3412 w 10000"/>
                <a:gd name="connsiteY10" fmla="*/ 1046 h 10126"/>
                <a:gd name="connsiteX11" fmla="*/ 3356 w 10000"/>
                <a:gd name="connsiteY11" fmla="*/ 1113 h 10126"/>
                <a:gd name="connsiteX12" fmla="*/ 3389 w 10000"/>
                <a:gd name="connsiteY12" fmla="*/ 1215 h 10126"/>
                <a:gd name="connsiteX13" fmla="*/ 3348 w 10000"/>
                <a:gd name="connsiteY13" fmla="*/ 1238 h 10126"/>
                <a:gd name="connsiteX14" fmla="*/ 3043 w 10000"/>
                <a:gd name="connsiteY14" fmla="*/ 1366 h 10126"/>
                <a:gd name="connsiteX15" fmla="*/ 3074 w 10000"/>
                <a:gd name="connsiteY15" fmla="*/ 1444 h 10126"/>
                <a:gd name="connsiteX16" fmla="*/ 3118 w 10000"/>
                <a:gd name="connsiteY16" fmla="*/ 1511 h 10126"/>
                <a:gd name="connsiteX17" fmla="*/ 3168 w 10000"/>
                <a:gd name="connsiteY17" fmla="*/ 1571 h 10126"/>
                <a:gd name="connsiteX18" fmla="*/ 3225 w 10000"/>
                <a:gd name="connsiteY18" fmla="*/ 1613 h 10126"/>
                <a:gd name="connsiteX19" fmla="*/ 3281 w 10000"/>
                <a:gd name="connsiteY19" fmla="*/ 1655 h 10126"/>
                <a:gd name="connsiteX20" fmla="*/ 3350 w 10000"/>
                <a:gd name="connsiteY20" fmla="*/ 1685 h 10126"/>
                <a:gd name="connsiteX21" fmla="*/ 3413 w 10000"/>
                <a:gd name="connsiteY21" fmla="*/ 1715 h 10126"/>
                <a:gd name="connsiteX22" fmla="*/ 3488 w 10000"/>
                <a:gd name="connsiteY22" fmla="*/ 1740 h 10126"/>
                <a:gd name="connsiteX23" fmla="*/ 3626 w 10000"/>
                <a:gd name="connsiteY23" fmla="*/ 1794 h 10126"/>
                <a:gd name="connsiteX24" fmla="*/ 3764 w 10000"/>
                <a:gd name="connsiteY24" fmla="*/ 1847 h 10126"/>
                <a:gd name="connsiteX25" fmla="*/ 3827 w 10000"/>
                <a:gd name="connsiteY25" fmla="*/ 1884 h 10126"/>
                <a:gd name="connsiteX26" fmla="*/ 3890 w 10000"/>
                <a:gd name="connsiteY26" fmla="*/ 1932 h 10126"/>
                <a:gd name="connsiteX27" fmla="*/ 3946 w 10000"/>
                <a:gd name="connsiteY27" fmla="*/ 1981 h 10126"/>
                <a:gd name="connsiteX28" fmla="*/ 4003 w 10000"/>
                <a:gd name="connsiteY28" fmla="*/ 2035 h 10126"/>
                <a:gd name="connsiteX29" fmla="*/ 3959 w 10000"/>
                <a:gd name="connsiteY29" fmla="*/ 2596 h 10126"/>
                <a:gd name="connsiteX30" fmla="*/ 4034 w 10000"/>
                <a:gd name="connsiteY30" fmla="*/ 2650 h 10126"/>
                <a:gd name="connsiteX31" fmla="*/ 4141 w 10000"/>
                <a:gd name="connsiteY31" fmla="*/ 2716 h 10126"/>
                <a:gd name="connsiteX32" fmla="*/ 4260 w 10000"/>
                <a:gd name="connsiteY32" fmla="*/ 2776 h 10126"/>
                <a:gd name="connsiteX33" fmla="*/ 4398 w 10000"/>
                <a:gd name="connsiteY33" fmla="*/ 2831 h 10126"/>
                <a:gd name="connsiteX34" fmla="*/ 4536 w 10000"/>
                <a:gd name="connsiteY34" fmla="*/ 2884 h 10126"/>
                <a:gd name="connsiteX35" fmla="*/ 4668 w 10000"/>
                <a:gd name="connsiteY35" fmla="*/ 2926 h 10126"/>
                <a:gd name="connsiteX36" fmla="*/ 4724 w 10000"/>
                <a:gd name="connsiteY36" fmla="*/ 2944 h 10126"/>
                <a:gd name="connsiteX37" fmla="*/ 4780 w 10000"/>
                <a:gd name="connsiteY37" fmla="*/ 2956 h 10126"/>
                <a:gd name="connsiteX38" fmla="*/ 4831 w 10000"/>
                <a:gd name="connsiteY38" fmla="*/ 2962 h 10126"/>
                <a:gd name="connsiteX39" fmla="*/ 4875 w 10000"/>
                <a:gd name="connsiteY39" fmla="*/ 2962 h 10126"/>
                <a:gd name="connsiteX40" fmla="*/ 4887 w 10000"/>
                <a:gd name="connsiteY40" fmla="*/ 3005 h 10126"/>
                <a:gd name="connsiteX41" fmla="*/ 4918 w 10000"/>
                <a:gd name="connsiteY41" fmla="*/ 3041 h 10126"/>
                <a:gd name="connsiteX42" fmla="*/ 4950 w 10000"/>
                <a:gd name="connsiteY42" fmla="*/ 3059 h 10126"/>
                <a:gd name="connsiteX43" fmla="*/ 4987 w 10000"/>
                <a:gd name="connsiteY43" fmla="*/ 3071 h 10126"/>
                <a:gd name="connsiteX44" fmla="*/ 5019 w 10000"/>
                <a:gd name="connsiteY44" fmla="*/ 3083 h 10126"/>
                <a:gd name="connsiteX45" fmla="*/ 5063 w 10000"/>
                <a:gd name="connsiteY45" fmla="*/ 3083 h 10126"/>
                <a:gd name="connsiteX46" fmla="*/ 5107 w 10000"/>
                <a:gd name="connsiteY46" fmla="*/ 3077 h 10126"/>
                <a:gd name="connsiteX47" fmla="*/ 5157 w 10000"/>
                <a:gd name="connsiteY47" fmla="*/ 3071 h 10126"/>
                <a:gd name="connsiteX48" fmla="*/ 5245 w 10000"/>
                <a:gd name="connsiteY48" fmla="*/ 3053 h 10126"/>
                <a:gd name="connsiteX49" fmla="*/ 5345 w 10000"/>
                <a:gd name="connsiteY49" fmla="*/ 3029 h 10126"/>
                <a:gd name="connsiteX50" fmla="*/ 5383 w 10000"/>
                <a:gd name="connsiteY50" fmla="*/ 3029 h 10126"/>
                <a:gd name="connsiteX51" fmla="*/ 5427 w 10000"/>
                <a:gd name="connsiteY51" fmla="*/ 3023 h 10126"/>
                <a:gd name="connsiteX52" fmla="*/ 5464 w 10000"/>
                <a:gd name="connsiteY52" fmla="*/ 3029 h 10126"/>
                <a:gd name="connsiteX53" fmla="*/ 5502 w 10000"/>
                <a:gd name="connsiteY53" fmla="*/ 3035 h 10126"/>
                <a:gd name="connsiteX54" fmla="*/ 5558 w 10000"/>
                <a:gd name="connsiteY54" fmla="*/ 3071 h 10126"/>
                <a:gd name="connsiteX55" fmla="*/ 5596 w 10000"/>
                <a:gd name="connsiteY55" fmla="*/ 3101 h 10126"/>
                <a:gd name="connsiteX56" fmla="*/ 5634 w 10000"/>
                <a:gd name="connsiteY56" fmla="*/ 3143 h 10126"/>
                <a:gd name="connsiteX57" fmla="*/ 5665 w 10000"/>
                <a:gd name="connsiteY57" fmla="*/ 3179 h 10126"/>
                <a:gd name="connsiteX58" fmla="*/ 5696 w 10000"/>
                <a:gd name="connsiteY58" fmla="*/ 3216 h 10126"/>
                <a:gd name="connsiteX59" fmla="*/ 5734 w 10000"/>
                <a:gd name="connsiteY59" fmla="*/ 3252 h 10126"/>
                <a:gd name="connsiteX60" fmla="*/ 5759 w 10000"/>
                <a:gd name="connsiteY60" fmla="*/ 3270 h 10126"/>
                <a:gd name="connsiteX61" fmla="*/ 5778 w 10000"/>
                <a:gd name="connsiteY61" fmla="*/ 3282 h 10126"/>
                <a:gd name="connsiteX62" fmla="*/ 5803 w 10000"/>
                <a:gd name="connsiteY62" fmla="*/ 3294 h 10126"/>
                <a:gd name="connsiteX63" fmla="*/ 5834 w 10000"/>
                <a:gd name="connsiteY63" fmla="*/ 3300 h 10126"/>
                <a:gd name="connsiteX64" fmla="*/ 5935 w 10000"/>
                <a:gd name="connsiteY64" fmla="*/ 3319 h 10126"/>
                <a:gd name="connsiteX65" fmla="*/ 6073 w 10000"/>
                <a:gd name="connsiteY65" fmla="*/ 3354 h 10126"/>
                <a:gd name="connsiteX66" fmla="*/ 6230 w 10000"/>
                <a:gd name="connsiteY66" fmla="*/ 3390 h 10126"/>
                <a:gd name="connsiteX67" fmla="*/ 6405 w 10000"/>
                <a:gd name="connsiteY67" fmla="*/ 3433 h 10126"/>
                <a:gd name="connsiteX68" fmla="*/ 6568 w 10000"/>
                <a:gd name="connsiteY68" fmla="*/ 3463 h 10126"/>
                <a:gd name="connsiteX69" fmla="*/ 6719 w 10000"/>
                <a:gd name="connsiteY69" fmla="*/ 3487 h 10126"/>
                <a:gd name="connsiteX70" fmla="*/ 6788 w 10000"/>
                <a:gd name="connsiteY70" fmla="*/ 3493 h 10126"/>
                <a:gd name="connsiteX71" fmla="*/ 6838 w 10000"/>
                <a:gd name="connsiteY71" fmla="*/ 3499 h 10126"/>
                <a:gd name="connsiteX72" fmla="*/ 6888 w 10000"/>
                <a:gd name="connsiteY72" fmla="*/ 3493 h 10126"/>
                <a:gd name="connsiteX73" fmla="*/ 6913 w 10000"/>
                <a:gd name="connsiteY73" fmla="*/ 3481 h 10126"/>
                <a:gd name="connsiteX74" fmla="*/ 6888 w 10000"/>
                <a:gd name="connsiteY74" fmla="*/ 3439 h 10126"/>
                <a:gd name="connsiteX75" fmla="*/ 6857 w 10000"/>
                <a:gd name="connsiteY75" fmla="*/ 3390 h 10126"/>
                <a:gd name="connsiteX76" fmla="*/ 6838 w 10000"/>
                <a:gd name="connsiteY76" fmla="*/ 3342 h 10126"/>
                <a:gd name="connsiteX77" fmla="*/ 6826 w 10000"/>
                <a:gd name="connsiteY77" fmla="*/ 3288 h 10126"/>
                <a:gd name="connsiteX78" fmla="*/ 6794 w 10000"/>
                <a:gd name="connsiteY78" fmla="*/ 3197 h 10126"/>
                <a:gd name="connsiteX79" fmla="*/ 6788 w 10000"/>
                <a:gd name="connsiteY79" fmla="*/ 3149 h 10126"/>
                <a:gd name="connsiteX80" fmla="*/ 6788 w 10000"/>
                <a:gd name="connsiteY80" fmla="*/ 2962 h 10126"/>
                <a:gd name="connsiteX81" fmla="*/ 6788 w 10000"/>
                <a:gd name="connsiteY81" fmla="*/ 2776 h 10126"/>
                <a:gd name="connsiteX82" fmla="*/ 6995 w 10000"/>
                <a:gd name="connsiteY82" fmla="*/ 2776 h 10126"/>
                <a:gd name="connsiteX83" fmla="*/ 7033 w 10000"/>
                <a:gd name="connsiteY83" fmla="*/ 2842 h 10126"/>
                <a:gd name="connsiteX84" fmla="*/ 7058 w 10000"/>
                <a:gd name="connsiteY84" fmla="*/ 2884 h 10126"/>
                <a:gd name="connsiteX85" fmla="*/ 7095 w 10000"/>
                <a:gd name="connsiteY85" fmla="*/ 2920 h 10126"/>
                <a:gd name="connsiteX86" fmla="*/ 7127 w 10000"/>
                <a:gd name="connsiteY86" fmla="*/ 2962 h 10126"/>
                <a:gd name="connsiteX87" fmla="*/ 7120 w 10000"/>
                <a:gd name="connsiteY87" fmla="*/ 3059 h 10126"/>
                <a:gd name="connsiteX88" fmla="*/ 7102 w 10000"/>
                <a:gd name="connsiteY88" fmla="*/ 3119 h 10126"/>
                <a:gd name="connsiteX89" fmla="*/ 7089 w 10000"/>
                <a:gd name="connsiteY89" fmla="*/ 3167 h 10126"/>
                <a:gd name="connsiteX90" fmla="*/ 7077 w 10000"/>
                <a:gd name="connsiteY90" fmla="*/ 3222 h 10126"/>
                <a:gd name="connsiteX91" fmla="*/ 7208 w 10000"/>
                <a:gd name="connsiteY91" fmla="*/ 3258 h 10126"/>
                <a:gd name="connsiteX92" fmla="*/ 7334 w 10000"/>
                <a:gd name="connsiteY92" fmla="*/ 3294 h 10126"/>
                <a:gd name="connsiteX93" fmla="*/ 7396 w 10000"/>
                <a:gd name="connsiteY93" fmla="*/ 3313 h 10126"/>
                <a:gd name="connsiteX94" fmla="*/ 7459 w 10000"/>
                <a:gd name="connsiteY94" fmla="*/ 3325 h 10126"/>
                <a:gd name="connsiteX95" fmla="*/ 7522 w 10000"/>
                <a:gd name="connsiteY95" fmla="*/ 3331 h 10126"/>
                <a:gd name="connsiteX96" fmla="*/ 7585 w 10000"/>
                <a:gd name="connsiteY96" fmla="*/ 3336 h 10126"/>
                <a:gd name="connsiteX97" fmla="*/ 7591 w 10000"/>
                <a:gd name="connsiteY97" fmla="*/ 3360 h 10126"/>
                <a:gd name="connsiteX98" fmla="*/ 7604 w 10000"/>
                <a:gd name="connsiteY98" fmla="*/ 3384 h 10126"/>
                <a:gd name="connsiteX99" fmla="*/ 7622 w 10000"/>
                <a:gd name="connsiteY99" fmla="*/ 3402 h 10126"/>
                <a:gd name="connsiteX100" fmla="*/ 7654 w 10000"/>
                <a:gd name="connsiteY100" fmla="*/ 3420 h 10126"/>
                <a:gd name="connsiteX101" fmla="*/ 7704 w 10000"/>
                <a:gd name="connsiteY101" fmla="*/ 3439 h 10126"/>
                <a:gd name="connsiteX102" fmla="*/ 7748 w 10000"/>
                <a:gd name="connsiteY102" fmla="*/ 3445 h 10126"/>
                <a:gd name="connsiteX103" fmla="*/ 7798 w 10000"/>
                <a:gd name="connsiteY103" fmla="*/ 3445 h 10126"/>
                <a:gd name="connsiteX104" fmla="*/ 7836 w 10000"/>
                <a:gd name="connsiteY104" fmla="*/ 3433 h 10126"/>
                <a:gd name="connsiteX105" fmla="*/ 7880 w 10000"/>
                <a:gd name="connsiteY105" fmla="*/ 3414 h 10126"/>
                <a:gd name="connsiteX106" fmla="*/ 7911 w 10000"/>
                <a:gd name="connsiteY106" fmla="*/ 3396 h 10126"/>
                <a:gd name="connsiteX107" fmla="*/ 7949 w 10000"/>
                <a:gd name="connsiteY107" fmla="*/ 3372 h 10126"/>
                <a:gd name="connsiteX108" fmla="*/ 7980 w 10000"/>
                <a:gd name="connsiteY108" fmla="*/ 3342 h 10126"/>
                <a:gd name="connsiteX109" fmla="*/ 8011 w 10000"/>
                <a:gd name="connsiteY109" fmla="*/ 3313 h 10126"/>
                <a:gd name="connsiteX110" fmla="*/ 8036 w 10000"/>
                <a:gd name="connsiteY110" fmla="*/ 3282 h 10126"/>
                <a:gd name="connsiteX111" fmla="*/ 8087 w 10000"/>
                <a:gd name="connsiteY111" fmla="*/ 3203 h 10126"/>
                <a:gd name="connsiteX112" fmla="*/ 8118 w 10000"/>
                <a:gd name="connsiteY112" fmla="*/ 3131 h 10126"/>
                <a:gd name="connsiteX113" fmla="*/ 8149 w 10000"/>
                <a:gd name="connsiteY113" fmla="*/ 3065 h 10126"/>
                <a:gd name="connsiteX114" fmla="*/ 8168 w 10000"/>
                <a:gd name="connsiteY114" fmla="*/ 2999 h 10126"/>
                <a:gd name="connsiteX115" fmla="*/ 8231 w 10000"/>
                <a:gd name="connsiteY115" fmla="*/ 2932 h 10126"/>
                <a:gd name="connsiteX116" fmla="*/ 8294 w 10000"/>
                <a:gd name="connsiteY116" fmla="*/ 2866 h 10126"/>
                <a:gd name="connsiteX117" fmla="*/ 8363 w 10000"/>
                <a:gd name="connsiteY117" fmla="*/ 2813 h 10126"/>
                <a:gd name="connsiteX118" fmla="*/ 8432 w 10000"/>
                <a:gd name="connsiteY118" fmla="*/ 2752 h 10126"/>
                <a:gd name="connsiteX119" fmla="*/ 8507 w 10000"/>
                <a:gd name="connsiteY119" fmla="*/ 2704 h 10126"/>
                <a:gd name="connsiteX120" fmla="*/ 8576 w 10000"/>
                <a:gd name="connsiteY120" fmla="*/ 2656 h 10126"/>
                <a:gd name="connsiteX121" fmla="*/ 8651 w 10000"/>
                <a:gd name="connsiteY121" fmla="*/ 2614 h 10126"/>
                <a:gd name="connsiteX122" fmla="*/ 8726 w 10000"/>
                <a:gd name="connsiteY122" fmla="*/ 2570 h 10126"/>
                <a:gd name="connsiteX123" fmla="*/ 8808 w 10000"/>
                <a:gd name="connsiteY123" fmla="*/ 2528 h 10126"/>
                <a:gd name="connsiteX124" fmla="*/ 8890 w 10000"/>
                <a:gd name="connsiteY124" fmla="*/ 2492 h 10126"/>
                <a:gd name="connsiteX125" fmla="*/ 8971 w 10000"/>
                <a:gd name="connsiteY125" fmla="*/ 2462 h 10126"/>
                <a:gd name="connsiteX126" fmla="*/ 9059 w 10000"/>
                <a:gd name="connsiteY126" fmla="*/ 2432 h 10126"/>
                <a:gd name="connsiteX127" fmla="*/ 9235 w 10000"/>
                <a:gd name="connsiteY127" fmla="*/ 2378 h 10126"/>
                <a:gd name="connsiteX128" fmla="*/ 9417 w 10000"/>
                <a:gd name="connsiteY128" fmla="*/ 2335 h 10126"/>
                <a:gd name="connsiteX129" fmla="*/ 9454 w 10000"/>
                <a:gd name="connsiteY129" fmla="*/ 2384 h 10126"/>
                <a:gd name="connsiteX130" fmla="*/ 9504 w 10000"/>
                <a:gd name="connsiteY130" fmla="*/ 2444 h 10126"/>
                <a:gd name="connsiteX131" fmla="*/ 9573 w 10000"/>
                <a:gd name="connsiteY131" fmla="*/ 2510 h 10126"/>
                <a:gd name="connsiteX132" fmla="*/ 9642 w 10000"/>
                <a:gd name="connsiteY132" fmla="*/ 2583 h 10126"/>
                <a:gd name="connsiteX133" fmla="*/ 9718 w 10000"/>
                <a:gd name="connsiteY133" fmla="*/ 2644 h 10126"/>
                <a:gd name="connsiteX134" fmla="*/ 9799 w 10000"/>
                <a:gd name="connsiteY134" fmla="*/ 2692 h 10126"/>
                <a:gd name="connsiteX135" fmla="*/ 9837 w 10000"/>
                <a:gd name="connsiteY135" fmla="*/ 2716 h 10126"/>
                <a:gd name="connsiteX136" fmla="*/ 9875 w 10000"/>
                <a:gd name="connsiteY136" fmla="*/ 2728 h 10126"/>
                <a:gd name="connsiteX137" fmla="*/ 9918 w 10000"/>
                <a:gd name="connsiteY137" fmla="*/ 2740 h 10126"/>
                <a:gd name="connsiteX138" fmla="*/ 9956 w 10000"/>
                <a:gd name="connsiteY138" fmla="*/ 2740 h 10126"/>
                <a:gd name="connsiteX139" fmla="*/ 10000 w 10000"/>
                <a:gd name="connsiteY139" fmla="*/ 2668 h 10126"/>
                <a:gd name="connsiteX140" fmla="*/ 9975 w 10000"/>
                <a:gd name="connsiteY140" fmla="*/ 2795 h 10126"/>
                <a:gd name="connsiteX141" fmla="*/ 9944 w 10000"/>
                <a:gd name="connsiteY141" fmla="*/ 2938 h 10126"/>
                <a:gd name="connsiteX142" fmla="*/ 9931 w 10000"/>
                <a:gd name="connsiteY142" fmla="*/ 3005 h 10126"/>
                <a:gd name="connsiteX143" fmla="*/ 9906 w 10000"/>
                <a:gd name="connsiteY143" fmla="*/ 3065 h 10126"/>
                <a:gd name="connsiteX144" fmla="*/ 9887 w 10000"/>
                <a:gd name="connsiteY144" fmla="*/ 3089 h 10126"/>
                <a:gd name="connsiteX145" fmla="*/ 9875 w 10000"/>
                <a:gd name="connsiteY145" fmla="*/ 3113 h 10126"/>
                <a:gd name="connsiteX146" fmla="*/ 9856 w 10000"/>
                <a:gd name="connsiteY146" fmla="*/ 3131 h 10126"/>
                <a:gd name="connsiteX147" fmla="*/ 9837 w 10000"/>
                <a:gd name="connsiteY147" fmla="*/ 3149 h 10126"/>
                <a:gd name="connsiteX148" fmla="*/ 9749 w 10000"/>
                <a:gd name="connsiteY148" fmla="*/ 3167 h 10126"/>
                <a:gd name="connsiteX149" fmla="*/ 9605 w 10000"/>
                <a:gd name="connsiteY149" fmla="*/ 3216 h 10126"/>
                <a:gd name="connsiteX150" fmla="*/ 9536 w 10000"/>
                <a:gd name="connsiteY150" fmla="*/ 3258 h 10126"/>
                <a:gd name="connsiteX151" fmla="*/ 9479 w 10000"/>
                <a:gd name="connsiteY151" fmla="*/ 3294 h 10126"/>
                <a:gd name="connsiteX152" fmla="*/ 9448 w 10000"/>
                <a:gd name="connsiteY152" fmla="*/ 3313 h 10126"/>
                <a:gd name="connsiteX153" fmla="*/ 9435 w 10000"/>
                <a:gd name="connsiteY153" fmla="*/ 3331 h 10126"/>
                <a:gd name="connsiteX154" fmla="*/ 9423 w 10000"/>
                <a:gd name="connsiteY154" fmla="*/ 3354 h 10126"/>
                <a:gd name="connsiteX155" fmla="*/ 9417 w 10000"/>
                <a:gd name="connsiteY155" fmla="*/ 3372 h 10126"/>
                <a:gd name="connsiteX156" fmla="*/ 9423 w 10000"/>
                <a:gd name="connsiteY156" fmla="*/ 3583 h 10126"/>
                <a:gd name="connsiteX157" fmla="*/ 9417 w 10000"/>
                <a:gd name="connsiteY157" fmla="*/ 3824 h 10126"/>
                <a:gd name="connsiteX158" fmla="*/ 9398 w 10000"/>
                <a:gd name="connsiteY158" fmla="*/ 3884 h 10126"/>
                <a:gd name="connsiteX159" fmla="*/ 9391 w 10000"/>
                <a:gd name="connsiteY159" fmla="*/ 3950 h 10126"/>
                <a:gd name="connsiteX160" fmla="*/ 9379 w 10000"/>
                <a:gd name="connsiteY160" fmla="*/ 4004 h 10126"/>
                <a:gd name="connsiteX161" fmla="*/ 9366 w 10000"/>
                <a:gd name="connsiteY161" fmla="*/ 4059 h 10126"/>
                <a:gd name="connsiteX162" fmla="*/ 9348 w 10000"/>
                <a:gd name="connsiteY162" fmla="*/ 4108 h 10126"/>
                <a:gd name="connsiteX163" fmla="*/ 9316 w 10000"/>
                <a:gd name="connsiteY163" fmla="*/ 4156 h 10126"/>
                <a:gd name="connsiteX164" fmla="*/ 9285 w 10000"/>
                <a:gd name="connsiteY164" fmla="*/ 4192 h 10126"/>
                <a:gd name="connsiteX165" fmla="*/ 9247 w 10000"/>
                <a:gd name="connsiteY165" fmla="*/ 4222 h 10126"/>
                <a:gd name="connsiteX166" fmla="*/ 9228 w 10000"/>
                <a:gd name="connsiteY166" fmla="*/ 4240 h 10126"/>
                <a:gd name="connsiteX167" fmla="*/ 9184 w 10000"/>
                <a:gd name="connsiteY167" fmla="*/ 4246 h 10126"/>
                <a:gd name="connsiteX168" fmla="*/ 9141 w 10000"/>
                <a:gd name="connsiteY168" fmla="*/ 4252 h 10126"/>
                <a:gd name="connsiteX169" fmla="*/ 9090 w 10000"/>
                <a:gd name="connsiteY169" fmla="*/ 4258 h 10126"/>
                <a:gd name="connsiteX170" fmla="*/ 9040 w 10000"/>
                <a:gd name="connsiteY170" fmla="*/ 4264 h 10126"/>
                <a:gd name="connsiteX171" fmla="*/ 8996 w 10000"/>
                <a:gd name="connsiteY171" fmla="*/ 4283 h 10126"/>
                <a:gd name="connsiteX172" fmla="*/ 8977 w 10000"/>
                <a:gd name="connsiteY172" fmla="*/ 4289 h 10126"/>
                <a:gd name="connsiteX173" fmla="*/ 8965 w 10000"/>
                <a:gd name="connsiteY173" fmla="*/ 4307 h 10126"/>
                <a:gd name="connsiteX174" fmla="*/ 8959 w 10000"/>
                <a:gd name="connsiteY174" fmla="*/ 4319 h 10126"/>
                <a:gd name="connsiteX175" fmla="*/ 8959 w 10000"/>
                <a:gd name="connsiteY175" fmla="*/ 4337 h 10126"/>
                <a:gd name="connsiteX176" fmla="*/ 8952 w 10000"/>
                <a:gd name="connsiteY176" fmla="*/ 4408 h 10126"/>
                <a:gd name="connsiteX177" fmla="*/ 8952 w 10000"/>
                <a:gd name="connsiteY177" fmla="*/ 4493 h 10126"/>
                <a:gd name="connsiteX178" fmla="*/ 8940 w 10000"/>
                <a:gd name="connsiteY178" fmla="*/ 4583 h 10126"/>
                <a:gd name="connsiteX179" fmla="*/ 8927 w 10000"/>
                <a:gd name="connsiteY179" fmla="*/ 4667 h 10126"/>
                <a:gd name="connsiteX180" fmla="*/ 8908 w 10000"/>
                <a:gd name="connsiteY180" fmla="*/ 4753 h 10126"/>
                <a:gd name="connsiteX181" fmla="*/ 8890 w 10000"/>
                <a:gd name="connsiteY181" fmla="*/ 4831 h 10126"/>
                <a:gd name="connsiteX182" fmla="*/ 8864 w 10000"/>
                <a:gd name="connsiteY182" fmla="*/ 4902 h 10126"/>
                <a:gd name="connsiteX183" fmla="*/ 8833 w 10000"/>
                <a:gd name="connsiteY183" fmla="*/ 4969 h 10126"/>
                <a:gd name="connsiteX184" fmla="*/ 8538 w 10000"/>
                <a:gd name="connsiteY184" fmla="*/ 4480 h 10126"/>
                <a:gd name="connsiteX185" fmla="*/ 8526 w 10000"/>
                <a:gd name="connsiteY185" fmla="*/ 4505 h 10126"/>
                <a:gd name="connsiteX186" fmla="*/ 8494 w 10000"/>
                <a:gd name="connsiteY186" fmla="*/ 4559 h 10126"/>
                <a:gd name="connsiteX187" fmla="*/ 8463 w 10000"/>
                <a:gd name="connsiteY187" fmla="*/ 4589 h 10126"/>
                <a:gd name="connsiteX188" fmla="*/ 8438 w 10000"/>
                <a:gd name="connsiteY188" fmla="*/ 4613 h 10126"/>
                <a:gd name="connsiteX189" fmla="*/ 8407 w 10000"/>
                <a:gd name="connsiteY189" fmla="*/ 4631 h 10126"/>
                <a:gd name="connsiteX190" fmla="*/ 8375 w 10000"/>
                <a:gd name="connsiteY190" fmla="*/ 4637 h 10126"/>
                <a:gd name="connsiteX191" fmla="*/ 8338 w 10000"/>
                <a:gd name="connsiteY191" fmla="*/ 4631 h 10126"/>
                <a:gd name="connsiteX192" fmla="*/ 8312 w 10000"/>
                <a:gd name="connsiteY192" fmla="*/ 4625 h 10126"/>
                <a:gd name="connsiteX193" fmla="*/ 8287 w 10000"/>
                <a:gd name="connsiteY193" fmla="*/ 4607 h 10126"/>
                <a:gd name="connsiteX194" fmla="*/ 8256 w 10000"/>
                <a:gd name="connsiteY194" fmla="*/ 4589 h 10126"/>
                <a:gd name="connsiteX195" fmla="*/ 8237 w 10000"/>
                <a:gd name="connsiteY195" fmla="*/ 4559 h 10126"/>
                <a:gd name="connsiteX196" fmla="*/ 8225 w 10000"/>
                <a:gd name="connsiteY196" fmla="*/ 4535 h 10126"/>
                <a:gd name="connsiteX197" fmla="*/ 8206 w 10000"/>
                <a:gd name="connsiteY197" fmla="*/ 4511 h 10126"/>
                <a:gd name="connsiteX198" fmla="*/ 8206 w 10000"/>
                <a:gd name="connsiteY198" fmla="*/ 4480 h 10126"/>
                <a:gd name="connsiteX199" fmla="*/ 8206 w 10000"/>
                <a:gd name="connsiteY199" fmla="*/ 4444 h 10126"/>
                <a:gd name="connsiteX200" fmla="*/ 8225 w 10000"/>
                <a:gd name="connsiteY200" fmla="*/ 4408 h 10126"/>
                <a:gd name="connsiteX201" fmla="*/ 8237 w 10000"/>
                <a:gd name="connsiteY201" fmla="*/ 4372 h 10126"/>
                <a:gd name="connsiteX202" fmla="*/ 8250 w 10000"/>
                <a:gd name="connsiteY202" fmla="*/ 4337 h 10126"/>
                <a:gd name="connsiteX203" fmla="*/ 8300 w 10000"/>
                <a:gd name="connsiteY203" fmla="*/ 4270 h 10126"/>
                <a:gd name="connsiteX204" fmla="*/ 8356 w 10000"/>
                <a:gd name="connsiteY204" fmla="*/ 4204 h 10126"/>
                <a:gd name="connsiteX205" fmla="*/ 8407 w 10000"/>
                <a:gd name="connsiteY205" fmla="*/ 4144 h 10126"/>
                <a:gd name="connsiteX206" fmla="*/ 8457 w 10000"/>
                <a:gd name="connsiteY206" fmla="*/ 4078 h 10126"/>
                <a:gd name="connsiteX207" fmla="*/ 8469 w 10000"/>
                <a:gd name="connsiteY207" fmla="*/ 4041 h 10126"/>
                <a:gd name="connsiteX208" fmla="*/ 8482 w 10000"/>
                <a:gd name="connsiteY208" fmla="*/ 4010 h 10126"/>
                <a:gd name="connsiteX209" fmla="*/ 8501 w 10000"/>
                <a:gd name="connsiteY209" fmla="*/ 3968 h 10126"/>
                <a:gd name="connsiteX210" fmla="*/ 8501 w 10000"/>
                <a:gd name="connsiteY210" fmla="*/ 3932 h 10126"/>
                <a:gd name="connsiteX211" fmla="*/ 7748 w 10000"/>
                <a:gd name="connsiteY211" fmla="*/ 3932 h 10126"/>
                <a:gd name="connsiteX212" fmla="*/ 7723 w 10000"/>
                <a:gd name="connsiteY212" fmla="*/ 3926 h 10126"/>
                <a:gd name="connsiteX213" fmla="*/ 7685 w 10000"/>
                <a:gd name="connsiteY213" fmla="*/ 3908 h 10126"/>
                <a:gd name="connsiteX214" fmla="*/ 7660 w 10000"/>
                <a:gd name="connsiteY214" fmla="*/ 3872 h 10126"/>
                <a:gd name="connsiteX215" fmla="*/ 7635 w 10000"/>
                <a:gd name="connsiteY215" fmla="*/ 3836 h 10126"/>
                <a:gd name="connsiteX216" fmla="*/ 7616 w 10000"/>
                <a:gd name="connsiteY216" fmla="*/ 3788 h 10126"/>
                <a:gd name="connsiteX217" fmla="*/ 7597 w 10000"/>
                <a:gd name="connsiteY217" fmla="*/ 3740 h 10126"/>
                <a:gd name="connsiteX218" fmla="*/ 7591 w 10000"/>
                <a:gd name="connsiteY218" fmla="*/ 3686 h 10126"/>
                <a:gd name="connsiteX219" fmla="*/ 7585 w 10000"/>
                <a:gd name="connsiteY219" fmla="*/ 3631 h 10126"/>
                <a:gd name="connsiteX220" fmla="*/ 7547 w 10000"/>
                <a:gd name="connsiteY220" fmla="*/ 3631 h 10126"/>
                <a:gd name="connsiteX221" fmla="*/ 7516 w 10000"/>
                <a:gd name="connsiteY221" fmla="*/ 3625 h 10126"/>
                <a:gd name="connsiteX222" fmla="*/ 7478 w 10000"/>
                <a:gd name="connsiteY222" fmla="*/ 3619 h 10126"/>
                <a:gd name="connsiteX223" fmla="*/ 7447 w 10000"/>
                <a:gd name="connsiteY223" fmla="*/ 3607 h 10126"/>
                <a:gd name="connsiteX224" fmla="*/ 7415 w 10000"/>
                <a:gd name="connsiteY224" fmla="*/ 3589 h 10126"/>
                <a:gd name="connsiteX225" fmla="*/ 7396 w 10000"/>
                <a:gd name="connsiteY225" fmla="*/ 3571 h 10126"/>
                <a:gd name="connsiteX226" fmla="*/ 7384 w 10000"/>
                <a:gd name="connsiteY226" fmla="*/ 3541 h 10126"/>
                <a:gd name="connsiteX227" fmla="*/ 7378 w 10000"/>
                <a:gd name="connsiteY227" fmla="*/ 3517 h 10126"/>
                <a:gd name="connsiteX228" fmla="*/ 7321 w 10000"/>
                <a:gd name="connsiteY228" fmla="*/ 3517 h 10126"/>
                <a:gd name="connsiteX229" fmla="*/ 7271 w 10000"/>
                <a:gd name="connsiteY229" fmla="*/ 3517 h 10126"/>
                <a:gd name="connsiteX230" fmla="*/ 7221 w 10000"/>
                <a:gd name="connsiteY230" fmla="*/ 3517 h 10126"/>
                <a:gd name="connsiteX231" fmla="*/ 7171 w 10000"/>
                <a:gd name="connsiteY231" fmla="*/ 3517 h 10126"/>
                <a:gd name="connsiteX232" fmla="*/ 7127 w 10000"/>
                <a:gd name="connsiteY232" fmla="*/ 3523 h 10126"/>
                <a:gd name="connsiteX233" fmla="*/ 7095 w 10000"/>
                <a:gd name="connsiteY233" fmla="*/ 3529 h 10126"/>
                <a:gd name="connsiteX234" fmla="*/ 7051 w 10000"/>
                <a:gd name="connsiteY234" fmla="*/ 3547 h 10126"/>
                <a:gd name="connsiteX235" fmla="*/ 7008 w 10000"/>
                <a:gd name="connsiteY235" fmla="*/ 3571 h 10126"/>
                <a:gd name="connsiteX236" fmla="*/ 6976 w 10000"/>
                <a:gd name="connsiteY236" fmla="*/ 3601 h 10126"/>
                <a:gd name="connsiteX237" fmla="*/ 6939 w 10000"/>
                <a:gd name="connsiteY237" fmla="*/ 3631 h 10126"/>
                <a:gd name="connsiteX238" fmla="*/ 6920 w 10000"/>
                <a:gd name="connsiteY238" fmla="*/ 3668 h 10126"/>
                <a:gd name="connsiteX239" fmla="*/ 6913 w 10000"/>
                <a:gd name="connsiteY239" fmla="*/ 3704 h 10126"/>
                <a:gd name="connsiteX240" fmla="*/ 6926 w 10000"/>
                <a:gd name="connsiteY240" fmla="*/ 3728 h 10126"/>
                <a:gd name="connsiteX241" fmla="*/ 6964 w 10000"/>
                <a:gd name="connsiteY241" fmla="*/ 3758 h 10126"/>
                <a:gd name="connsiteX242" fmla="*/ 7008 w 10000"/>
                <a:gd name="connsiteY242" fmla="*/ 3794 h 10126"/>
                <a:gd name="connsiteX243" fmla="*/ 7070 w 10000"/>
                <a:gd name="connsiteY243" fmla="*/ 3830 h 10126"/>
                <a:gd name="connsiteX244" fmla="*/ 7133 w 10000"/>
                <a:gd name="connsiteY244" fmla="*/ 3866 h 10126"/>
                <a:gd name="connsiteX245" fmla="*/ 7196 w 10000"/>
                <a:gd name="connsiteY245" fmla="*/ 3896 h 10126"/>
                <a:gd name="connsiteX246" fmla="*/ 7252 w 10000"/>
                <a:gd name="connsiteY246" fmla="*/ 3920 h 10126"/>
                <a:gd name="connsiteX247" fmla="*/ 7290 w 10000"/>
                <a:gd name="connsiteY247" fmla="*/ 3932 h 10126"/>
                <a:gd name="connsiteX248" fmla="*/ 7208 w 10000"/>
                <a:gd name="connsiteY248" fmla="*/ 3992 h 10126"/>
                <a:gd name="connsiteX249" fmla="*/ 7114 w 10000"/>
                <a:gd name="connsiteY249" fmla="*/ 4066 h 10126"/>
                <a:gd name="connsiteX250" fmla="*/ 7070 w 10000"/>
                <a:gd name="connsiteY250" fmla="*/ 4102 h 10126"/>
                <a:gd name="connsiteX251" fmla="*/ 7033 w 10000"/>
                <a:gd name="connsiteY251" fmla="*/ 4144 h 10126"/>
                <a:gd name="connsiteX252" fmla="*/ 7020 w 10000"/>
                <a:gd name="connsiteY252" fmla="*/ 4162 h 10126"/>
                <a:gd name="connsiteX253" fmla="*/ 7008 w 10000"/>
                <a:gd name="connsiteY253" fmla="*/ 4180 h 10126"/>
                <a:gd name="connsiteX254" fmla="*/ 7001 w 10000"/>
                <a:gd name="connsiteY254" fmla="*/ 4204 h 10126"/>
                <a:gd name="connsiteX255" fmla="*/ 6995 w 10000"/>
                <a:gd name="connsiteY255" fmla="*/ 4222 h 10126"/>
                <a:gd name="connsiteX256" fmla="*/ 7001 w 10000"/>
                <a:gd name="connsiteY256" fmla="*/ 4252 h 10126"/>
                <a:gd name="connsiteX257" fmla="*/ 7008 w 10000"/>
                <a:gd name="connsiteY257" fmla="*/ 4270 h 10126"/>
                <a:gd name="connsiteX258" fmla="*/ 7026 w 10000"/>
                <a:gd name="connsiteY258" fmla="*/ 4295 h 10126"/>
                <a:gd name="connsiteX259" fmla="*/ 7039 w 10000"/>
                <a:gd name="connsiteY259" fmla="*/ 4319 h 10126"/>
                <a:gd name="connsiteX260" fmla="*/ 7089 w 10000"/>
                <a:gd name="connsiteY260" fmla="*/ 4366 h 10126"/>
                <a:gd name="connsiteX261" fmla="*/ 7146 w 10000"/>
                <a:gd name="connsiteY261" fmla="*/ 4414 h 10126"/>
                <a:gd name="connsiteX262" fmla="*/ 7208 w 10000"/>
                <a:gd name="connsiteY262" fmla="*/ 4456 h 10126"/>
                <a:gd name="connsiteX263" fmla="*/ 7277 w 10000"/>
                <a:gd name="connsiteY263" fmla="*/ 4493 h 10126"/>
                <a:gd name="connsiteX264" fmla="*/ 7315 w 10000"/>
                <a:gd name="connsiteY264" fmla="*/ 4505 h 10126"/>
                <a:gd name="connsiteX265" fmla="*/ 7346 w 10000"/>
                <a:gd name="connsiteY265" fmla="*/ 4511 h 10126"/>
                <a:gd name="connsiteX266" fmla="*/ 7384 w 10000"/>
                <a:gd name="connsiteY266" fmla="*/ 4517 h 10126"/>
                <a:gd name="connsiteX267" fmla="*/ 7415 w 10000"/>
                <a:gd name="connsiteY267" fmla="*/ 4523 h 10126"/>
                <a:gd name="connsiteX268" fmla="*/ 7585 w 10000"/>
                <a:gd name="connsiteY268" fmla="*/ 5150 h 10126"/>
                <a:gd name="connsiteX269" fmla="*/ 7491 w 10000"/>
                <a:gd name="connsiteY269" fmla="*/ 5150 h 10126"/>
                <a:gd name="connsiteX270" fmla="*/ 7403 w 10000"/>
                <a:gd name="connsiteY270" fmla="*/ 5150 h 10126"/>
                <a:gd name="connsiteX271" fmla="*/ 7321 w 10000"/>
                <a:gd name="connsiteY271" fmla="*/ 5150 h 10126"/>
                <a:gd name="connsiteX272" fmla="*/ 7252 w 10000"/>
                <a:gd name="connsiteY272" fmla="*/ 5150 h 10126"/>
                <a:gd name="connsiteX273" fmla="*/ 7208 w 10000"/>
                <a:gd name="connsiteY273" fmla="*/ 5144 h 10126"/>
                <a:gd name="connsiteX274" fmla="*/ 7164 w 10000"/>
                <a:gd name="connsiteY274" fmla="*/ 5113 h 10126"/>
                <a:gd name="connsiteX275" fmla="*/ 7133 w 10000"/>
                <a:gd name="connsiteY275" fmla="*/ 5101 h 10126"/>
                <a:gd name="connsiteX276" fmla="*/ 7102 w 10000"/>
                <a:gd name="connsiteY276" fmla="*/ 5089 h 10126"/>
                <a:gd name="connsiteX277" fmla="*/ 7070 w 10000"/>
                <a:gd name="connsiteY277" fmla="*/ 5083 h 10126"/>
                <a:gd name="connsiteX278" fmla="*/ 7039 w 10000"/>
                <a:gd name="connsiteY278" fmla="*/ 5077 h 10126"/>
                <a:gd name="connsiteX279" fmla="*/ 7008 w 10000"/>
                <a:gd name="connsiteY279" fmla="*/ 5089 h 10126"/>
                <a:gd name="connsiteX280" fmla="*/ 6957 w 10000"/>
                <a:gd name="connsiteY280" fmla="*/ 5119 h 10126"/>
                <a:gd name="connsiteX281" fmla="*/ 6895 w 10000"/>
                <a:gd name="connsiteY281" fmla="*/ 5162 h 10126"/>
                <a:gd name="connsiteX282" fmla="*/ 6819 w 10000"/>
                <a:gd name="connsiteY282" fmla="*/ 5210 h 10126"/>
                <a:gd name="connsiteX283" fmla="*/ 6744 w 10000"/>
                <a:gd name="connsiteY283" fmla="*/ 5270 h 10126"/>
                <a:gd name="connsiteX284" fmla="*/ 6681 w 10000"/>
                <a:gd name="connsiteY284" fmla="*/ 5318 h 10126"/>
                <a:gd name="connsiteX285" fmla="*/ 6637 w 10000"/>
                <a:gd name="connsiteY285" fmla="*/ 5354 h 10126"/>
                <a:gd name="connsiteX286" fmla="*/ 6625 w 10000"/>
                <a:gd name="connsiteY286" fmla="*/ 5378 h 10126"/>
                <a:gd name="connsiteX287" fmla="*/ 6750 w 10000"/>
                <a:gd name="connsiteY287" fmla="*/ 5450 h 10126"/>
                <a:gd name="connsiteX288" fmla="*/ 6744 w 10000"/>
                <a:gd name="connsiteY288" fmla="*/ 5487 h 10126"/>
                <a:gd name="connsiteX289" fmla="*/ 6725 w 10000"/>
                <a:gd name="connsiteY289" fmla="*/ 5529 h 10126"/>
                <a:gd name="connsiteX290" fmla="*/ 6706 w 10000"/>
                <a:gd name="connsiteY290" fmla="*/ 5560 h 10126"/>
                <a:gd name="connsiteX291" fmla="*/ 6688 w 10000"/>
                <a:gd name="connsiteY291" fmla="*/ 5602 h 10126"/>
                <a:gd name="connsiteX292" fmla="*/ 6637 w 10000"/>
                <a:gd name="connsiteY292" fmla="*/ 5656 h 10126"/>
                <a:gd name="connsiteX293" fmla="*/ 6581 w 10000"/>
                <a:gd name="connsiteY293" fmla="*/ 5710 h 10126"/>
                <a:gd name="connsiteX294" fmla="*/ 6518 w 10000"/>
                <a:gd name="connsiteY294" fmla="*/ 5758 h 10126"/>
                <a:gd name="connsiteX295" fmla="*/ 6443 w 10000"/>
                <a:gd name="connsiteY295" fmla="*/ 5801 h 10126"/>
                <a:gd name="connsiteX296" fmla="*/ 6374 w 10000"/>
                <a:gd name="connsiteY296" fmla="*/ 5837 h 10126"/>
                <a:gd name="connsiteX297" fmla="*/ 6299 w 10000"/>
                <a:gd name="connsiteY297" fmla="*/ 5872 h 10126"/>
                <a:gd name="connsiteX298" fmla="*/ 6223 w 10000"/>
                <a:gd name="connsiteY298" fmla="*/ 5920 h 10126"/>
                <a:gd name="connsiteX299" fmla="*/ 6154 w 10000"/>
                <a:gd name="connsiteY299" fmla="*/ 5956 h 10126"/>
                <a:gd name="connsiteX300" fmla="*/ 6092 w 10000"/>
                <a:gd name="connsiteY300" fmla="*/ 5999 h 10126"/>
                <a:gd name="connsiteX301" fmla="*/ 6035 w 10000"/>
                <a:gd name="connsiteY301" fmla="*/ 6047 h 10126"/>
                <a:gd name="connsiteX302" fmla="*/ 6004 w 10000"/>
                <a:gd name="connsiteY302" fmla="*/ 6071 h 10126"/>
                <a:gd name="connsiteX303" fmla="*/ 5985 w 10000"/>
                <a:gd name="connsiteY303" fmla="*/ 6095 h 10126"/>
                <a:gd name="connsiteX304" fmla="*/ 5966 w 10000"/>
                <a:gd name="connsiteY304" fmla="*/ 6125 h 10126"/>
                <a:gd name="connsiteX305" fmla="*/ 5947 w 10000"/>
                <a:gd name="connsiteY305" fmla="*/ 6155 h 10126"/>
                <a:gd name="connsiteX306" fmla="*/ 5935 w 10000"/>
                <a:gd name="connsiteY306" fmla="*/ 6193 h 10126"/>
                <a:gd name="connsiteX307" fmla="*/ 5922 w 10000"/>
                <a:gd name="connsiteY307" fmla="*/ 6223 h 10126"/>
                <a:gd name="connsiteX308" fmla="*/ 5916 w 10000"/>
                <a:gd name="connsiteY308" fmla="*/ 6265 h 10126"/>
                <a:gd name="connsiteX309" fmla="*/ 5916 w 10000"/>
                <a:gd name="connsiteY309" fmla="*/ 6307 h 10126"/>
                <a:gd name="connsiteX310" fmla="*/ 5859 w 10000"/>
                <a:gd name="connsiteY310" fmla="*/ 6325 h 10126"/>
                <a:gd name="connsiteX311" fmla="*/ 5809 w 10000"/>
                <a:gd name="connsiteY311" fmla="*/ 6343 h 10126"/>
                <a:gd name="connsiteX312" fmla="*/ 5765 w 10000"/>
                <a:gd name="connsiteY312" fmla="*/ 6366 h 10126"/>
                <a:gd name="connsiteX313" fmla="*/ 5721 w 10000"/>
                <a:gd name="connsiteY313" fmla="*/ 6390 h 10126"/>
                <a:gd name="connsiteX314" fmla="*/ 5634 w 10000"/>
                <a:gd name="connsiteY314" fmla="*/ 6451 h 10126"/>
                <a:gd name="connsiteX315" fmla="*/ 5558 w 10000"/>
                <a:gd name="connsiteY315" fmla="*/ 6523 h 10126"/>
                <a:gd name="connsiteX316" fmla="*/ 5420 w 10000"/>
                <a:gd name="connsiteY316" fmla="*/ 6686 h 10126"/>
                <a:gd name="connsiteX317" fmla="*/ 5289 w 10000"/>
                <a:gd name="connsiteY317" fmla="*/ 6860 h 10126"/>
                <a:gd name="connsiteX318" fmla="*/ 5220 w 10000"/>
                <a:gd name="connsiteY318" fmla="*/ 6951 h 10126"/>
                <a:gd name="connsiteX319" fmla="*/ 5151 w 10000"/>
                <a:gd name="connsiteY319" fmla="*/ 7029 h 10126"/>
                <a:gd name="connsiteX320" fmla="*/ 5075 w 10000"/>
                <a:gd name="connsiteY320" fmla="*/ 7102 h 10126"/>
                <a:gd name="connsiteX321" fmla="*/ 4994 w 10000"/>
                <a:gd name="connsiteY321" fmla="*/ 7168 h 10126"/>
                <a:gd name="connsiteX322" fmla="*/ 4944 w 10000"/>
                <a:gd name="connsiteY322" fmla="*/ 7198 h 10126"/>
                <a:gd name="connsiteX323" fmla="*/ 4893 w 10000"/>
                <a:gd name="connsiteY323" fmla="*/ 7222 h 10126"/>
                <a:gd name="connsiteX324" fmla="*/ 4849 w 10000"/>
                <a:gd name="connsiteY324" fmla="*/ 7246 h 10126"/>
                <a:gd name="connsiteX325" fmla="*/ 4793 w 10000"/>
                <a:gd name="connsiteY325" fmla="*/ 7271 h 10126"/>
                <a:gd name="connsiteX326" fmla="*/ 4730 w 10000"/>
                <a:gd name="connsiteY326" fmla="*/ 7289 h 10126"/>
                <a:gd name="connsiteX327" fmla="*/ 4674 w 10000"/>
                <a:gd name="connsiteY327" fmla="*/ 7301 h 10126"/>
                <a:gd name="connsiteX328" fmla="*/ 4605 w 10000"/>
                <a:gd name="connsiteY328" fmla="*/ 7307 h 10126"/>
                <a:gd name="connsiteX329" fmla="*/ 4536 w 10000"/>
                <a:gd name="connsiteY329" fmla="*/ 7307 h 10126"/>
                <a:gd name="connsiteX330" fmla="*/ 4536 w 10000"/>
                <a:gd name="connsiteY330" fmla="*/ 7360 h 10126"/>
                <a:gd name="connsiteX331" fmla="*/ 4536 w 10000"/>
                <a:gd name="connsiteY331" fmla="*/ 7414 h 10126"/>
                <a:gd name="connsiteX332" fmla="*/ 4536 w 10000"/>
                <a:gd name="connsiteY332" fmla="*/ 7456 h 10126"/>
                <a:gd name="connsiteX333" fmla="*/ 4536 w 10000"/>
                <a:gd name="connsiteY333" fmla="*/ 7493 h 10126"/>
                <a:gd name="connsiteX334" fmla="*/ 4536 w 10000"/>
                <a:gd name="connsiteY334" fmla="*/ 7559 h 10126"/>
                <a:gd name="connsiteX335" fmla="*/ 4536 w 10000"/>
                <a:gd name="connsiteY335" fmla="*/ 7662 h 10126"/>
                <a:gd name="connsiteX336" fmla="*/ 4536 w 10000"/>
                <a:gd name="connsiteY336" fmla="*/ 7771 h 10126"/>
                <a:gd name="connsiteX337" fmla="*/ 4548 w 10000"/>
                <a:gd name="connsiteY337" fmla="*/ 7884 h 10126"/>
                <a:gd name="connsiteX338" fmla="*/ 4561 w 10000"/>
                <a:gd name="connsiteY338" fmla="*/ 7945 h 10126"/>
                <a:gd name="connsiteX339" fmla="*/ 4573 w 10000"/>
                <a:gd name="connsiteY339" fmla="*/ 7999 h 10126"/>
                <a:gd name="connsiteX340" fmla="*/ 4586 w 10000"/>
                <a:gd name="connsiteY340" fmla="*/ 8047 h 10126"/>
                <a:gd name="connsiteX341" fmla="*/ 4611 w 10000"/>
                <a:gd name="connsiteY341" fmla="*/ 8089 h 10126"/>
                <a:gd name="connsiteX342" fmla="*/ 4636 w 10000"/>
                <a:gd name="connsiteY342" fmla="*/ 8132 h 10126"/>
                <a:gd name="connsiteX343" fmla="*/ 4668 w 10000"/>
                <a:gd name="connsiteY343" fmla="*/ 8162 h 10126"/>
                <a:gd name="connsiteX344" fmla="*/ 4705 w 10000"/>
                <a:gd name="connsiteY344" fmla="*/ 8186 h 10126"/>
                <a:gd name="connsiteX345" fmla="*/ 4749 w 10000"/>
                <a:gd name="connsiteY345" fmla="*/ 8198 h 10126"/>
                <a:gd name="connsiteX346" fmla="*/ 4711 w 10000"/>
                <a:gd name="connsiteY346" fmla="*/ 8294 h 10126"/>
                <a:gd name="connsiteX347" fmla="*/ 4668 w 10000"/>
                <a:gd name="connsiteY347" fmla="*/ 8379 h 10126"/>
                <a:gd name="connsiteX348" fmla="*/ 4617 w 10000"/>
                <a:gd name="connsiteY348" fmla="*/ 8457 h 10126"/>
                <a:gd name="connsiteX349" fmla="*/ 4573 w 10000"/>
                <a:gd name="connsiteY349" fmla="*/ 8529 h 10126"/>
                <a:gd name="connsiteX350" fmla="*/ 4523 w 10000"/>
                <a:gd name="connsiteY350" fmla="*/ 8614 h 10126"/>
                <a:gd name="connsiteX351" fmla="*/ 4492 w 10000"/>
                <a:gd name="connsiteY351" fmla="*/ 8692 h 10126"/>
                <a:gd name="connsiteX352" fmla="*/ 4473 w 10000"/>
                <a:gd name="connsiteY352" fmla="*/ 8728 h 10126"/>
                <a:gd name="connsiteX353" fmla="*/ 4467 w 10000"/>
                <a:gd name="connsiteY353" fmla="*/ 8771 h 10126"/>
                <a:gd name="connsiteX354" fmla="*/ 4460 w 10000"/>
                <a:gd name="connsiteY354" fmla="*/ 8819 h 10126"/>
                <a:gd name="connsiteX355" fmla="*/ 4454 w 10000"/>
                <a:gd name="connsiteY355" fmla="*/ 8861 h 10126"/>
                <a:gd name="connsiteX356" fmla="*/ 4460 w 10000"/>
                <a:gd name="connsiteY356" fmla="*/ 8878 h 10126"/>
                <a:gd name="connsiteX357" fmla="*/ 4467 w 10000"/>
                <a:gd name="connsiteY357" fmla="*/ 8890 h 10126"/>
                <a:gd name="connsiteX358" fmla="*/ 4479 w 10000"/>
                <a:gd name="connsiteY358" fmla="*/ 8902 h 10126"/>
                <a:gd name="connsiteX359" fmla="*/ 4504 w 10000"/>
                <a:gd name="connsiteY359" fmla="*/ 8914 h 10126"/>
                <a:gd name="connsiteX360" fmla="*/ 4542 w 10000"/>
                <a:gd name="connsiteY360" fmla="*/ 8938 h 10126"/>
                <a:gd name="connsiteX361" fmla="*/ 4580 w 10000"/>
                <a:gd name="connsiteY361" fmla="*/ 8944 h 10126"/>
                <a:gd name="connsiteX362" fmla="*/ 4580 w 10000"/>
                <a:gd name="connsiteY362" fmla="*/ 9162 h 10126"/>
                <a:gd name="connsiteX363" fmla="*/ 4529 w 10000"/>
                <a:gd name="connsiteY363" fmla="*/ 9247 h 10126"/>
                <a:gd name="connsiteX364" fmla="*/ 4492 w 10000"/>
                <a:gd name="connsiteY364" fmla="*/ 9337 h 10126"/>
                <a:gd name="connsiteX365" fmla="*/ 4460 w 10000"/>
                <a:gd name="connsiteY365" fmla="*/ 9372 h 10126"/>
                <a:gd name="connsiteX366" fmla="*/ 4429 w 10000"/>
                <a:gd name="connsiteY366" fmla="*/ 9397 h 10126"/>
                <a:gd name="connsiteX367" fmla="*/ 4404 w 10000"/>
                <a:gd name="connsiteY367" fmla="*/ 9409 h 10126"/>
                <a:gd name="connsiteX368" fmla="*/ 4385 w 10000"/>
                <a:gd name="connsiteY368" fmla="*/ 9415 h 10126"/>
                <a:gd name="connsiteX369" fmla="*/ 4360 w 10000"/>
                <a:gd name="connsiteY369" fmla="*/ 9421 h 10126"/>
                <a:gd name="connsiteX370" fmla="*/ 4329 w 10000"/>
                <a:gd name="connsiteY370" fmla="*/ 9421 h 10126"/>
                <a:gd name="connsiteX371" fmla="*/ 4329 w 10000"/>
                <a:gd name="connsiteY371" fmla="*/ 9469 h 10126"/>
                <a:gd name="connsiteX372" fmla="*/ 4335 w 10000"/>
                <a:gd name="connsiteY372" fmla="*/ 9529 h 10126"/>
                <a:gd name="connsiteX373" fmla="*/ 4348 w 10000"/>
                <a:gd name="connsiteY373" fmla="*/ 9559 h 10126"/>
                <a:gd name="connsiteX374" fmla="*/ 4354 w 10000"/>
                <a:gd name="connsiteY374" fmla="*/ 9583 h 10126"/>
                <a:gd name="connsiteX375" fmla="*/ 4360 w 10000"/>
                <a:gd name="connsiteY375" fmla="*/ 9602 h 10126"/>
                <a:gd name="connsiteX376" fmla="*/ 4373 w 10000"/>
                <a:gd name="connsiteY376" fmla="*/ 9608 h 10126"/>
                <a:gd name="connsiteX377" fmla="*/ 4210 w 10000"/>
                <a:gd name="connsiteY377" fmla="*/ 9734 h 10126"/>
                <a:gd name="connsiteX378" fmla="*/ 4072 w 10000"/>
                <a:gd name="connsiteY378" fmla="*/ 9838 h 10126"/>
                <a:gd name="connsiteX379" fmla="*/ 4009 w 10000"/>
                <a:gd name="connsiteY379" fmla="*/ 9897 h 10126"/>
                <a:gd name="connsiteX380" fmla="*/ 3952 w 10000"/>
                <a:gd name="connsiteY380" fmla="*/ 9963 h 10126"/>
                <a:gd name="connsiteX381" fmla="*/ 3890 w 10000"/>
                <a:gd name="connsiteY381" fmla="*/ 10042 h 10126"/>
                <a:gd name="connsiteX382" fmla="*/ 3833 w 10000"/>
                <a:gd name="connsiteY382" fmla="*/ 10126 h 10126"/>
                <a:gd name="connsiteX383" fmla="*/ 3733 w 10000"/>
                <a:gd name="connsiteY383" fmla="*/ 10084 h 10126"/>
                <a:gd name="connsiteX384" fmla="*/ 3664 w 10000"/>
                <a:gd name="connsiteY384" fmla="*/ 10042 h 10126"/>
                <a:gd name="connsiteX385" fmla="*/ 3607 w 10000"/>
                <a:gd name="connsiteY385" fmla="*/ 9999 h 10126"/>
                <a:gd name="connsiteX386" fmla="*/ 3563 w 10000"/>
                <a:gd name="connsiteY386" fmla="*/ 9951 h 10126"/>
                <a:gd name="connsiteX387" fmla="*/ 3532 w 10000"/>
                <a:gd name="connsiteY387" fmla="*/ 9891 h 10126"/>
                <a:gd name="connsiteX388" fmla="*/ 3513 w 10000"/>
                <a:gd name="connsiteY388" fmla="*/ 9832 h 10126"/>
                <a:gd name="connsiteX389" fmla="*/ 3482 w 10000"/>
                <a:gd name="connsiteY389" fmla="*/ 9758 h 10126"/>
                <a:gd name="connsiteX390" fmla="*/ 3457 w 10000"/>
                <a:gd name="connsiteY390" fmla="*/ 9686 h 10126"/>
                <a:gd name="connsiteX391" fmla="*/ 3400 w 10000"/>
                <a:gd name="connsiteY391" fmla="*/ 9547 h 10126"/>
                <a:gd name="connsiteX392" fmla="*/ 3325 w 10000"/>
                <a:gd name="connsiteY392" fmla="*/ 9415 h 10126"/>
                <a:gd name="connsiteX393" fmla="*/ 3237 w 10000"/>
                <a:gd name="connsiteY393" fmla="*/ 9277 h 10126"/>
                <a:gd name="connsiteX394" fmla="*/ 3143 w 10000"/>
                <a:gd name="connsiteY394" fmla="*/ 9132 h 10126"/>
                <a:gd name="connsiteX395" fmla="*/ 3049 w 10000"/>
                <a:gd name="connsiteY395" fmla="*/ 8999 h 10126"/>
                <a:gd name="connsiteX396" fmla="*/ 2967 w 10000"/>
                <a:gd name="connsiteY396" fmla="*/ 8867 h 10126"/>
                <a:gd name="connsiteX397" fmla="*/ 2892 w 10000"/>
                <a:gd name="connsiteY397" fmla="*/ 8747 h 10126"/>
                <a:gd name="connsiteX398" fmla="*/ 2829 w 10000"/>
                <a:gd name="connsiteY398" fmla="*/ 8644 h 10126"/>
                <a:gd name="connsiteX399" fmla="*/ 2773 w 10000"/>
                <a:gd name="connsiteY399" fmla="*/ 8529 h 10126"/>
                <a:gd name="connsiteX400" fmla="*/ 2735 w 10000"/>
                <a:gd name="connsiteY400" fmla="*/ 8427 h 10126"/>
                <a:gd name="connsiteX401" fmla="*/ 2698 w 10000"/>
                <a:gd name="connsiteY401" fmla="*/ 8319 h 10126"/>
                <a:gd name="connsiteX402" fmla="*/ 2666 w 10000"/>
                <a:gd name="connsiteY402" fmla="*/ 8210 h 10126"/>
                <a:gd name="connsiteX403" fmla="*/ 2629 w 10000"/>
                <a:gd name="connsiteY403" fmla="*/ 8101 h 10126"/>
                <a:gd name="connsiteX404" fmla="*/ 2597 w 10000"/>
                <a:gd name="connsiteY404" fmla="*/ 7993 h 10126"/>
                <a:gd name="connsiteX405" fmla="*/ 2553 w 10000"/>
                <a:gd name="connsiteY405" fmla="*/ 7872 h 10126"/>
                <a:gd name="connsiteX406" fmla="*/ 2497 w 10000"/>
                <a:gd name="connsiteY406" fmla="*/ 7753 h 10126"/>
                <a:gd name="connsiteX407" fmla="*/ 2359 w 10000"/>
                <a:gd name="connsiteY407" fmla="*/ 7559 h 10126"/>
                <a:gd name="connsiteX408" fmla="*/ 2208 w 10000"/>
                <a:gd name="connsiteY408" fmla="*/ 7378 h 10126"/>
                <a:gd name="connsiteX409" fmla="*/ 2139 w 10000"/>
                <a:gd name="connsiteY409" fmla="*/ 7295 h 10126"/>
                <a:gd name="connsiteX410" fmla="*/ 2070 w 10000"/>
                <a:gd name="connsiteY410" fmla="*/ 7198 h 10126"/>
                <a:gd name="connsiteX411" fmla="*/ 2008 w 10000"/>
                <a:gd name="connsiteY411" fmla="*/ 7108 h 10126"/>
                <a:gd name="connsiteX412" fmla="*/ 1957 w 10000"/>
                <a:gd name="connsiteY412" fmla="*/ 7011 h 10126"/>
                <a:gd name="connsiteX413" fmla="*/ 1888 w 10000"/>
                <a:gd name="connsiteY413" fmla="*/ 6776 h 10126"/>
                <a:gd name="connsiteX414" fmla="*/ 1832 w 10000"/>
                <a:gd name="connsiteY414" fmla="*/ 6559 h 10126"/>
                <a:gd name="connsiteX415" fmla="*/ 1782 w 10000"/>
                <a:gd name="connsiteY415" fmla="*/ 6349 h 10126"/>
                <a:gd name="connsiteX416" fmla="*/ 1757 w 10000"/>
                <a:gd name="connsiteY416" fmla="*/ 6137 h 10126"/>
                <a:gd name="connsiteX417" fmla="*/ 1725 w 10000"/>
                <a:gd name="connsiteY417" fmla="*/ 5932 h 10126"/>
                <a:gd name="connsiteX418" fmla="*/ 1713 w 10000"/>
                <a:gd name="connsiteY418" fmla="*/ 5716 h 10126"/>
                <a:gd name="connsiteX419" fmla="*/ 1706 w 10000"/>
                <a:gd name="connsiteY419" fmla="*/ 5493 h 10126"/>
                <a:gd name="connsiteX420" fmla="*/ 1706 w 10000"/>
                <a:gd name="connsiteY420" fmla="*/ 5270 h 10126"/>
                <a:gd name="connsiteX421" fmla="*/ 1681 w 10000"/>
                <a:gd name="connsiteY421" fmla="*/ 5264 h 10126"/>
                <a:gd name="connsiteX422" fmla="*/ 1650 w 10000"/>
                <a:gd name="connsiteY422" fmla="*/ 5258 h 10126"/>
                <a:gd name="connsiteX423" fmla="*/ 1625 w 10000"/>
                <a:gd name="connsiteY423" fmla="*/ 5252 h 10126"/>
                <a:gd name="connsiteX424" fmla="*/ 1606 w 10000"/>
                <a:gd name="connsiteY424" fmla="*/ 5228 h 10126"/>
                <a:gd name="connsiteX425" fmla="*/ 1581 w 10000"/>
                <a:gd name="connsiteY425" fmla="*/ 5216 h 10126"/>
                <a:gd name="connsiteX426" fmla="*/ 1568 w 10000"/>
                <a:gd name="connsiteY426" fmla="*/ 5198 h 10126"/>
                <a:gd name="connsiteX427" fmla="*/ 1550 w 10000"/>
                <a:gd name="connsiteY427" fmla="*/ 5174 h 10126"/>
                <a:gd name="connsiteX428" fmla="*/ 1543 w 10000"/>
                <a:gd name="connsiteY428" fmla="*/ 5150 h 10126"/>
                <a:gd name="connsiteX429" fmla="*/ 1518 w 10000"/>
                <a:gd name="connsiteY429" fmla="*/ 5101 h 10126"/>
                <a:gd name="connsiteX430" fmla="*/ 1506 w 10000"/>
                <a:gd name="connsiteY430" fmla="*/ 5047 h 10126"/>
                <a:gd name="connsiteX431" fmla="*/ 1499 w 10000"/>
                <a:gd name="connsiteY431" fmla="*/ 4987 h 10126"/>
                <a:gd name="connsiteX432" fmla="*/ 1499 w 10000"/>
                <a:gd name="connsiteY432" fmla="*/ 4933 h 10126"/>
                <a:gd name="connsiteX433" fmla="*/ 1443 w 10000"/>
                <a:gd name="connsiteY433" fmla="*/ 4969 h 10126"/>
                <a:gd name="connsiteX434" fmla="*/ 1405 w 10000"/>
                <a:gd name="connsiteY434" fmla="*/ 5011 h 10126"/>
                <a:gd name="connsiteX435" fmla="*/ 1361 w 10000"/>
                <a:gd name="connsiteY435" fmla="*/ 5053 h 10126"/>
                <a:gd name="connsiteX436" fmla="*/ 1317 w 10000"/>
                <a:gd name="connsiteY436" fmla="*/ 5101 h 10126"/>
                <a:gd name="connsiteX437" fmla="*/ 1261 w 10000"/>
                <a:gd name="connsiteY437" fmla="*/ 5198 h 10126"/>
                <a:gd name="connsiteX438" fmla="*/ 1205 w 10000"/>
                <a:gd name="connsiteY438" fmla="*/ 5300 h 10126"/>
                <a:gd name="connsiteX439" fmla="*/ 1167 w 10000"/>
                <a:gd name="connsiteY439" fmla="*/ 5343 h 10126"/>
                <a:gd name="connsiteX440" fmla="*/ 1142 w 10000"/>
                <a:gd name="connsiteY440" fmla="*/ 5384 h 10126"/>
                <a:gd name="connsiteX441" fmla="*/ 1104 w 10000"/>
                <a:gd name="connsiteY441" fmla="*/ 5426 h 10126"/>
                <a:gd name="connsiteX442" fmla="*/ 1073 w 10000"/>
                <a:gd name="connsiteY442" fmla="*/ 5456 h 10126"/>
                <a:gd name="connsiteX443" fmla="*/ 1029 w 10000"/>
                <a:gd name="connsiteY443" fmla="*/ 5487 h 10126"/>
                <a:gd name="connsiteX444" fmla="*/ 985 w 10000"/>
                <a:gd name="connsiteY444" fmla="*/ 5505 h 10126"/>
                <a:gd name="connsiteX445" fmla="*/ 928 w 10000"/>
                <a:gd name="connsiteY445" fmla="*/ 5517 h 10126"/>
                <a:gd name="connsiteX446" fmla="*/ 872 w 10000"/>
                <a:gd name="connsiteY446" fmla="*/ 5523 h 10126"/>
                <a:gd name="connsiteX447" fmla="*/ 841 w 10000"/>
                <a:gd name="connsiteY447" fmla="*/ 5517 h 10126"/>
                <a:gd name="connsiteX448" fmla="*/ 797 w 10000"/>
                <a:gd name="connsiteY448" fmla="*/ 5505 h 10126"/>
                <a:gd name="connsiteX449" fmla="*/ 753 w 10000"/>
                <a:gd name="connsiteY449" fmla="*/ 5487 h 10126"/>
                <a:gd name="connsiteX450" fmla="*/ 709 w 10000"/>
                <a:gd name="connsiteY450" fmla="*/ 5456 h 10126"/>
                <a:gd name="connsiteX451" fmla="*/ 659 w 10000"/>
                <a:gd name="connsiteY451" fmla="*/ 5420 h 10126"/>
                <a:gd name="connsiteX452" fmla="*/ 609 w 10000"/>
                <a:gd name="connsiteY452" fmla="*/ 5384 h 10126"/>
                <a:gd name="connsiteX453" fmla="*/ 565 w 10000"/>
                <a:gd name="connsiteY453" fmla="*/ 5343 h 10126"/>
                <a:gd name="connsiteX454" fmla="*/ 514 w 10000"/>
                <a:gd name="connsiteY454" fmla="*/ 5294 h 10126"/>
                <a:gd name="connsiteX455" fmla="*/ 471 w 10000"/>
                <a:gd name="connsiteY455" fmla="*/ 5246 h 10126"/>
                <a:gd name="connsiteX456" fmla="*/ 433 w 10000"/>
                <a:gd name="connsiteY456" fmla="*/ 5192 h 10126"/>
                <a:gd name="connsiteX457" fmla="*/ 389 w 10000"/>
                <a:gd name="connsiteY457" fmla="*/ 5138 h 10126"/>
                <a:gd name="connsiteX458" fmla="*/ 358 w 10000"/>
                <a:gd name="connsiteY458" fmla="*/ 5083 h 10126"/>
                <a:gd name="connsiteX459" fmla="*/ 326 w 10000"/>
                <a:gd name="connsiteY459" fmla="*/ 5035 h 10126"/>
                <a:gd name="connsiteX460" fmla="*/ 307 w 10000"/>
                <a:gd name="connsiteY460" fmla="*/ 4987 h 10126"/>
                <a:gd name="connsiteX461" fmla="*/ 295 w 10000"/>
                <a:gd name="connsiteY461" fmla="*/ 4939 h 10126"/>
                <a:gd name="connsiteX462" fmla="*/ 289 w 10000"/>
                <a:gd name="connsiteY462" fmla="*/ 4890 h 10126"/>
                <a:gd name="connsiteX463" fmla="*/ 320 w 10000"/>
                <a:gd name="connsiteY463" fmla="*/ 4872 h 10126"/>
                <a:gd name="connsiteX464" fmla="*/ 395 w 10000"/>
                <a:gd name="connsiteY464" fmla="*/ 4837 h 10126"/>
                <a:gd name="connsiteX465" fmla="*/ 483 w 10000"/>
                <a:gd name="connsiteY465" fmla="*/ 4801 h 10126"/>
                <a:gd name="connsiteX466" fmla="*/ 533 w 10000"/>
                <a:gd name="connsiteY466" fmla="*/ 4783 h 10126"/>
                <a:gd name="connsiteX467" fmla="*/ 483 w 10000"/>
                <a:gd name="connsiteY467" fmla="*/ 4783 h 10126"/>
                <a:gd name="connsiteX468" fmla="*/ 420 w 10000"/>
                <a:gd name="connsiteY468" fmla="*/ 4777 h 10126"/>
                <a:gd name="connsiteX469" fmla="*/ 370 w 10000"/>
                <a:gd name="connsiteY469" fmla="*/ 4765 h 10126"/>
                <a:gd name="connsiteX470" fmla="*/ 320 w 10000"/>
                <a:gd name="connsiteY470" fmla="*/ 4759 h 10126"/>
                <a:gd name="connsiteX471" fmla="*/ 276 w 10000"/>
                <a:gd name="connsiteY471" fmla="*/ 4740 h 10126"/>
                <a:gd name="connsiteX472" fmla="*/ 232 w 10000"/>
                <a:gd name="connsiteY472" fmla="*/ 4728 h 10126"/>
                <a:gd name="connsiteX473" fmla="*/ 188 w 10000"/>
                <a:gd name="connsiteY473" fmla="*/ 4710 h 10126"/>
                <a:gd name="connsiteX474" fmla="*/ 157 w 10000"/>
                <a:gd name="connsiteY474" fmla="*/ 4685 h 10126"/>
                <a:gd name="connsiteX475" fmla="*/ 132 w 10000"/>
                <a:gd name="connsiteY475" fmla="*/ 4661 h 10126"/>
                <a:gd name="connsiteX476" fmla="*/ 100 w 10000"/>
                <a:gd name="connsiteY476" fmla="*/ 4637 h 10126"/>
                <a:gd name="connsiteX477" fmla="*/ 75 w 10000"/>
                <a:gd name="connsiteY477" fmla="*/ 4607 h 10126"/>
                <a:gd name="connsiteX478" fmla="*/ 50 w 10000"/>
                <a:gd name="connsiteY478" fmla="*/ 4583 h 10126"/>
                <a:gd name="connsiteX479" fmla="*/ 19 w 10000"/>
                <a:gd name="connsiteY479" fmla="*/ 4511 h 10126"/>
                <a:gd name="connsiteX480" fmla="*/ 0 w 10000"/>
                <a:gd name="connsiteY480" fmla="*/ 4444 h 10126"/>
                <a:gd name="connsiteX481" fmla="*/ 63 w 10000"/>
                <a:gd name="connsiteY481" fmla="*/ 4396 h 10126"/>
                <a:gd name="connsiteX482" fmla="*/ 132 w 10000"/>
                <a:gd name="connsiteY482" fmla="*/ 4360 h 10126"/>
                <a:gd name="connsiteX483" fmla="*/ 201 w 10000"/>
                <a:gd name="connsiteY483" fmla="*/ 4331 h 10126"/>
                <a:gd name="connsiteX484" fmla="*/ 276 w 10000"/>
                <a:gd name="connsiteY484" fmla="*/ 4307 h 10126"/>
                <a:gd name="connsiteX485" fmla="*/ 420 w 10000"/>
                <a:gd name="connsiteY485" fmla="*/ 4277 h 10126"/>
                <a:gd name="connsiteX486" fmla="*/ 565 w 10000"/>
                <a:gd name="connsiteY486" fmla="*/ 4252 h 10126"/>
                <a:gd name="connsiteX487" fmla="*/ 640 w 10000"/>
                <a:gd name="connsiteY487" fmla="*/ 4240 h 10126"/>
                <a:gd name="connsiteX488" fmla="*/ 709 w 10000"/>
                <a:gd name="connsiteY488" fmla="*/ 4216 h 10126"/>
                <a:gd name="connsiteX489" fmla="*/ 772 w 10000"/>
                <a:gd name="connsiteY489" fmla="*/ 4198 h 10126"/>
                <a:gd name="connsiteX490" fmla="*/ 834 w 10000"/>
                <a:gd name="connsiteY490" fmla="*/ 4168 h 10126"/>
                <a:gd name="connsiteX491" fmla="*/ 891 w 10000"/>
                <a:gd name="connsiteY491" fmla="*/ 4138 h 10126"/>
                <a:gd name="connsiteX492" fmla="*/ 947 w 10000"/>
                <a:gd name="connsiteY492" fmla="*/ 4090 h 10126"/>
                <a:gd name="connsiteX493" fmla="*/ 997 w 10000"/>
                <a:gd name="connsiteY493" fmla="*/ 4035 h 10126"/>
                <a:gd name="connsiteX494" fmla="*/ 1035 w 10000"/>
                <a:gd name="connsiteY494" fmla="*/ 3968 h 10126"/>
                <a:gd name="connsiteX495" fmla="*/ 1010 w 10000"/>
                <a:gd name="connsiteY495" fmla="*/ 3956 h 10126"/>
                <a:gd name="connsiteX496" fmla="*/ 985 w 10000"/>
                <a:gd name="connsiteY496" fmla="*/ 3938 h 10126"/>
                <a:gd name="connsiteX497" fmla="*/ 947 w 10000"/>
                <a:gd name="connsiteY497" fmla="*/ 3914 h 10126"/>
                <a:gd name="connsiteX498" fmla="*/ 910 w 10000"/>
                <a:gd name="connsiteY498" fmla="*/ 3878 h 10126"/>
                <a:gd name="connsiteX499" fmla="*/ 822 w 10000"/>
                <a:gd name="connsiteY499" fmla="*/ 3806 h 10126"/>
                <a:gd name="connsiteX500" fmla="*/ 740 w 10000"/>
                <a:gd name="connsiteY500" fmla="*/ 3722 h 10126"/>
                <a:gd name="connsiteX501" fmla="*/ 665 w 10000"/>
                <a:gd name="connsiteY501" fmla="*/ 3631 h 10126"/>
                <a:gd name="connsiteX502" fmla="*/ 596 w 10000"/>
                <a:gd name="connsiteY502" fmla="*/ 3535 h 10126"/>
                <a:gd name="connsiteX503" fmla="*/ 577 w 10000"/>
                <a:gd name="connsiteY503" fmla="*/ 3493 h 10126"/>
                <a:gd name="connsiteX504" fmla="*/ 558 w 10000"/>
                <a:gd name="connsiteY504" fmla="*/ 3451 h 10126"/>
                <a:gd name="connsiteX505" fmla="*/ 540 w 10000"/>
                <a:gd name="connsiteY505" fmla="*/ 3408 h 10126"/>
                <a:gd name="connsiteX506" fmla="*/ 533 w 10000"/>
                <a:gd name="connsiteY506" fmla="*/ 3372 h 10126"/>
                <a:gd name="connsiteX507" fmla="*/ 508 w 10000"/>
                <a:gd name="connsiteY507" fmla="*/ 3366 h 10126"/>
                <a:gd name="connsiteX508" fmla="*/ 483 w 10000"/>
                <a:gd name="connsiteY508" fmla="*/ 3360 h 10126"/>
                <a:gd name="connsiteX509" fmla="*/ 458 w 10000"/>
                <a:gd name="connsiteY509" fmla="*/ 3348 h 10126"/>
                <a:gd name="connsiteX510" fmla="*/ 439 w 10000"/>
                <a:gd name="connsiteY510" fmla="*/ 3325 h 10126"/>
                <a:gd name="connsiteX511" fmla="*/ 402 w 10000"/>
                <a:gd name="connsiteY511" fmla="*/ 3282 h 10126"/>
                <a:gd name="connsiteX512" fmla="*/ 370 w 10000"/>
                <a:gd name="connsiteY512" fmla="*/ 3222 h 10126"/>
                <a:gd name="connsiteX513" fmla="*/ 370 w 10000"/>
                <a:gd name="connsiteY513" fmla="*/ 3077 h 10126"/>
                <a:gd name="connsiteX514" fmla="*/ 458 w 10000"/>
                <a:gd name="connsiteY514" fmla="*/ 3071 h 10126"/>
                <a:gd name="connsiteX515" fmla="*/ 540 w 10000"/>
                <a:gd name="connsiteY515" fmla="*/ 3065 h 10126"/>
                <a:gd name="connsiteX516" fmla="*/ 615 w 10000"/>
                <a:gd name="connsiteY516" fmla="*/ 3053 h 10126"/>
                <a:gd name="connsiteX517" fmla="*/ 684 w 10000"/>
                <a:gd name="connsiteY517" fmla="*/ 3029 h 10126"/>
                <a:gd name="connsiteX518" fmla="*/ 747 w 10000"/>
                <a:gd name="connsiteY518" fmla="*/ 3011 h 10126"/>
                <a:gd name="connsiteX519" fmla="*/ 809 w 10000"/>
                <a:gd name="connsiteY519" fmla="*/ 2980 h 10126"/>
                <a:gd name="connsiteX520" fmla="*/ 866 w 10000"/>
                <a:gd name="connsiteY520" fmla="*/ 2950 h 10126"/>
                <a:gd name="connsiteX521" fmla="*/ 922 w 10000"/>
                <a:gd name="connsiteY521" fmla="*/ 2914 h 10126"/>
                <a:gd name="connsiteX522" fmla="*/ 966 w 10000"/>
                <a:gd name="connsiteY522" fmla="*/ 2872 h 10126"/>
                <a:gd name="connsiteX523" fmla="*/ 1016 w 10000"/>
                <a:gd name="connsiteY523" fmla="*/ 2831 h 10126"/>
                <a:gd name="connsiteX524" fmla="*/ 1060 w 10000"/>
                <a:gd name="connsiteY524" fmla="*/ 2789 h 10126"/>
                <a:gd name="connsiteX525" fmla="*/ 1098 w 10000"/>
                <a:gd name="connsiteY525" fmla="*/ 2740 h 10126"/>
                <a:gd name="connsiteX526" fmla="*/ 1167 w 10000"/>
                <a:gd name="connsiteY526" fmla="*/ 2644 h 10126"/>
                <a:gd name="connsiteX527" fmla="*/ 1236 w 10000"/>
                <a:gd name="connsiteY527" fmla="*/ 2534 h 10126"/>
                <a:gd name="connsiteX528" fmla="*/ 1355 w 10000"/>
                <a:gd name="connsiteY528" fmla="*/ 2318 h 10126"/>
                <a:gd name="connsiteX529" fmla="*/ 1474 w 10000"/>
                <a:gd name="connsiteY529" fmla="*/ 2101 h 10126"/>
                <a:gd name="connsiteX530" fmla="*/ 1543 w 10000"/>
                <a:gd name="connsiteY530" fmla="*/ 2005 h 10126"/>
                <a:gd name="connsiteX531" fmla="*/ 1612 w 10000"/>
                <a:gd name="connsiteY531" fmla="*/ 1920 h 10126"/>
                <a:gd name="connsiteX532" fmla="*/ 1650 w 10000"/>
                <a:gd name="connsiteY532" fmla="*/ 1871 h 10126"/>
                <a:gd name="connsiteX533" fmla="*/ 1694 w 10000"/>
                <a:gd name="connsiteY533" fmla="*/ 1835 h 10126"/>
                <a:gd name="connsiteX534" fmla="*/ 1738 w 10000"/>
                <a:gd name="connsiteY534" fmla="*/ 1806 h 10126"/>
                <a:gd name="connsiteX535" fmla="*/ 1788 w 10000"/>
                <a:gd name="connsiteY535" fmla="*/ 1776 h 10126"/>
                <a:gd name="connsiteX536" fmla="*/ 1750 w 10000"/>
                <a:gd name="connsiteY536" fmla="*/ 1703 h 10126"/>
                <a:gd name="connsiteX537" fmla="*/ 1719 w 10000"/>
                <a:gd name="connsiteY537" fmla="*/ 1637 h 10126"/>
                <a:gd name="connsiteX538" fmla="*/ 1713 w 10000"/>
                <a:gd name="connsiteY538" fmla="*/ 1607 h 10126"/>
                <a:gd name="connsiteX539" fmla="*/ 1706 w 10000"/>
                <a:gd name="connsiteY539" fmla="*/ 1577 h 10126"/>
                <a:gd name="connsiteX540" fmla="*/ 1706 w 10000"/>
                <a:gd name="connsiteY540" fmla="*/ 1541 h 10126"/>
                <a:gd name="connsiteX541" fmla="*/ 1706 w 10000"/>
                <a:gd name="connsiteY541" fmla="*/ 1511 h 10126"/>
                <a:gd name="connsiteX542" fmla="*/ 1713 w 10000"/>
                <a:gd name="connsiteY542" fmla="*/ 1480 h 10126"/>
                <a:gd name="connsiteX543" fmla="*/ 1719 w 10000"/>
                <a:gd name="connsiteY543" fmla="*/ 1450 h 10126"/>
                <a:gd name="connsiteX544" fmla="*/ 1731 w 10000"/>
                <a:gd name="connsiteY544" fmla="*/ 1426 h 10126"/>
                <a:gd name="connsiteX545" fmla="*/ 1757 w 10000"/>
                <a:gd name="connsiteY545" fmla="*/ 1402 h 10126"/>
                <a:gd name="connsiteX546" fmla="*/ 1775 w 10000"/>
                <a:gd name="connsiteY546" fmla="*/ 1384 h 10126"/>
                <a:gd name="connsiteX547" fmla="*/ 1801 w 10000"/>
                <a:gd name="connsiteY547" fmla="*/ 1366 h 10126"/>
                <a:gd name="connsiteX548" fmla="*/ 1838 w 10000"/>
                <a:gd name="connsiteY548" fmla="*/ 1348 h 10126"/>
                <a:gd name="connsiteX549" fmla="*/ 1870 w 10000"/>
                <a:gd name="connsiteY549" fmla="*/ 1330 h 10126"/>
                <a:gd name="connsiteX550" fmla="*/ 1788 w 10000"/>
                <a:gd name="connsiteY550" fmla="*/ 1240 h 10126"/>
                <a:gd name="connsiteX551" fmla="*/ 1688 w 10000"/>
                <a:gd name="connsiteY551" fmla="*/ 1168 h 10126"/>
                <a:gd name="connsiteX552" fmla="*/ 1550 w 10000"/>
                <a:gd name="connsiteY552" fmla="*/ 1046 h 10126"/>
                <a:gd name="connsiteX553" fmla="*/ 1487 w 10000"/>
                <a:gd name="connsiteY553" fmla="*/ 986 h 10126"/>
                <a:gd name="connsiteX554" fmla="*/ 1383 w 10000"/>
                <a:gd name="connsiteY554" fmla="*/ 868 h 10126"/>
                <a:gd name="connsiteX555" fmla="*/ 1426 w 10000"/>
                <a:gd name="connsiteY555" fmla="*/ 764 h 10126"/>
                <a:gd name="connsiteX556" fmla="*/ 1603 w 10000"/>
                <a:gd name="connsiteY556" fmla="*/ 650 h 10126"/>
                <a:gd name="connsiteX557" fmla="*/ 1708 w 10000"/>
                <a:gd name="connsiteY557" fmla="*/ 605 h 10126"/>
                <a:gd name="connsiteX558" fmla="*/ 1673 w 10000"/>
                <a:gd name="connsiteY558" fmla="*/ 540 h 10126"/>
                <a:gd name="connsiteX559" fmla="*/ 1606 w 10000"/>
                <a:gd name="connsiteY559" fmla="*/ 463 h 10126"/>
                <a:gd name="connsiteX560" fmla="*/ 1539 w 10000"/>
                <a:gd name="connsiteY560" fmla="*/ 431 h 10126"/>
                <a:gd name="connsiteX561" fmla="*/ 1539 w 10000"/>
                <a:gd name="connsiteY561" fmla="*/ 366 h 10126"/>
                <a:gd name="connsiteX562" fmla="*/ 1473 w 10000"/>
                <a:gd name="connsiteY562" fmla="*/ 296 h 10126"/>
                <a:gd name="connsiteX563" fmla="*/ 1341 w 10000"/>
                <a:gd name="connsiteY563" fmla="*/ 236 h 10126"/>
                <a:gd name="connsiteX564" fmla="*/ 1490 w 10000"/>
                <a:gd name="connsiteY564" fmla="*/ 123 h 10126"/>
                <a:gd name="connsiteX565" fmla="*/ 1654 w 10000"/>
                <a:gd name="connsiteY565" fmla="*/ 0 h 10126"/>
                <a:gd name="connsiteX566" fmla="*/ 1895 w 10000"/>
                <a:gd name="connsiteY566" fmla="*/ 61 h 10126"/>
                <a:gd name="connsiteX567" fmla="*/ 2151 w 10000"/>
                <a:gd name="connsiteY567" fmla="*/ 94 h 10126"/>
                <a:gd name="connsiteX568" fmla="*/ 2280 w 10000"/>
                <a:gd name="connsiteY568" fmla="*/ 123 h 10126"/>
                <a:gd name="connsiteX569" fmla="*/ 2517 w 10000"/>
                <a:gd name="connsiteY569"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130 w 10000"/>
                <a:gd name="connsiteY7" fmla="*/ 823 h 10126"/>
                <a:gd name="connsiteX8" fmla="*/ 3314 w 10000"/>
                <a:gd name="connsiteY8" fmla="*/ 940 h 10126"/>
                <a:gd name="connsiteX9" fmla="*/ 3412 w 10000"/>
                <a:gd name="connsiteY9" fmla="*/ 1046 h 10126"/>
                <a:gd name="connsiteX10" fmla="*/ 3356 w 10000"/>
                <a:gd name="connsiteY10" fmla="*/ 1113 h 10126"/>
                <a:gd name="connsiteX11" fmla="*/ 3389 w 10000"/>
                <a:gd name="connsiteY11" fmla="*/ 1215 h 10126"/>
                <a:gd name="connsiteX12" fmla="*/ 3348 w 10000"/>
                <a:gd name="connsiteY12" fmla="*/ 1238 h 10126"/>
                <a:gd name="connsiteX13" fmla="*/ 3043 w 10000"/>
                <a:gd name="connsiteY13" fmla="*/ 1366 h 10126"/>
                <a:gd name="connsiteX14" fmla="*/ 3074 w 10000"/>
                <a:gd name="connsiteY14" fmla="*/ 1444 h 10126"/>
                <a:gd name="connsiteX15" fmla="*/ 3118 w 10000"/>
                <a:gd name="connsiteY15" fmla="*/ 1511 h 10126"/>
                <a:gd name="connsiteX16" fmla="*/ 3168 w 10000"/>
                <a:gd name="connsiteY16" fmla="*/ 1571 h 10126"/>
                <a:gd name="connsiteX17" fmla="*/ 3225 w 10000"/>
                <a:gd name="connsiteY17" fmla="*/ 1613 h 10126"/>
                <a:gd name="connsiteX18" fmla="*/ 3281 w 10000"/>
                <a:gd name="connsiteY18" fmla="*/ 1655 h 10126"/>
                <a:gd name="connsiteX19" fmla="*/ 3350 w 10000"/>
                <a:gd name="connsiteY19" fmla="*/ 1685 h 10126"/>
                <a:gd name="connsiteX20" fmla="*/ 3413 w 10000"/>
                <a:gd name="connsiteY20" fmla="*/ 1715 h 10126"/>
                <a:gd name="connsiteX21" fmla="*/ 3488 w 10000"/>
                <a:gd name="connsiteY21" fmla="*/ 1740 h 10126"/>
                <a:gd name="connsiteX22" fmla="*/ 3626 w 10000"/>
                <a:gd name="connsiteY22" fmla="*/ 1794 h 10126"/>
                <a:gd name="connsiteX23" fmla="*/ 3764 w 10000"/>
                <a:gd name="connsiteY23" fmla="*/ 1847 h 10126"/>
                <a:gd name="connsiteX24" fmla="*/ 3827 w 10000"/>
                <a:gd name="connsiteY24" fmla="*/ 1884 h 10126"/>
                <a:gd name="connsiteX25" fmla="*/ 3890 w 10000"/>
                <a:gd name="connsiteY25" fmla="*/ 1932 h 10126"/>
                <a:gd name="connsiteX26" fmla="*/ 3946 w 10000"/>
                <a:gd name="connsiteY26" fmla="*/ 1981 h 10126"/>
                <a:gd name="connsiteX27" fmla="*/ 4003 w 10000"/>
                <a:gd name="connsiteY27" fmla="*/ 2035 h 10126"/>
                <a:gd name="connsiteX28" fmla="*/ 3959 w 10000"/>
                <a:gd name="connsiteY28" fmla="*/ 2596 h 10126"/>
                <a:gd name="connsiteX29" fmla="*/ 4034 w 10000"/>
                <a:gd name="connsiteY29" fmla="*/ 2650 h 10126"/>
                <a:gd name="connsiteX30" fmla="*/ 4141 w 10000"/>
                <a:gd name="connsiteY30" fmla="*/ 2716 h 10126"/>
                <a:gd name="connsiteX31" fmla="*/ 4260 w 10000"/>
                <a:gd name="connsiteY31" fmla="*/ 2776 h 10126"/>
                <a:gd name="connsiteX32" fmla="*/ 4398 w 10000"/>
                <a:gd name="connsiteY32" fmla="*/ 2831 h 10126"/>
                <a:gd name="connsiteX33" fmla="*/ 4536 w 10000"/>
                <a:gd name="connsiteY33" fmla="*/ 2884 h 10126"/>
                <a:gd name="connsiteX34" fmla="*/ 4668 w 10000"/>
                <a:gd name="connsiteY34" fmla="*/ 2926 h 10126"/>
                <a:gd name="connsiteX35" fmla="*/ 4724 w 10000"/>
                <a:gd name="connsiteY35" fmla="*/ 2944 h 10126"/>
                <a:gd name="connsiteX36" fmla="*/ 4780 w 10000"/>
                <a:gd name="connsiteY36" fmla="*/ 2956 h 10126"/>
                <a:gd name="connsiteX37" fmla="*/ 4831 w 10000"/>
                <a:gd name="connsiteY37" fmla="*/ 2962 h 10126"/>
                <a:gd name="connsiteX38" fmla="*/ 4875 w 10000"/>
                <a:gd name="connsiteY38" fmla="*/ 2962 h 10126"/>
                <a:gd name="connsiteX39" fmla="*/ 4887 w 10000"/>
                <a:gd name="connsiteY39" fmla="*/ 3005 h 10126"/>
                <a:gd name="connsiteX40" fmla="*/ 4918 w 10000"/>
                <a:gd name="connsiteY40" fmla="*/ 3041 h 10126"/>
                <a:gd name="connsiteX41" fmla="*/ 4950 w 10000"/>
                <a:gd name="connsiteY41" fmla="*/ 3059 h 10126"/>
                <a:gd name="connsiteX42" fmla="*/ 4987 w 10000"/>
                <a:gd name="connsiteY42" fmla="*/ 3071 h 10126"/>
                <a:gd name="connsiteX43" fmla="*/ 5019 w 10000"/>
                <a:gd name="connsiteY43" fmla="*/ 3083 h 10126"/>
                <a:gd name="connsiteX44" fmla="*/ 5063 w 10000"/>
                <a:gd name="connsiteY44" fmla="*/ 3083 h 10126"/>
                <a:gd name="connsiteX45" fmla="*/ 5107 w 10000"/>
                <a:gd name="connsiteY45" fmla="*/ 3077 h 10126"/>
                <a:gd name="connsiteX46" fmla="*/ 5157 w 10000"/>
                <a:gd name="connsiteY46" fmla="*/ 3071 h 10126"/>
                <a:gd name="connsiteX47" fmla="*/ 5245 w 10000"/>
                <a:gd name="connsiteY47" fmla="*/ 3053 h 10126"/>
                <a:gd name="connsiteX48" fmla="*/ 5345 w 10000"/>
                <a:gd name="connsiteY48" fmla="*/ 3029 h 10126"/>
                <a:gd name="connsiteX49" fmla="*/ 5383 w 10000"/>
                <a:gd name="connsiteY49" fmla="*/ 3029 h 10126"/>
                <a:gd name="connsiteX50" fmla="*/ 5427 w 10000"/>
                <a:gd name="connsiteY50" fmla="*/ 3023 h 10126"/>
                <a:gd name="connsiteX51" fmla="*/ 5464 w 10000"/>
                <a:gd name="connsiteY51" fmla="*/ 3029 h 10126"/>
                <a:gd name="connsiteX52" fmla="*/ 5502 w 10000"/>
                <a:gd name="connsiteY52" fmla="*/ 3035 h 10126"/>
                <a:gd name="connsiteX53" fmla="*/ 5558 w 10000"/>
                <a:gd name="connsiteY53" fmla="*/ 3071 h 10126"/>
                <a:gd name="connsiteX54" fmla="*/ 5596 w 10000"/>
                <a:gd name="connsiteY54" fmla="*/ 3101 h 10126"/>
                <a:gd name="connsiteX55" fmla="*/ 5634 w 10000"/>
                <a:gd name="connsiteY55" fmla="*/ 3143 h 10126"/>
                <a:gd name="connsiteX56" fmla="*/ 5665 w 10000"/>
                <a:gd name="connsiteY56" fmla="*/ 3179 h 10126"/>
                <a:gd name="connsiteX57" fmla="*/ 5696 w 10000"/>
                <a:gd name="connsiteY57" fmla="*/ 3216 h 10126"/>
                <a:gd name="connsiteX58" fmla="*/ 5734 w 10000"/>
                <a:gd name="connsiteY58" fmla="*/ 3252 h 10126"/>
                <a:gd name="connsiteX59" fmla="*/ 5759 w 10000"/>
                <a:gd name="connsiteY59" fmla="*/ 3270 h 10126"/>
                <a:gd name="connsiteX60" fmla="*/ 5778 w 10000"/>
                <a:gd name="connsiteY60" fmla="*/ 3282 h 10126"/>
                <a:gd name="connsiteX61" fmla="*/ 5803 w 10000"/>
                <a:gd name="connsiteY61" fmla="*/ 3294 h 10126"/>
                <a:gd name="connsiteX62" fmla="*/ 5834 w 10000"/>
                <a:gd name="connsiteY62" fmla="*/ 3300 h 10126"/>
                <a:gd name="connsiteX63" fmla="*/ 5935 w 10000"/>
                <a:gd name="connsiteY63" fmla="*/ 3319 h 10126"/>
                <a:gd name="connsiteX64" fmla="*/ 6073 w 10000"/>
                <a:gd name="connsiteY64" fmla="*/ 3354 h 10126"/>
                <a:gd name="connsiteX65" fmla="*/ 6230 w 10000"/>
                <a:gd name="connsiteY65" fmla="*/ 3390 h 10126"/>
                <a:gd name="connsiteX66" fmla="*/ 6405 w 10000"/>
                <a:gd name="connsiteY66" fmla="*/ 3433 h 10126"/>
                <a:gd name="connsiteX67" fmla="*/ 6568 w 10000"/>
                <a:gd name="connsiteY67" fmla="*/ 3463 h 10126"/>
                <a:gd name="connsiteX68" fmla="*/ 6719 w 10000"/>
                <a:gd name="connsiteY68" fmla="*/ 3487 h 10126"/>
                <a:gd name="connsiteX69" fmla="*/ 6788 w 10000"/>
                <a:gd name="connsiteY69" fmla="*/ 3493 h 10126"/>
                <a:gd name="connsiteX70" fmla="*/ 6838 w 10000"/>
                <a:gd name="connsiteY70" fmla="*/ 3499 h 10126"/>
                <a:gd name="connsiteX71" fmla="*/ 6888 w 10000"/>
                <a:gd name="connsiteY71" fmla="*/ 3493 h 10126"/>
                <a:gd name="connsiteX72" fmla="*/ 6913 w 10000"/>
                <a:gd name="connsiteY72" fmla="*/ 3481 h 10126"/>
                <a:gd name="connsiteX73" fmla="*/ 6888 w 10000"/>
                <a:gd name="connsiteY73" fmla="*/ 3439 h 10126"/>
                <a:gd name="connsiteX74" fmla="*/ 6857 w 10000"/>
                <a:gd name="connsiteY74" fmla="*/ 3390 h 10126"/>
                <a:gd name="connsiteX75" fmla="*/ 6838 w 10000"/>
                <a:gd name="connsiteY75" fmla="*/ 3342 h 10126"/>
                <a:gd name="connsiteX76" fmla="*/ 6826 w 10000"/>
                <a:gd name="connsiteY76" fmla="*/ 3288 h 10126"/>
                <a:gd name="connsiteX77" fmla="*/ 6794 w 10000"/>
                <a:gd name="connsiteY77" fmla="*/ 3197 h 10126"/>
                <a:gd name="connsiteX78" fmla="*/ 6788 w 10000"/>
                <a:gd name="connsiteY78" fmla="*/ 3149 h 10126"/>
                <a:gd name="connsiteX79" fmla="*/ 6788 w 10000"/>
                <a:gd name="connsiteY79" fmla="*/ 2962 h 10126"/>
                <a:gd name="connsiteX80" fmla="*/ 6788 w 10000"/>
                <a:gd name="connsiteY80" fmla="*/ 2776 h 10126"/>
                <a:gd name="connsiteX81" fmla="*/ 6995 w 10000"/>
                <a:gd name="connsiteY81" fmla="*/ 2776 h 10126"/>
                <a:gd name="connsiteX82" fmla="*/ 7033 w 10000"/>
                <a:gd name="connsiteY82" fmla="*/ 2842 h 10126"/>
                <a:gd name="connsiteX83" fmla="*/ 7058 w 10000"/>
                <a:gd name="connsiteY83" fmla="*/ 2884 h 10126"/>
                <a:gd name="connsiteX84" fmla="*/ 7095 w 10000"/>
                <a:gd name="connsiteY84" fmla="*/ 2920 h 10126"/>
                <a:gd name="connsiteX85" fmla="*/ 7127 w 10000"/>
                <a:gd name="connsiteY85" fmla="*/ 2962 h 10126"/>
                <a:gd name="connsiteX86" fmla="*/ 7120 w 10000"/>
                <a:gd name="connsiteY86" fmla="*/ 3059 h 10126"/>
                <a:gd name="connsiteX87" fmla="*/ 7102 w 10000"/>
                <a:gd name="connsiteY87" fmla="*/ 3119 h 10126"/>
                <a:gd name="connsiteX88" fmla="*/ 7089 w 10000"/>
                <a:gd name="connsiteY88" fmla="*/ 3167 h 10126"/>
                <a:gd name="connsiteX89" fmla="*/ 7077 w 10000"/>
                <a:gd name="connsiteY89" fmla="*/ 3222 h 10126"/>
                <a:gd name="connsiteX90" fmla="*/ 7208 w 10000"/>
                <a:gd name="connsiteY90" fmla="*/ 3258 h 10126"/>
                <a:gd name="connsiteX91" fmla="*/ 7334 w 10000"/>
                <a:gd name="connsiteY91" fmla="*/ 3294 h 10126"/>
                <a:gd name="connsiteX92" fmla="*/ 7396 w 10000"/>
                <a:gd name="connsiteY92" fmla="*/ 3313 h 10126"/>
                <a:gd name="connsiteX93" fmla="*/ 7459 w 10000"/>
                <a:gd name="connsiteY93" fmla="*/ 3325 h 10126"/>
                <a:gd name="connsiteX94" fmla="*/ 7522 w 10000"/>
                <a:gd name="connsiteY94" fmla="*/ 3331 h 10126"/>
                <a:gd name="connsiteX95" fmla="*/ 7585 w 10000"/>
                <a:gd name="connsiteY95" fmla="*/ 3336 h 10126"/>
                <a:gd name="connsiteX96" fmla="*/ 7591 w 10000"/>
                <a:gd name="connsiteY96" fmla="*/ 3360 h 10126"/>
                <a:gd name="connsiteX97" fmla="*/ 7604 w 10000"/>
                <a:gd name="connsiteY97" fmla="*/ 3384 h 10126"/>
                <a:gd name="connsiteX98" fmla="*/ 7622 w 10000"/>
                <a:gd name="connsiteY98" fmla="*/ 3402 h 10126"/>
                <a:gd name="connsiteX99" fmla="*/ 7654 w 10000"/>
                <a:gd name="connsiteY99" fmla="*/ 3420 h 10126"/>
                <a:gd name="connsiteX100" fmla="*/ 7704 w 10000"/>
                <a:gd name="connsiteY100" fmla="*/ 3439 h 10126"/>
                <a:gd name="connsiteX101" fmla="*/ 7748 w 10000"/>
                <a:gd name="connsiteY101" fmla="*/ 3445 h 10126"/>
                <a:gd name="connsiteX102" fmla="*/ 7798 w 10000"/>
                <a:gd name="connsiteY102" fmla="*/ 3445 h 10126"/>
                <a:gd name="connsiteX103" fmla="*/ 7836 w 10000"/>
                <a:gd name="connsiteY103" fmla="*/ 3433 h 10126"/>
                <a:gd name="connsiteX104" fmla="*/ 7880 w 10000"/>
                <a:gd name="connsiteY104" fmla="*/ 3414 h 10126"/>
                <a:gd name="connsiteX105" fmla="*/ 7911 w 10000"/>
                <a:gd name="connsiteY105" fmla="*/ 3396 h 10126"/>
                <a:gd name="connsiteX106" fmla="*/ 7949 w 10000"/>
                <a:gd name="connsiteY106" fmla="*/ 3372 h 10126"/>
                <a:gd name="connsiteX107" fmla="*/ 7980 w 10000"/>
                <a:gd name="connsiteY107" fmla="*/ 3342 h 10126"/>
                <a:gd name="connsiteX108" fmla="*/ 8011 w 10000"/>
                <a:gd name="connsiteY108" fmla="*/ 3313 h 10126"/>
                <a:gd name="connsiteX109" fmla="*/ 8036 w 10000"/>
                <a:gd name="connsiteY109" fmla="*/ 3282 h 10126"/>
                <a:gd name="connsiteX110" fmla="*/ 8087 w 10000"/>
                <a:gd name="connsiteY110" fmla="*/ 3203 h 10126"/>
                <a:gd name="connsiteX111" fmla="*/ 8118 w 10000"/>
                <a:gd name="connsiteY111" fmla="*/ 3131 h 10126"/>
                <a:gd name="connsiteX112" fmla="*/ 8149 w 10000"/>
                <a:gd name="connsiteY112" fmla="*/ 3065 h 10126"/>
                <a:gd name="connsiteX113" fmla="*/ 8168 w 10000"/>
                <a:gd name="connsiteY113" fmla="*/ 2999 h 10126"/>
                <a:gd name="connsiteX114" fmla="*/ 8231 w 10000"/>
                <a:gd name="connsiteY114" fmla="*/ 2932 h 10126"/>
                <a:gd name="connsiteX115" fmla="*/ 8294 w 10000"/>
                <a:gd name="connsiteY115" fmla="*/ 2866 h 10126"/>
                <a:gd name="connsiteX116" fmla="*/ 8363 w 10000"/>
                <a:gd name="connsiteY116" fmla="*/ 2813 h 10126"/>
                <a:gd name="connsiteX117" fmla="*/ 8432 w 10000"/>
                <a:gd name="connsiteY117" fmla="*/ 2752 h 10126"/>
                <a:gd name="connsiteX118" fmla="*/ 8507 w 10000"/>
                <a:gd name="connsiteY118" fmla="*/ 2704 h 10126"/>
                <a:gd name="connsiteX119" fmla="*/ 8576 w 10000"/>
                <a:gd name="connsiteY119" fmla="*/ 2656 h 10126"/>
                <a:gd name="connsiteX120" fmla="*/ 8651 w 10000"/>
                <a:gd name="connsiteY120" fmla="*/ 2614 h 10126"/>
                <a:gd name="connsiteX121" fmla="*/ 8726 w 10000"/>
                <a:gd name="connsiteY121" fmla="*/ 2570 h 10126"/>
                <a:gd name="connsiteX122" fmla="*/ 8808 w 10000"/>
                <a:gd name="connsiteY122" fmla="*/ 2528 h 10126"/>
                <a:gd name="connsiteX123" fmla="*/ 8890 w 10000"/>
                <a:gd name="connsiteY123" fmla="*/ 2492 h 10126"/>
                <a:gd name="connsiteX124" fmla="*/ 8971 w 10000"/>
                <a:gd name="connsiteY124" fmla="*/ 2462 h 10126"/>
                <a:gd name="connsiteX125" fmla="*/ 9059 w 10000"/>
                <a:gd name="connsiteY125" fmla="*/ 2432 h 10126"/>
                <a:gd name="connsiteX126" fmla="*/ 9235 w 10000"/>
                <a:gd name="connsiteY126" fmla="*/ 2378 h 10126"/>
                <a:gd name="connsiteX127" fmla="*/ 9417 w 10000"/>
                <a:gd name="connsiteY127" fmla="*/ 2335 h 10126"/>
                <a:gd name="connsiteX128" fmla="*/ 9454 w 10000"/>
                <a:gd name="connsiteY128" fmla="*/ 2384 h 10126"/>
                <a:gd name="connsiteX129" fmla="*/ 9504 w 10000"/>
                <a:gd name="connsiteY129" fmla="*/ 2444 h 10126"/>
                <a:gd name="connsiteX130" fmla="*/ 9573 w 10000"/>
                <a:gd name="connsiteY130" fmla="*/ 2510 h 10126"/>
                <a:gd name="connsiteX131" fmla="*/ 9642 w 10000"/>
                <a:gd name="connsiteY131" fmla="*/ 2583 h 10126"/>
                <a:gd name="connsiteX132" fmla="*/ 9718 w 10000"/>
                <a:gd name="connsiteY132" fmla="*/ 2644 h 10126"/>
                <a:gd name="connsiteX133" fmla="*/ 9799 w 10000"/>
                <a:gd name="connsiteY133" fmla="*/ 2692 h 10126"/>
                <a:gd name="connsiteX134" fmla="*/ 9837 w 10000"/>
                <a:gd name="connsiteY134" fmla="*/ 2716 h 10126"/>
                <a:gd name="connsiteX135" fmla="*/ 9875 w 10000"/>
                <a:gd name="connsiteY135" fmla="*/ 2728 h 10126"/>
                <a:gd name="connsiteX136" fmla="*/ 9918 w 10000"/>
                <a:gd name="connsiteY136" fmla="*/ 2740 h 10126"/>
                <a:gd name="connsiteX137" fmla="*/ 9956 w 10000"/>
                <a:gd name="connsiteY137" fmla="*/ 2740 h 10126"/>
                <a:gd name="connsiteX138" fmla="*/ 10000 w 10000"/>
                <a:gd name="connsiteY138" fmla="*/ 2668 h 10126"/>
                <a:gd name="connsiteX139" fmla="*/ 9975 w 10000"/>
                <a:gd name="connsiteY139" fmla="*/ 2795 h 10126"/>
                <a:gd name="connsiteX140" fmla="*/ 9944 w 10000"/>
                <a:gd name="connsiteY140" fmla="*/ 2938 h 10126"/>
                <a:gd name="connsiteX141" fmla="*/ 9931 w 10000"/>
                <a:gd name="connsiteY141" fmla="*/ 3005 h 10126"/>
                <a:gd name="connsiteX142" fmla="*/ 9906 w 10000"/>
                <a:gd name="connsiteY142" fmla="*/ 3065 h 10126"/>
                <a:gd name="connsiteX143" fmla="*/ 9887 w 10000"/>
                <a:gd name="connsiteY143" fmla="*/ 3089 h 10126"/>
                <a:gd name="connsiteX144" fmla="*/ 9875 w 10000"/>
                <a:gd name="connsiteY144" fmla="*/ 3113 h 10126"/>
                <a:gd name="connsiteX145" fmla="*/ 9856 w 10000"/>
                <a:gd name="connsiteY145" fmla="*/ 3131 h 10126"/>
                <a:gd name="connsiteX146" fmla="*/ 9837 w 10000"/>
                <a:gd name="connsiteY146" fmla="*/ 3149 h 10126"/>
                <a:gd name="connsiteX147" fmla="*/ 9749 w 10000"/>
                <a:gd name="connsiteY147" fmla="*/ 3167 h 10126"/>
                <a:gd name="connsiteX148" fmla="*/ 9605 w 10000"/>
                <a:gd name="connsiteY148" fmla="*/ 3216 h 10126"/>
                <a:gd name="connsiteX149" fmla="*/ 9536 w 10000"/>
                <a:gd name="connsiteY149" fmla="*/ 3258 h 10126"/>
                <a:gd name="connsiteX150" fmla="*/ 9479 w 10000"/>
                <a:gd name="connsiteY150" fmla="*/ 3294 h 10126"/>
                <a:gd name="connsiteX151" fmla="*/ 9448 w 10000"/>
                <a:gd name="connsiteY151" fmla="*/ 3313 h 10126"/>
                <a:gd name="connsiteX152" fmla="*/ 9435 w 10000"/>
                <a:gd name="connsiteY152" fmla="*/ 3331 h 10126"/>
                <a:gd name="connsiteX153" fmla="*/ 9423 w 10000"/>
                <a:gd name="connsiteY153" fmla="*/ 3354 h 10126"/>
                <a:gd name="connsiteX154" fmla="*/ 9417 w 10000"/>
                <a:gd name="connsiteY154" fmla="*/ 3372 h 10126"/>
                <a:gd name="connsiteX155" fmla="*/ 9423 w 10000"/>
                <a:gd name="connsiteY155" fmla="*/ 3583 h 10126"/>
                <a:gd name="connsiteX156" fmla="*/ 9417 w 10000"/>
                <a:gd name="connsiteY156" fmla="*/ 3824 h 10126"/>
                <a:gd name="connsiteX157" fmla="*/ 9398 w 10000"/>
                <a:gd name="connsiteY157" fmla="*/ 3884 h 10126"/>
                <a:gd name="connsiteX158" fmla="*/ 9391 w 10000"/>
                <a:gd name="connsiteY158" fmla="*/ 3950 h 10126"/>
                <a:gd name="connsiteX159" fmla="*/ 9379 w 10000"/>
                <a:gd name="connsiteY159" fmla="*/ 4004 h 10126"/>
                <a:gd name="connsiteX160" fmla="*/ 9366 w 10000"/>
                <a:gd name="connsiteY160" fmla="*/ 4059 h 10126"/>
                <a:gd name="connsiteX161" fmla="*/ 9348 w 10000"/>
                <a:gd name="connsiteY161" fmla="*/ 4108 h 10126"/>
                <a:gd name="connsiteX162" fmla="*/ 9316 w 10000"/>
                <a:gd name="connsiteY162" fmla="*/ 4156 h 10126"/>
                <a:gd name="connsiteX163" fmla="*/ 9285 w 10000"/>
                <a:gd name="connsiteY163" fmla="*/ 4192 h 10126"/>
                <a:gd name="connsiteX164" fmla="*/ 9247 w 10000"/>
                <a:gd name="connsiteY164" fmla="*/ 4222 h 10126"/>
                <a:gd name="connsiteX165" fmla="*/ 9228 w 10000"/>
                <a:gd name="connsiteY165" fmla="*/ 4240 h 10126"/>
                <a:gd name="connsiteX166" fmla="*/ 9184 w 10000"/>
                <a:gd name="connsiteY166" fmla="*/ 4246 h 10126"/>
                <a:gd name="connsiteX167" fmla="*/ 9141 w 10000"/>
                <a:gd name="connsiteY167" fmla="*/ 4252 h 10126"/>
                <a:gd name="connsiteX168" fmla="*/ 9090 w 10000"/>
                <a:gd name="connsiteY168" fmla="*/ 4258 h 10126"/>
                <a:gd name="connsiteX169" fmla="*/ 9040 w 10000"/>
                <a:gd name="connsiteY169" fmla="*/ 4264 h 10126"/>
                <a:gd name="connsiteX170" fmla="*/ 8996 w 10000"/>
                <a:gd name="connsiteY170" fmla="*/ 4283 h 10126"/>
                <a:gd name="connsiteX171" fmla="*/ 8977 w 10000"/>
                <a:gd name="connsiteY171" fmla="*/ 4289 h 10126"/>
                <a:gd name="connsiteX172" fmla="*/ 8965 w 10000"/>
                <a:gd name="connsiteY172" fmla="*/ 4307 h 10126"/>
                <a:gd name="connsiteX173" fmla="*/ 8959 w 10000"/>
                <a:gd name="connsiteY173" fmla="*/ 4319 h 10126"/>
                <a:gd name="connsiteX174" fmla="*/ 8959 w 10000"/>
                <a:gd name="connsiteY174" fmla="*/ 4337 h 10126"/>
                <a:gd name="connsiteX175" fmla="*/ 8952 w 10000"/>
                <a:gd name="connsiteY175" fmla="*/ 4408 h 10126"/>
                <a:gd name="connsiteX176" fmla="*/ 8952 w 10000"/>
                <a:gd name="connsiteY176" fmla="*/ 4493 h 10126"/>
                <a:gd name="connsiteX177" fmla="*/ 8940 w 10000"/>
                <a:gd name="connsiteY177" fmla="*/ 4583 h 10126"/>
                <a:gd name="connsiteX178" fmla="*/ 8927 w 10000"/>
                <a:gd name="connsiteY178" fmla="*/ 4667 h 10126"/>
                <a:gd name="connsiteX179" fmla="*/ 8908 w 10000"/>
                <a:gd name="connsiteY179" fmla="*/ 4753 h 10126"/>
                <a:gd name="connsiteX180" fmla="*/ 8890 w 10000"/>
                <a:gd name="connsiteY180" fmla="*/ 4831 h 10126"/>
                <a:gd name="connsiteX181" fmla="*/ 8864 w 10000"/>
                <a:gd name="connsiteY181" fmla="*/ 4902 h 10126"/>
                <a:gd name="connsiteX182" fmla="*/ 8833 w 10000"/>
                <a:gd name="connsiteY182" fmla="*/ 4969 h 10126"/>
                <a:gd name="connsiteX183" fmla="*/ 8538 w 10000"/>
                <a:gd name="connsiteY183" fmla="*/ 4480 h 10126"/>
                <a:gd name="connsiteX184" fmla="*/ 8526 w 10000"/>
                <a:gd name="connsiteY184" fmla="*/ 4505 h 10126"/>
                <a:gd name="connsiteX185" fmla="*/ 8494 w 10000"/>
                <a:gd name="connsiteY185" fmla="*/ 4559 h 10126"/>
                <a:gd name="connsiteX186" fmla="*/ 8463 w 10000"/>
                <a:gd name="connsiteY186" fmla="*/ 4589 h 10126"/>
                <a:gd name="connsiteX187" fmla="*/ 8438 w 10000"/>
                <a:gd name="connsiteY187" fmla="*/ 4613 h 10126"/>
                <a:gd name="connsiteX188" fmla="*/ 8407 w 10000"/>
                <a:gd name="connsiteY188" fmla="*/ 4631 h 10126"/>
                <a:gd name="connsiteX189" fmla="*/ 8375 w 10000"/>
                <a:gd name="connsiteY189" fmla="*/ 4637 h 10126"/>
                <a:gd name="connsiteX190" fmla="*/ 8338 w 10000"/>
                <a:gd name="connsiteY190" fmla="*/ 4631 h 10126"/>
                <a:gd name="connsiteX191" fmla="*/ 8312 w 10000"/>
                <a:gd name="connsiteY191" fmla="*/ 4625 h 10126"/>
                <a:gd name="connsiteX192" fmla="*/ 8287 w 10000"/>
                <a:gd name="connsiteY192" fmla="*/ 4607 h 10126"/>
                <a:gd name="connsiteX193" fmla="*/ 8256 w 10000"/>
                <a:gd name="connsiteY193" fmla="*/ 4589 h 10126"/>
                <a:gd name="connsiteX194" fmla="*/ 8237 w 10000"/>
                <a:gd name="connsiteY194" fmla="*/ 4559 h 10126"/>
                <a:gd name="connsiteX195" fmla="*/ 8225 w 10000"/>
                <a:gd name="connsiteY195" fmla="*/ 4535 h 10126"/>
                <a:gd name="connsiteX196" fmla="*/ 8206 w 10000"/>
                <a:gd name="connsiteY196" fmla="*/ 4511 h 10126"/>
                <a:gd name="connsiteX197" fmla="*/ 8206 w 10000"/>
                <a:gd name="connsiteY197" fmla="*/ 4480 h 10126"/>
                <a:gd name="connsiteX198" fmla="*/ 8206 w 10000"/>
                <a:gd name="connsiteY198" fmla="*/ 4444 h 10126"/>
                <a:gd name="connsiteX199" fmla="*/ 8225 w 10000"/>
                <a:gd name="connsiteY199" fmla="*/ 4408 h 10126"/>
                <a:gd name="connsiteX200" fmla="*/ 8237 w 10000"/>
                <a:gd name="connsiteY200" fmla="*/ 4372 h 10126"/>
                <a:gd name="connsiteX201" fmla="*/ 8250 w 10000"/>
                <a:gd name="connsiteY201" fmla="*/ 4337 h 10126"/>
                <a:gd name="connsiteX202" fmla="*/ 8300 w 10000"/>
                <a:gd name="connsiteY202" fmla="*/ 4270 h 10126"/>
                <a:gd name="connsiteX203" fmla="*/ 8356 w 10000"/>
                <a:gd name="connsiteY203" fmla="*/ 4204 h 10126"/>
                <a:gd name="connsiteX204" fmla="*/ 8407 w 10000"/>
                <a:gd name="connsiteY204" fmla="*/ 4144 h 10126"/>
                <a:gd name="connsiteX205" fmla="*/ 8457 w 10000"/>
                <a:gd name="connsiteY205" fmla="*/ 4078 h 10126"/>
                <a:gd name="connsiteX206" fmla="*/ 8469 w 10000"/>
                <a:gd name="connsiteY206" fmla="*/ 4041 h 10126"/>
                <a:gd name="connsiteX207" fmla="*/ 8482 w 10000"/>
                <a:gd name="connsiteY207" fmla="*/ 4010 h 10126"/>
                <a:gd name="connsiteX208" fmla="*/ 8501 w 10000"/>
                <a:gd name="connsiteY208" fmla="*/ 3968 h 10126"/>
                <a:gd name="connsiteX209" fmla="*/ 8501 w 10000"/>
                <a:gd name="connsiteY209" fmla="*/ 3932 h 10126"/>
                <a:gd name="connsiteX210" fmla="*/ 7748 w 10000"/>
                <a:gd name="connsiteY210" fmla="*/ 3932 h 10126"/>
                <a:gd name="connsiteX211" fmla="*/ 7723 w 10000"/>
                <a:gd name="connsiteY211" fmla="*/ 3926 h 10126"/>
                <a:gd name="connsiteX212" fmla="*/ 7685 w 10000"/>
                <a:gd name="connsiteY212" fmla="*/ 3908 h 10126"/>
                <a:gd name="connsiteX213" fmla="*/ 7660 w 10000"/>
                <a:gd name="connsiteY213" fmla="*/ 3872 h 10126"/>
                <a:gd name="connsiteX214" fmla="*/ 7635 w 10000"/>
                <a:gd name="connsiteY214" fmla="*/ 3836 h 10126"/>
                <a:gd name="connsiteX215" fmla="*/ 7616 w 10000"/>
                <a:gd name="connsiteY215" fmla="*/ 3788 h 10126"/>
                <a:gd name="connsiteX216" fmla="*/ 7597 w 10000"/>
                <a:gd name="connsiteY216" fmla="*/ 3740 h 10126"/>
                <a:gd name="connsiteX217" fmla="*/ 7591 w 10000"/>
                <a:gd name="connsiteY217" fmla="*/ 3686 h 10126"/>
                <a:gd name="connsiteX218" fmla="*/ 7585 w 10000"/>
                <a:gd name="connsiteY218" fmla="*/ 3631 h 10126"/>
                <a:gd name="connsiteX219" fmla="*/ 7547 w 10000"/>
                <a:gd name="connsiteY219" fmla="*/ 3631 h 10126"/>
                <a:gd name="connsiteX220" fmla="*/ 7516 w 10000"/>
                <a:gd name="connsiteY220" fmla="*/ 3625 h 10126"/>
                <a:gd name="connsiteX221" fmla="*/ 7478 w 10000"/>
                <a:gd name="connsiteY221" fmla="*/ 3619 h 10126"/>
                <a:gd name="connsiteX222" fmla="*/ 7447 w 10000"/>
                <a:gd name="connsiteY222" fmla="*/ 3607 h 10126"/>
                <a:gd name="connsiteX223" fmla="*/ 7415 w 10000"/>
                <a:gd name="connsiteY223" fmla="*/ 3589 h 10126"/>
                <a:gd name="connsiteX224" fmla="*/ 7396 w 10000"/>
                <a:gd name="connsiteY224" fmla="*/ 3571 h 10126"/>
                <a:gd name="connsiteX225" fmla="*/ 7384 w 10000"/>
                <a:gd name="connsiteY225" fmla="*/ 3541 h 10126"/>
                <a:gd name="connsiteX226" fmla="*/ 7378 w 10000"/>
                <a:gd name="connsiteY226" fmla="*/ 3517 h 10126"/>
                <a:gd name="connsiteX227" fmla="*/ 7321 w 10000"/>
                <a:gd name="connsiteY227" fmla="*/ 3517 h 10126"/>
                <a:gd name="connsiteX228" fmla="*/ 7271 w 10000"/>
                <a:gd name="connsiteY228" fmla="*/ 3517 h 10126"/>
                <a:gd name="connsiteX229" fmla="*/ 7221 w 10000"/>
                <a:gd name="connsiteY229" fmla="*/ 3517 h 10126"/>
                <a:gd name="connsiteX230" fmla="*/ 7171 w 10000"/>
                <a:gd name="connsiteY230" fmla="*/ 3517 h 10126"/>
                <a:gd name="connsiteX231" fmla="*/ 7127 w 10000"/>
                <a:gd name="connsiteY231" fmla="*/ 3523 h 10126"/>
                <a:gd name="connsiteX232" fmla="*/ 7095 w 10000"/>
                <a:gd name="connsiteY232" fmla="*/ 3529 h 10126"/>
                <a:gd name="connsiteX233" fmla="*/ 7051 w 10000"/>
                <a:gd name="connsiteY233" fmla="*/ 3547 h 10126"/>
                <a:gd name="connsiteX234" fmla="*/ 7008 w 10000"/>
                <a:gd name="connsiteY234" fmla="*/ 3571 h 10126"/>
                <a:gd name="connsiteX235" fmla="*/ 6976 w 10000"/>
                <a:gd name="connsiteY235" fmla="*/ 3601 h 10126"/>
                <a:gd name="connsiteX236" fmla="*/ 6939 w 10000"/>
                <a:gd name="connsiteY236" fmla="*/ 3631 h 10126"/>
                <a:gd name="connsiteX237" fmla="*/ 6920 w 10000"/>
                <a:gd name="connsiteY237" fmla="*/ 3668 h 10126"/>
                <a:gd name="connsiteX238" fmla="*/ 6913 w 10000"/>
                <a:gd name="connsiteY238" fmla="*/ 3704 h 10126"/>
                <a:gd name="connsiteX239" fmla="*/ 6926 w 10000"/>
                <a:gd name="connsiteY239" fmla="*/ 3728 h 10126"/>
                <a:gd name="connsiteX240" fmla="*/ 6964 w 10000"/>
                <a:gd name="connsiteY240" fmla="*/ 3758 h 10126"/>
                <a:gd name="connsiteX241" fmla="*/ 7008 w 10000"/>
                <a:gd name="connsiteY241" fmla="*/ 3794 h 10126"/>
                <a:gd name="connsiteX242" fmla="*/ 7070 w 10000"/>
                <a:gd name="connsiteY242" fmla="*/ 3830 h 10126"/>
                <a:gd name="connsiteX243" fmla="*/ 7133 w 10000"/>
                <a:gd name="connsiteY243" fmla="*/ 3866 h 10126"/>
                <a:gd name="connsiteX244" fmla="*/ 7196 w 10000"/>
                <a:gd name="connsiteY244" fmla="*/ 3896 h 10126"/>
                <a:gd name="connsiteX245" fmla="*/ 7252 w 10000"/>
                <a:gd name="connsiteY245" fmla="*/ 3920 h 10126"/>
                <a:gd name="connsiteX246" fmla="*/ 7290 w 10000"/>
                <a:gd name="connsiteY246" fmla="*/ 3932 h 10126"/>
                <a:gd name="connsiteX247" fmla="*/ 7208 w 10000"/>
                <a:gd name="connsiteY247" fmla="*/ 3992 h 10126"/>
                <a:gd name="connsiteX248" fmla="*/ 7114 w 10000"/>
                <a:gd name="connsiteY248" fmla="*/ 4066 h 10126"/>
                <a:gd name="connsiteX249" fmla="*/ 7070 w 10000"/>
                <a:gd name="connsiteY249" fmla="*/ 4102 h 10126"/>
                <a:gd name="connsiteX250" fmla="*/ 7033 w 10000"/>
                <a:gd name="connsiteY250" fmla="*/ 4144 h 10126"/>
                <a:gd name="connsiteX251" fmla="*/ 7020 w 10000"/>
                <a:gd name="connsiteY251" fmla="*/ 4162 h 10126"/>
                <a:gd name="connsiteX252" fmla="*/ 7008 w 10000"/>
                <a:gd name="connsiteY252" fmla="*/ 4180 h 10126"/>
                <a:gd name="connsiteX253" fmla="*/ 7001 w 10000"/>
                <a:gd name="connsiteY253" fmla="*/ 4204 h 10126"/>
                <a:gd name="connsiteX254" fmla="*/ 6995 w 10000"/>
                <a:gd name="connsiteY254" fmla="*/ 4222 h 10126"/>
                <a:gd name="connsiteX255" fmla="*/ 7001 w 10000"/>
                <a:gd name="connsiteY255" fmla="*/ 4252 h 10126"/>
                <a:gd name="connsiteX256" fmla="*/ 7008 w 10000"/>
                <a:gd name="connsiteY256" fmla="*/ 4270 h 10126"/>
                <a:gd name="connsiteX257" fmla="*/ 7026 w 10000"/>
                <a:gd name="connsiteY257" fmla="*/ 4295 h 10126"/>
                <a:gd name="connsiteX258" fmla="*/ 7039 w 10000"/>
                <a:gd name="connsiteY258" fmla="*/ 4319 h 10126"/>
                <a:gd name="connsiteX259" fmla="*/ 7089 w 10000"/>
                <a:gd name="connsiteY259" fmla="*/ 4366 h 10126"/>
                <a:gd name="connsiteX260" fmla="*/ 7146 w 10000"/>
                <a:gd name="connsiteY260" fmla="*/ 4414 h 10126"/>
                <a:gd name="connsiteX261" fmla="*/ 7208 w 10000"/>
                <a:gd name="connsiteY261" fmla="*/ 4456 h 10126"/>
                <a:gd name="connsiteX262" fmla="*/ 7277 w 10000"/>
                <a:gd name="connsiteY262" fmla="*/ 4493 h 10126"/>
                <a:gd name="connsiteX263" fmla="*/ 7315 w 10000"/>
                <a:gd name="connsiteY263" fmla="*/ 4505 h 10126"/>
                <a:gd name="connsiteX264" fmla="*/ 7346 w 10000"/>
                <a:gd name="connsiteY264" fmla="*/ 4511 h 10126"/>
                <a:gd name="connsiteX265" fmla="*/ 7384 w 10000"/>
                <a:gd name="connsiteY265" fmla="*/ 4517 h 10126"/>
                <a:gd name="connsiteX266" fmla="*/ 7415 w 10000"/>
                <a:gd name="connsiteY266" fmla="*/ 4523 h 10126"/>
                <a:gd name="connsiteX267" fmla="*/ 7585 w 10000"/>
                <a:gd name="connsiteY267" fmla="*/ 5150 h 10126"/>
                <a:gd name="connsiteX268" fmla="*/ 7491 w 10000"/>
                <a:gd name="connsiteY268" fmla="*/ 5150 h 10126"/>
                <a:gd name="connsiteX269" fmla="*/ 7403 w 10000"/>
                <a:gd name="connsiteY269" fmla="*/ 5150 h 10126"/>
                <a:gd name="connsiteX270" fmla="*/ 7321 w 10000"/>
                <a:gd name="connsiteY270" fmla="*/ 5150 h 10126"/>
                <a:gd name="connsiteX271" fmla="*/ 7252 w 10000"/>
                <a:gd name="connsiteY271" fmla="*/ 5150 h 10126"/>
                <a:gd name="connsiteX272" fmla="*/ 7208 w 10000"/>
                <a:gd name="connsiteY272" fmla="*/ 5144 h 10126"/>
                <a:gd name="connsiteX273" fmla="*/ 7164 w 10000"/>
                <a:gd name="connsiteY273" fmla="*/ 5113 h 10126"/>
                <a:gd name="connsiteX274" fmla="*/ 7133 w 10000"/>
                <a:gd name="connsiteY274" fmla="*/ 5101 h 10126"/>
                <a:gd name="connsiteX275" fmla="*/ 7102 w 10000"/>
                <a:gd name="connsiteY275" fmla="*/ 5089 h 10126"/>
                <a:gd name="connsiteX276" fmla="*/ 7070 w 10000"/>
                <a:gd name="connsiteY276" fmla="*/ 5083 h 10126"/>
                <a:gd name="connsiteX277" fmla="*/ 7039 w 10000"/>
                <a:gd name="connsiteY277" fmla="*/ 5077 h 10126"/>
                <a:gd name="connsiteX278" fmla="*/ 7008 w 10000"/>
                <a:gd name="connsiteY278" fmla="*/ 5089 h 10126"/>
                <a:gd name="connsiteX279" fmla="*/ 6957 w 10000"/>
                <a:gd name="connsiteY279" fmla="*/ 5119 h 10126"/>
                <a:gd name="connsiteX280" fmla="*/ 6895 w 10000"/>
                <a:gd name="connsiteY280" fmla="*/ 5162 h 10126"/>
                <a:gd name="connsiteX281" fmla="*/ 6819 w 10000"/>
                <a:gd name="connsiteY281" fmla="*/ 5210 h 10126"/>
                <a:gd name="connsiteX282" fmla="*/ 6744 w 10000"/>
                <a:gd name="connsiteY282" fmla="*/ 5270 h 10126"/>
                <a:gd name="connsiteX283" fmla="*/ 6681 w 10000"/>
                <a:gd name="connsiteY283" fmla="*/ 5318 h 10126"/>
                <a:gd name="connsiteX284" fmla="*/ 6637 w 10000"/>
                <a:gd name="connsiteY284" fmla="*/ 5354 h 10126"/>
                <a:gd name="connsiteX285" fmla="*/ 6625 w 10000"/>
                <a:gd name="connsiteY285" fmla="*/ 5378 h 10126"/>
                <a:gd name="connsiteX286" fmla="*/ 6750 w 10000"/>
                <a:gd name="connsiteY286" fmla="*/ 5450 h 10126"/>
                <a:gd name="connsiteX287" fmla="*/ 6744 w 10000"/>
                <a:gd name="connsiteY287" fmla="*/ 5487 h 10126"/>
                <a:gd name="connsiteX288" fmla="*/ 6725 w 10000"/>
                <a:gd name="connsiteY288" fmla="*/ 5529 h 10126"/>
                <a:gd name="connsiteX289" fmla="*/ 6706 w 10000"/>
                <a:gd name="connsiteY289" fmla="*/ 5560 h 10126"/>
                <a:gd name="connsiteX290" fmla="*/ 6688 w 10000"/>
                <a:gd name="connsiteY290" fmla="*/ 5602 h 10126"/>
                <a:gd name="connsiteX291" fmla="*/ 6637 w 10000"/>
                <a:gd name="connsiteY291" fmla="*/ 5656 h 10126"/>
                <a:gd name="connsiteX292" fmla="*/ 6581 w 10000"/>
                <a:gd name="connsiteY292" fmla="*/ 5710 h 10126"/>
                <a:gd name="connsiteX293" fmla="*/ 6518 w 10000"/>
                <a:gd name="connsiteY293" fmla="*/ 5758 h 10126"/>
                <a:gd name="connsiteX294" fmla="*/ 6443 w 10000"/>
                <a:gd name="connsiteY294" fmla="*/ 5801 h 10126"/>
                <a:gd name="connsiteX295" fmla="*/ 6374 w 10000"/>
                <a:gd name="connsiteY295" fmla="*/ 5837 h 10126"/>
                <a:gd name="connsiteX296" fmla="*/ 6299 w 10000"/>
                <a:gd name="connsiteY296" fmla="*/ 5872 h 10126"/>
                <a:gd name="connsiteX297" fmla="*/ 6223 w 10000"/>
                <a:gd name="connsiteY297" fmla="*/ 5920 h 10126"/>
                <a:gd name="connsiteX298" fmla="*/ 6154 w 10000"/>
                <a:gd name="connsiteY298" fmla="*/ 5956 h 10126"/>
                <a:gd name="connsiteX299" fmla="*/ 6092 w 10000"/>
                <a:gd name="connsiteY299" fmla="*/ 5999 h 10126"/>
                <a:gd name="connsiteX300" fmla="*/ 6035 w 10000"/>
                <a:gd name="connsiteY300" fmla="*/ 6047 h 10126"/>
                <a:gd name="connsiteX301" fmla="*/ 6004 w 10000"/>
                <a:gd name="connsiteY301" fmla="*/ 6071 h 10126"/>
                <a:gd name="connsiteX302" fmla="*/ 5985 w 10000"/>
                <a:gd name="connsiteY302" fmla="*/ 6095 h 10126"/>
                <a:gd name="connsiteX303" fmla="*/ 5966 w 10000"/>
                <a:gd name="connsiteY303" fmla="*/ 6125 h 10126"/>
                <a:gd name="connsiteX304" fmla="*/ 5947 w 10000"/>
                <a:gd name="connsiteY304" fmla="*/ 6155 h 10126"/>
                <a:gd name="connsiteX305" fmla="*/ 5935 w 10000"/>
                <a:gd name="connsiteY305" fmla="*/ 6193 h 10126"/>
                <a:gd name="connsiteX306" fmla="*/ 5922 w 10000"/>
                <a:gd name="connsiteY306" fmla="*/ 6223 h 10126"/>
                <a:gd name="connsiteX307" fmla="*/ 5916 w 10000"/>
                <a:gd name="connsiteY307" fmla="*/ 6265 h 10126"/>
                <a:gd name="connsiteX308" fmla="*/ 5916 w 10000"/>
                <a:gd name="connsiteY308" fmla="*/ 6307 h 10126"/>
                <a:gd name="connsiteX309" fmla="*/ 5859 w 10000"/>
                <a:gd name="connsiteY309" fmla="*/ 6325 h 10126"/>
                <a:gd name="connsiteX310" fmla="*/ 5809 w 10000"/>
                <a:gd name="connsiteY310" fmla="*/ 6343 h 10126"/>
                <a:gd name="connsiteX311" fmla="*/ 5765 w 10000"/>
                <a:gd name="connsiteY311" fmla="*/ 6366 h 10126"/>
                <a:gd name="connsiteX312" fmla="*/ 5721 w 10000"/>
                <a:gd name="connsiteY312" fmla="*/ 6390 h 10126"/>
                <a:gd name="connsiteX313" fmla="*/ 5634 w 10000"/>
                <a:gd name="connsiteY313" fmla="*/ 6451 h 10126"/>
                <a:gd name="connsiteX314" fmla="*/ 5558 w 10000"/>
                <a:gd name="connsiteY314" fmla="*/ 6523 h 10126"/>
                <a:gd name="connsiteX315" fmla="*/ 5420 w 10000"/>
                <a:gd name="connsiteY315" fmla="*/ 6686 h 10126"/>
                <a:gd name="connsiteX316" fmla="*/ 5289 w 10000"/>
                <a:gd name="connsiteY316" fmla="*/ 6860 h 10126"/>
                <a:gd name="connsiteX317" fmla="*/ 5220 w 10000"/>
                <a:gd name="connsiteY317" fmla="*/ 6951 h 10126"/>
                <a:gd name="connsiteX318" fmla="*/ 5151 w 10000"/>
                <a:gd name="connsiteY318" fmla="*/ 7029 h 10126"/>
                <a:gd name="connsiteX319" fmla="*/ 5075 w 10000"/>
                <a:gd name="connsiteY319" fmla="*/ 7102 h 10126"/>
                <a:gd name="connsiteX320" fmla="*/ 4994 w 10000"/>
                <a:gd name="connsiteY320" fmla="*/ 7168 h 10126"/>
                <a:gd name="connsiteX321" fmla="*/ 4944 w 10000"/>
                <a:gd name="connsiteY321" fmla="*/ 7198 h 10126"/>
                <a:gd name="connsiteX322" fmla="*/ 4893 w 10000"/>
                <a:gd name="connsiteY322" fmla="*/ 7222 h 10126"/>
                <a:gd name="connsiteX323" fmla="*/ 4849 w 10000"/>
                <a:gd name="connsiteY323" fmla="*/ 7246 h 10126"/>
                <a:gd name="connsiteX324" fmla="*/ 4793 w 10000"/>
                <a:gd name="connsiteY324" fmla="*/ 7271 h 10126"/>
                <a:gd name="connsiteX325" fmla="*/ 4730 w 10000"/>
                <a:gd name="connsiteY325" fmla="*/ 7289 h 10126"/>
                <a:gd name="connsiteX326" fmla="*/ 4674 w 10000"/>
                <a:gd name="connsiteY326" fmla="*/ 7301 h 10126"/>
                <a:gd name="connsiteX327" fmla="*/ 4605 w 10000"/>
                <a:gd name="connsiteY327" fmla="*/ 7307 h 10126"/>
                <a:gd name="connsiteX328" fmla="*/ 4536 w 10000"/>
                <a:gd name="connsiteY328" fmla="*/ 7307 h 10126"/>
                <a:gd name="connsiteX329" fmla="*/ 4536 w 10000"/>
                <a:gd name="connsiteY329" fmla="*/ 7360 h 10126"/>
                <a:gd name="connsiteX330" fmla="*/ 4536 w 10000"/>
                <a:gd name="connsiteY330" fmla="*/ 7414 h 10126"/>
                <a:gd name="connsiteX331" fmla="*/ 4536 w 10000"/>
                <a:gd name="connsiteY331" fmla="*/ 7456 h 10126"/>
                <a:gd name="connsiteX332" fmla="*/ 4536 w 10000"/>
                <a:gd name="connsiteY332" fmla="*/ 7493 h 10126"/>
                <a:gd name="connsiteX333" fmla="*/ 4536 w 10000"/>
                <a:gd name="connsiteY333" fmla="*/ 7559 h 10126"/>
                <a:gd name="connsiteX334" fmla="*/ 4536 w 10000"/>
                <a:gd name="connsiteY334" fmla="*/ 7662 h 10126"/>
                <a:gd name="connsiteX335" fmla="*/ 4536 w 10000"/>
                <a:gd name="connsiteY335" fmla="*/ 7771 h 10126"/>
                <a:gd name="connsiteX336" fmla="*/ 4548 w 10000"/>
                <a:gd name="connsiteY336" fmla="*/ 7884 h 10126"/>
                <a:gd name="connsiteX337" fmla="*/ 4561 w 10000"/>
                <a:gd name="connsiteY337" fmla="*/ 7945 h 10126"/>
                <a:gd name="connsiteX338" fmla="*/ 4573 w 10000"/>
                <a:gd name="connsiteY338" fmla="*/ 7999 h 10126"/>
                <a:gd name="connsiteX339" fmla="*/ 4586 w 10000"/>
                <a:gd name="connsiteY339" fmla="*/ 8047 h 10126"/>
                <a:gd name="connsiteX340" fmla="*/ 4611 w 10000"/>
                <a:gd name="connsiteY340" fmla="*/ 8089 h 10126"/>
                <a:gd name="connsiteX341" fmla="*/ 4636 w 10000"/>
                <a:gd name="connsiteY341" fmla="*/ 8132 h 10126"/>
                <a:gd name="connsiteX342" fmla="*/ 4668 w 10000"/>
                <a:gd name="connsiteY342" fmla="*/ 8162 h 10126"/>
                <a:gd name="connsiteX343" fmla="*/ 4705 w 10000"/>
                <a:gd name="connsiteY343" fmla="*/ 8186 h 10126"/>
                <a:gd name="connsiteX344" fmla="*/ 4749 w 10000"/>
                <a:gd name="connsiteY344" fmla="*/ 8198 h 10126"/>
                <a:gd name="connsiteX345" fmla="*/ 4711 w 10000"/>
                <a:gd name="connsiteY345" fmla="*/ 8294 h 10126"/>
                <a:gd name="connsiteX346" fmla="*/ 4668 w 10000"/>
                <a:gd name="connsiteY346" fmla="*/ 8379 h 10126"/>
                <a:gd name="connsiteX347" fmla="*/ 4617 w 10000"/>
                <a:gd name="connsiteY347" fmla="*/ 8457 h 10126"/>
                <a:gd name="connsiteX348" fmla="*/ 4573 w 10000"/>
                <a:gd name="connsiteY348" fmla="*/ 8529 h 10126"/>
                <a:gd name="connsiteX349" fmla="*/ 4523 w 10000"/>
                <a:gd name="connsiteY349" fmla="*/ 8614 h 10126"/>
                <a:gd name="connsiteX350" fmla="*/ 4492 w 10000"/>
                <a:gd name="connsiteY350" fmla="*/ 8692 h 10126"/>
                <a:gd name="connsiteX351" fmla="*/ 4473 w 10000"/>
                <a:gd name="connsiteY351" fmla="*/ 8728 h 10126"/>
                <a:gd name="connsiteX352" fmla="*/ 4467 w 10000"/>
                <a:gd name="connsiteY352" fmla="*/ 8771 h 10126"/>
                <a:gd name="connsiteX353" fmla="*/ 4460 w 10000"/>
                <a:gd name="connsiteY353" fmla="*/ 8819 h 10126"/>
                <a:gd name="connsiteX354" fmla="*/ 4454 w 10000"/>
                <a:gd name="connsiteY354" fmla="*/ 8861 h 10126"/>
                <a:gd name="connsiteX355" fmla="*/ 4460 w 10000"/>
                <a:gd name="connsiteY355" fmla="*/ 8878 h 10126"/>
                <a:gd name="connsiteX356" fmla="*/ 4467 w 10000"/>
                <a:gd name="connsiteY356" fmla="*/ 8890 h 10126"/>
                <a:gd name="connsiteX357" fmla="*/ 4479 w 10000"/>
                <a:gd name="connsiteY357" fmla="*/ 8902 h 10126"/>
                <a:gd name="connsiteX358" fmla="*/ 4504 w 10000"/>
                <a:gd name="connsiteY358" fmla="*/ 8914 h 10126"/>
                <a:gd name="connsiteX359" fmla="*/ 4542 w 10000"/>
                <a:gd name="connsiteY359" fmla="*/ 8938 h 10126"/>
                <a:gd name="connsiteX360" fmla="*/ 4580 w 10000"/>
                <a:gd name="connsiteY360" fmla="*/ 8944 h 10126"/>
                <a:gd name="connsiteX361" fmla="*/ 4580 w 10000"/>
                <a:gd name="connsiteY361" fmla="*/ 9162 h 10126"/>
                <a:gd name="connsiteX362" fmla="*/ 4529 w 10000"/>
                <a:gd name="connsiteY362" fmla="*/ 9247 h 10126"/>
                <a:gd name="connsiteX363" fmla="*/ 4492 w 10000"/>
                <a:gd name="connsiteY363" fmla="*/ 9337 h 10126"/>
                <a:gd name="connsiteX364" fmla="*/ 4460 w 10000"/>
                <a:gd name="connsiteY364" fmla="*/ 9372 h 10126"/>
                <a:gd name="connsiteX365" fmla="*/ 4429 w 10000"/>
                <a:gd name="connsiteY365" fmla="*/ 9397 h 10126"/>
                <a:gd name="connsiteX366" fmla="*/ 4404 w 10000"/>
                <a:gd name="connsiteY366" fmla="*/ 9409 h 10126"/>
                <a:gd name="connsiteX367" fmla="*/ 4385 w 10000"/>
                <a:gd name="connsiteY367" fmla="*/ 9415 h 10126"/>
                <a:gd name="connsiteX368" fmla="*/ 4360 w 10000"/>
                <a:gd name="connsiteY368" fmla="*/ 9421 h 10126"/>
                <a:gd name="connsiteX369" fmla="*/ 4329 w 10000"/>
                <a:gd name="connsiteY369" fmla="*/ 9421 h 10126"/>
                <a:gd name="connsiteX370" fmla="*/ 4329 w 10000"/>
                <a:gd name="connsiteY370" fmla="*/ 9469 h 10126"/>
                <a:gd name="connsiteX371" fmla="*/ 4335 w 10000"/>
                <a:gd name="connsiteY371" fmla="*/ 9529 h 10126"/>
                <a:gd name="connsiteX372" fmla="*/ 4348 w 10000"/>
                <a:gd name="connsiteY372" fmla="*/ 9559 h 10126"/>
                <a:gd name="connsiteX373" fmla="*/ 4354 w 10000"/>
                <a:gd name="connsiteY373" fmla="*/ 9583 h 10126"/>
                <a:gd name="connsiteX374" fmla="*/ 4360 w 10000"/>
                <a:gd name="connsiteY374" fmla="*/ 9602 h 10126"/>
                <a:gd name="connsiteX375" fmla="*/ 4373 w 10000"/>
                <a:gd name="connsiteY375" fmla="*/ 9608 h 10126"/>
                <a:gd name="connsiteX376" fmla="*/ 4210 w 10000"/>
                <a:gd name="connsiteY376" fmla="*/ 9734 h 10126"/>
                <a:gd name="connsiteX377" fmla="*/ 4072 w 10000"/>
                <a:gd name="connsiteY377" fmla="*/ 9838 h 10126"/>
                <a:gd name="connsiteX378" fmla="*/ 4009 w 10000"/>
                <a:gd name="connsiteY378" fmla="*/ 9897 h 10126"/>
                <a:gd name="connsiteX379" fmla="*/ 3952 w 10000"/>
                <a:gd name="connsiteY379" fmla="*/ 9963 h 10126"/>
                <a:gd name="connsiteX380" fmla="*/ 3890 w 10000"/>
                <a:gd name="connsiteY380" fmla="*/ 10042 h 10126"/>
                <a:gd name="connsiteX381" fmla="*/ 3833 w 10000"/>
                <a:gd name="connsiteY381" fmla="*/ 10126 h 10126"/>
                <a:gd name="connsiteX382" fmla="*/ 3733 w 10000"/>
                <a:gd name="connsiteY382" fmla="*/ 10084 h 10126"/>
                <a:gd name="connsiteX383" fmla="*/ 3664 w 10000"/>
                <a:gd name="connsiteY383" fmla="*/ 10042 h 10126"/>
                <a:gd name="connsiteX384" fmla="*/ 3607 w 10000"/>
                <a:gd name="connsiteY384" fmla="*/ 9999 h 10126"/>
                <a:gd name="connsiteX385" fmla="*/ 3563 w 10000"/>
                <a:gd name="connsiteY385" fmla="*/ 9951 h 10126"/>
                <a:gd name="connsiteX386" fmla="*/ 3532 w 10000"/>
                <a:gd name="connsiteY386" fmla="*/ 9891 h 10126"/>
                <a:gd name="connsiteX387" fmla="*/ 3513 w 10000"/>
                <a:gd name="connsiteY387" fmla="*/ 9832 h 10126"/>
                <a:gd name="connsiteX388" fmla="*/ 3482 w 10000"/>
                <a:gd name="connsiteY388" fmla="*/ 9758 h 10126"/>
                <a:gd name="connsiteX389" fmla="*/ 3457 w 10000"/>
                <a:gd name="connsiteY389" fmla="*/ 9686 h 10126"/>
                <a:gd name="connsiteX390" fmla="*/ 3400 w 10000"/>
                <a:gd name="connsiteY390" fmla="*/ 9547 h 10126"/>
                <a:gd name="connsiteX391" fmla="*/ 3325 w 10000"/>
                <a:gd name="connsiteY391" fmla="*/ 9415 h 10126"/>
                <a:gd name="connsiteX392" fmla="*/ 3237 w 10000"/>
                <a:gd name="connsiteY392" fmla="*/ 9277 h 10126"/>
                <a:gd name="connsiteX393" fmla="*/ 3143 w 10000"/>
                <a:gd name="connsiteY393" fmla="*/ 9132 h 10126"/>
                <a:gd name="connsiteX394" fmla="*/ 3049 w 10000"/>
                <a:gd name="connsiteY394" fmla="*/ 8999 h 10126"/>
                <a:gd name="connsiteX395" fmla="*/ 2967 w 10000"/>
                <a:gd name="connsiteY395" fmla="*/ 8867 h 10126"/>
                <a:gd name="connsiteX396" fmla="*/ 2892 w 10000"/>
                <a:gd name="connsiteY396" fmla="*/ 8747 h 10126"/>
                <a:gd name="connsiteX397" fmla="*/ 2829 w 10000"/>
                <a:gd name="connsiteY397" fmla="*/ 8644 h 10126"/>
                <a:gd name="connsiteX398" fmla="*/ 2773 w 10000"/>
                <a:gd name="connsiteY398" fmla="*/ 8529 h 10126"/>
                <a:gd name="connsiteX399" fmla="*/ 2735 w 10000"/>
                <a:gd name="connsiteY399" fmla="*/ 8427 h 10126"/>
                <a:gd name="connsiteX400" fmla="*/ 2698 w 10000"/>
                <a:gd name="connsiteY400" fmla="*/ 8319 h 10126"/>
                <a:gd name="connsiteX401" fmla="*/ 2666 w 10000"/>
                <a:gd name="connsiteY401" fmla="*/ 8210 h 10126"/>
                <a:gd name="connsiteX402" fmla="*/ 2629 w 10000"/>
                <a:gd name="connsiteY402" fmla="*/ 8101 h 10126"/>
                <a:gd name="connsiteX403" fmla="*/ 2597 w 10000"/>
                <a:gd name="connsiteY403" fmla="*/ 7993 h 10126"/>
                <a:gd name="connsiteX404" fmla="*/ 2553 w 10000"/>
                <a:gd name="connsiteY404" fmla="*/ 7872 h 10126"/>
                <a:gd name="connsiteX405" fmla="*/ 2497 w 10000"/>
                <a:gd name="connsiteY405" fmla="*/ 7753 h 10126"/>
                <a:gd name="connsiteX406" fmla="*/ 2359 w 10000"/>
                <a:gd name="connsiteY406" fmla="*/ 7559 h 10126"/>
                <a:gd name="connsiteX407" fmla="*/ 2208 w 10000"/>
                <a:gd name="connsiteY407" fmla="*/ 7378 h 10126"/>
                <a:gd name="connsiteX408" fmla="*/ 2139 w 10000"/>
                <a:gd name="connsiteY408" fmla="*/ 7295 h 10126"/>
                <a:gd name="connsiteX409" fmla="*/ 2070 w 10000"/>
                <a:gd name="connsiteY409" fmla="*/ 7198 h 10126"/>
                <a:gd name="connsiteX410" fmla="*/ 2008 w 10000"/>
                <a:gd name="connsiteY410" fmla="*/ 7108 h 10126"/>
                <a:gd name="connsiteX411" fmla="*/ 1957 w 10000"/>
                <a:gd name="connsiteY411" fmla="*/ 7011 h 10126"/>
                <a:gd name="connsiteX412" fmla="*/ 1888 w 10000"/>
                <a:gd name="connsiteY412" fmla="*/ 6776 h 10126"/>
                <a:gd name="connsiteX413" fmla="*/ 1832 w 10000"/>
                <a:gd name="connsiteY413" fmla="*/ 6559 h 10126"/>
                <a:gd name="connsiteX414" fmla="*/ 1782 w 10000"/>
                <a:gd name="connsiteY414" fmla="*/ 6349 h 10126"/>
                <a:gd name="connsiteX415" fmla="*/ 1757 w 10000"/>
                <a:gd name="connsiteY415" fmla="*/ 6137 h 10126"/>
                <a:gd name="connsiteX416" fmla="*/ 1725 w 10000"/>
                <a:gd name="connsiteY416" fmla="*/ 5932 h 10126"/>
                <a:gd name="connsiteX417" fmla="*/ 1713 w 10000"/>
                <a:gd name="connsiteY417" fmla="*/ 5716 h 10126"/>
                <a:gd name="connsiteX418" fmla="*/ 1706 w 10000"/>
                <a:gd name="connsiteY418" fmla="*/ 5493 h 10126"/>
                <a:gd name="connsiteX419" fmla="*/ 1706 w 10000"/>
                <a:gd name="connsiteY419" fmla="*/ 5270 h 10126"/>
                <a:gd name="connsiteX420" fmla="*/ 1681 w 10000"/>
                <a:gd name="connsiteY420" fmla="*/ 5264 h 10126"/>
                <a:gd name="connsiteX421" fmla="*/ 1650 w 10000"/>
                <a:gd name="connsiteY421" fmla="*/ 5258 h 10126"/>
                <a:gd name="connsiteX422" fmla="*/ 1625 w 10000"/>
                <a:gd name="connsiteY422" fmla="*/ 5252 h 10126"/>
                <a:gd name="connsiteX423" fmla="*/ 1606 w 10000"/>
                <a:gd name="connsiteY423" fmla="*/ 5228 h 10126"/>
                <a:gd name="connsiteX424" fmla="*/ 1581 w 10000"/>
                <a:gd name="connsiteY424" fmla="*/ 5216 h 10126"/>
                <a:gd name="connsiteX425" fmla="*/ 1568 w 10000"/>
                <a:gd name="connsiteY425" fmla="*/ 5198 h 10126"/>
                <a:gd name="connsiteX426" fmla="*/ 1550 w 10000"/>
                <a:gd name="connsiteY426" fmla="*/ 5174 h 10126"/>
                <a:gd name="connsiteX427" fmla="*/ 1543 w 10000"/>
                <a:gd name="connsiteY427" fmla="*/ 5150 h 10126"/>
                <a:gd name="connsiteX428" fmla="*/ 1518 w 10000"/>
                <a:gd name="connsiteY428" fmla="*/ 5101 h 10126"/>
                <a:gd name="connsiteX429" fmla="*/ 1506 w 10000"/>
                <a:gd name="connsiteY429" fmla="*/ 5047 h 10126"/>
                <a:gd name="connsiteX430" fmla="*/ 1499 w 10000"/>
                <a:gd name="connsiteY430" fmla="*/ 4987 h 10126"/>
                <a:gd name="connsiteX431" fmla="*/ 1499 w 10000"/>
                <a:gd name="connsiteY431" fmla="*/ 4933 h 10126"/>
                <a:gd name="connsiteX432" fmla="*/ 1443 w 10000"/>
                <a:gd name="connsiteY432" fmla="*/ 4969 h 10126"/>
                <a:gd name="connsiteX433" fmla="*/ 1405 w 10000"/>
                <a:gd name="connsiteY433" fmla="*/ 5011 h 10126"/>
                <a:gd name="connsiteX434" fmla="*/ 1361 w 10000"/>
                <a:gd name="connsiteY434" fmla="*/ 5053 h 10126"/>
                <a:gd name="connsiteX435" fmla="*/ 1317 w 10000"/>
                <a:gd name="connsiteY435" fmla="*/ 5101 h 10126"/>
                <a:gd name="connsiteX436" fmla="*/ 1261 w 10000"/>
                <a:gd name="connsiteY436" fmla="*/ 5198 h 10126"/>
                <a:gd name="connsiteX437" fmla="*/ 1205 w 10000"/>
                <a:gd name="connsiteY437" fmla="*/ 5300 h 10126"/>
                <a:gd name="connsiteX438" fmla="*/ 1167 w 10000"/>
                <a:gd name="connsiteY438" fmla="*/ 5343 h 10126"/>
                <a:gd name="connsiteX439" fmla="*/ 1142 w 10000"/>
                <a:gd name="connsiteY439" fmla="*/ 5384 h 10126"/>
                <a:gd name="connsiteX440" fmla="*/ 1104 w 10000"/>
                <a:gd name="connsiteY440" fmla="*/ 5426 h 10126"/>
                <a:gd name="connsiteX441" fmla="*/ 1073 w 10000"/>
                <a:gd name="connsiteY441" fmla="*/ 5456 h 10126"/>
                <a:gd name="connsiteX442" fmla="*/ 1029 w 10000"/>
                <a:gd name="connsiteY442" fmla="*/ 5487 h 10126"/>
                <a:gd name="connsiteX443" fmla="*/ 985 w 10000"/>
                <a:gd name="connsiteY443" fmla="*/ 5505 h 10126"/>
                <a:gd name="connsiteX444" fmla="*/ 928 w 10000"/>
                <a:gd name="connsiteY444" fmla="*/ 5517 h 10126"/>
                <a:gd name="connsiteX445" fmla="*/ 872 w 10000"/>
                <a:gd name="connsiteY445" fmla="*/ 5523 h 10126"/>
                <a:gd name="connsiteX446" fmla="*/ 841 w 10000"/>
                <a:gd name="connsiteY446" fmla="*/ 5517 h 10126"/>
                <a:gd name="connsiteX447" fmla="*/ 797 w 10000"/>
                <a:gd name="connsiteY447" fmla="*/ 5505 h 10126"/>
                <a:gd name="connsiteX448" fmla="*/ 753 w 10000"/>
                <a:gd name="connsiteY448" fmla="*/ 5487 h 10126"/>
                <a:gd name="connsiteX449" fmla="*/ 709 w 10000"/>
                <a:gd name="connsiteY449" fmla="*/ 5456 h 10126"/>
                <a:gd name="connsiteX450" fmla="*/ 659 w 10000"/>
                <a:gd name="connsiteY450" fmla="*/ 5420 h 10126"/>
                <a:gd name="connsiteX451" fmla="*/ 609 w 10000"/>
                <a:gd name="connsiteY451" fmla="*/ 5384 h 10126"/>
                <a:gd name="connsiteX452" fmla="*/ 565 w 10000"/>
                <a:gd name="connsiteY452" fmla="*/ 5343 h 10126"/>
                <a:gd name="connsiteX453" fmla="*/ 514 w 10000"/>
                <a:gd name="connsiteY453" fmla="*/ 5294 h 10126"/>
                <a:gd name="connsiteX454" fmla="*/ 471 w 10000"/>
                <a:gd name="connsiteY454" fmla="*/ 5246 h 10126"/>
                <a:gd name="connsiteX455" fmla="*/ 433 w 10000"/>
                <a:gd name="connsiteY455" fmla="*/ 5192 h 10126"/>
                <a:gd name="connsiteX456" fmla="*/ 389 w 10000"/>
                <a:gd name="connsiteY456" fmla="*/ 5138 h 10126"/>
                <a:gd name="connsiteX457" fmla="*/ 358 w 10000"/>
                <a:gd name="connsiteY457" fmla="*/ 5083 h 10126"/>
                <a:gd name="connsiteX458" fmla="*/ 326 w 10000"/>
                <a:gd name="connsiteY458" fmla="*/ 5035 h 10126"/>
                <a:gd name="connsiteX459" fmla="*/ 307 w 10000"/>
                <a:gd name="connsiteY459" fmla="*/ 4987 h 10126"/>
                <a:gd name="connsiteX460" fmla="*/ 295 w 10000"/>
                <a:gd name="connsiteY460" fmla="*/ 4939 h 10126"/>
                <a:gd name="connsiteX461" fmla="*/ 289 w 10000"/>
                <a:gd name="connsiteY461" fmla="*/ 4890 h 10126"/>
                <a:gd name="connsiteX462" fmla="*/ 320 w 10000"/>
                <a:gd name="connsiteY462" fmla="*/ 4872 h 10126"/>
                <a:gd name="connsiteX463" fmla="*/ 395 w 10000"/>
                <a:gd name="connsiteY463" fmla="*/ 4837 h 10126"/>
                <a:gd name="connsiteX464" fmla="*/ 483 w 10000"/>
                <a:gd name="connsiteY464" fmla="*/ 4801 h 10126"/>
                <a:gd name="connsiteX465" fmla="*/ 533 w 10000"/>
                <a:gd name="connsiteY465" fmla="*/ 4783 h 10126"/>
                <a:gd name="connsiteX466" fmla="*/ 483 w 10000"/>
                <a:gd name="connsiteY466" fmla="*/ 4783 h 10126"/>
                <a:gd name="connsiteX467" fmla="*/ 420 w 10000"/>
                <a:gd name="connsiteY467" fmla="*/ 4777 h 10126"/>
                <a:gd name="connsiteX468" fmla="*/ 370 w 10000"/>
                <a:gd name="connsiteY468" fmla="*/ 4765 h 10126"/>
                <a:gd name="connsiteX469" fmla="*/ 320 w 10000"/>
                <a:gd name="connsiteY469" fmla="*/ 4759 h 10126"/>
                <a:gd name="connsiteX470" fmla="*/ 276 w 10000"/>
                <a:gd name="connsiteY470" fmla="*/ 4740 h 10126"/>
                <a:gd name="connsiteX471" fmla="*/ 232 w 10000"/>
                <a:gd name="connsiteY471" fmla="*/ 4728 h 10126"/>
                <a:gd name="connsiteX472" fmla="*/ 188 w 10000"/>
                <a:gd name="connsiteY472" fmla="*/ 4710 h 10126"/>
                <a:gd name="connsiteX473" fmla="*/ 157 w 10000"/>
                <a:gd name="connsiteY473" fmla="*/ 4685 h 10126"/>
                <a:gd name="connsiteX474" fmla="*/ 132 w 10000"/>
                <a:gd name="connsiteY474" fmla="*/ 4661 h 10126"/>
                <a:gd name="connsiteX475" fmla="*/ 100 w 10000"/>
                <a:gd name="connsiteY475" fmla="*/ 4637 h 10126"/>
                <a:gd name="connsiteX476" fmla="*/ 75 w 10000"/>
                <a:gd name="connsiteY476" fmla="*/ 4607 h 10126"/>
                <a:gd name="connsiteX477" fmla="*/ 50 w 10000"/>
                <a:gd name="connsiteY477" fmla="*/ 4583 h 10126"/>
                <a:gd name="connsiteX478" fmla="*/ 19 w 10000"/>
                <a:gd name="connsiteY478" fmla="*/ 4511 h 10126"/>
                <a:gd name="connsiteX479" fmla="*/ 0 w 10000"/>
                <a:gd name="connsiteY479" fmla="*/ 4444 h 10126"/>
                <a:gd name="connsiteX480" fmla="*/ 63 w 10000"/>
                <a:gd name="connsiteY480" fmla="*/ 4396 h 10126"/>
                <a:gd name="connsiteX481" fmla="*/ 132 w 10000"/>
                <a:gd name="connsiteY481" fmla="*/ 4360 h 10126"/>
                <a:gd name="connsiteX482" fmla="*/ 201 w 10000"/>
                <a:gd name="connsiteY482" fmla="*/ 4331 h 10126"/>
                <a:gd name="connsiteX483" fmla="*/ 276 w 10000"/>
                <a:gd name="connsiteY483" fmla="*/ 4307 h 10126"/>
                <a:gd name="connsiteX484" fmla="*/ 420 w 10000"/>
                <a:gd name="connsiteY484" fmla="*/ 4277 h 10126"/>
                <a:gd name="connsiteX485" fmla="*/ 565 w 10000"/>
                <a:gd name="connsiteY485" fmla="*/ 4252 h 10126"/>
                <a:gd name="connsiteX486" fmla="*/ 640 w 10000"/>
                <a:gd name="connsiteY486" fmla="*/ 4240 h 10126"/>
                <a:gd name="connsiteX487" fmla="*/ 709 w 10000"/>
                <a:gd name="connsiteY487" fmla="*/ 4216 h 10126"/>
                <a:gd name="connsiteX488" fmla="*/ 772 w 10000"/>
                <a:gd name="connsiteY488" fmla="*/ 4198 h 10126"/>
                <a:gd name="connsiteX489" fmla="*/ 834 w 10000"/>
                <a:gd name="connsiteY489" fmla="*/ 4168 h 10126"/>
                <a:gd name="connsiteX490" fmla="*/ 891 w 10000"/>
                <a:gd name="connsiteY490" fmla="*/ 4138 h 10126"/>
                <a:gd name="connsiteX491" fmla="*/ 947 w 10000"/>
                <a:gd name="connsiteY491" fmla="*/ 4090 h 10126"/>
                <a:gd name="connsiteX492" fmla="*/ 997 w 10000"/>
                <a:gd name="connsiteY492" fmla="*/ 4035 h 10126"/>
                <a:gd name="connsiteX493" fmla="*/ 1035 w 10000"/>
                <a:gd name="connsiteY493" fmla="*/ 3968 h 10126"/>
                <a:gd name="connsiteX494" fmla="*/ 1010 w 10000"/>
                <a:gd name="connsiteY494" fmla="*/ 3956 h 10126"/>
                <a:gd name="connsiteX495" fmla="*/ 985 w 10000"/>
                <a:gd name="connsiteY495" fmla="*/ 3938 h 10126"/>
                <a:gd name="connsiteX496" fmla="*/ 947 w 10000"/>
                <a:gd name="connsiteY496" fmla="*/ 3914 h 10126"/>
                <a:gd name="connsiteX497" fmla="*/ 910 w 10000"/>
                <a:gd name="connsiteY497" fmla="*/ 3878 h 10126"/>
                <a:gd name="connsiteX498" fmla="*/ 822 w 10000"/>
                <a:gd name="connsiteY498" fmla="*/ 3806 h 10126"/>
                <a:gd name="connsiteX499" fmla="*/ 740 w 10000"/>
                <a:gd name="connsiteY499" fmla="*/ 3722 h 10126"/>
                <a:gd name="connsiteX500" fmla="*/ 665 w 10000"/>
                <a:gd name="connsiteY500" fmla="*/ 3631 h 10126"/>
                <a:gd name="connsiteX501" fmla="*/ 596 w 10000"/>
                <a:gd name="connsiteY501" fmla="*/ 3535 h 10126"/>
                <a:gd name="connsiteX502" fmla="*/ 577 w 10000"/>
                <a:gd name="connsiteY502" fmla="*/ 3493 h 10126"/>
                <a:gd name="connsiteX503" fmla="*/ 558 w 10000"/>
                <a:gd name="connsiteY503" fmla="*/ 3451 h 10126"/>
                <a:gd name="connsiteX504" fmla="*/ 540 w 10000"/>
                <a:gd name="connsiteY504" fmla="*/ 3408 h 10126"/>
                <a:gd name="connsiteX505" fmla="*/ 533 w 10000"/>
                <a:gd name="connsiteY505" fmla="*/ 3372 h 10126"/>
                <a:gd name="connsiteX506" fmla="*/ 508 w 10000"/>
                <a:gd name="connsiteY506" fmla="*/ 3366 h 10126"/>
                <a:gd name="connsiteX507" fmla="*/ 483 w 10000"/>
                <a:gd name="connsiteY507" fmla="*/ 3360 h 10126"/>
                <a:gd name="connsiteX508" fmla="*/ 458 w 10000"/>
                <a:gd name="connsiteY508" fmla="*/ 3348 h 10126"/>
                <a:gd name="connsiteX509" fmla="*/ 439 w 10000"/>
                <a:gd name="connsiteY509" fmla="*/ 3325 h 10126"/>
                <a:gd name="connsiteX510" fmla="*/ 402 w 10000"/>
                <a:gd name="connsiteY510" fmla="*/ 3282 h 10126"/>
                <a:gd name="connsiteX511" fmla="*/ 370 w 10000"/>
                <a:gd name="connsiteY511" fmla="*/ 3222 h 10126"/>
                <a:gd name="connsiteX512" fmla="*/ 370 w 10000"/>
                <a:gd name="connsiteY512" fmla="*/ 3077 h 10126"/>
                <a:gd name="connsiteX513" fmla="*/ 458 w 10000"/>
                <a:gd name="connsiteY513" fmla="*/ 3071 h 10126"/>
                <a:gd name="connsiteX514" fmla="*/ 540 w 10000"/>
                <a:gd name="connsiteY514" fmla="*/ 3065 h 10126"/>
                <a:gd name="connsiteX515" fmla="*/ 615 w 10000"/>
                <a:gd name="connsiteY515" fmla="*/ 3053 h 10126"/>
                <a:gd name="connsiteX516" fmla="*/ 684 w 10000"/>
                <a:gd name="connsiteY516" fmla="*/ 3029 h 10126"/>
                <a:gd name="connsiteX517" fmla="*/ 747 w 10000"/>
                <a:gd name="connsiteY517" fmla="*/ 3011 h 10126"/>
                <a:gd name="connsiteX518" fmla="*/ 809 w 10000"/>
                <a:gd name="connsiteY518" fmla="*/ 2980 h 10126"/>
                <a:gd name="connsiteX519" fmla="*/ 866 w 10000"/>
                <a:gd name="connsiteY519" fmla="*/ 2950 h 10126"/>
                <a:gd name="connsiteX520" fmla="*/ 922 w 10000"/>
                <a:gd name="connsiteY520" fmla="*/ 2914 h 10126"/>
                <a:gd name="connsiteX521" fmla="*/ 966 w 10000"/>
                <a:gd name="connsiteY521" fmla="*/ 2872 h 10126"/>
                <a:gd name="connsiteX522" fmla="*/ 1016 w 10000"/>
                <a:gd name="connsiteY522" fmla="*/ 2831 h 10126"/>
                <a:gd name="connsiteX523" fmla="*/ 1060 w 10000"/>
                <a:gd name="connsiteY523" fmla="*/ 2789 h 10126"/>
                <a:gd name="connsiteX524" fmla="*/ 1098 w 10000"/>
                <a:gd name="connsiteY524" fmla="*/ 2740 h 10126"/>
                <a:gd name="connsiteX525" fmla="*/ 1167 w 10000"/>
                <a:gd name="connsiteY525" fmla="*/ 2644 h 10126"/>
                <a:gd name="connsiteX526" fmla="*/ 1236 w 10000"/>
                <a:gd name="connsiteY526" fmla="*/ 2534 h 10126"/>
                <a:gd name="connsiteX527" fmla="*/ 1355 w 10000"/>
                <a:gd name="connsiteY527" fmla="*/ 2318 h 10126"/>
                <a:gd name="connsiteX528" fmla="*/ 1474 w 10000"/>
                <a:gd name="connsiteY528" fmla="*/ 2101 h 10126"/>
                <a:gd name="connsiteX529" fmla="*/ 1543 w 10000"/>
                <a:gd name="connsiteY529" fmla="*/ 2005 h 10126"/>
                <a:gd name="connsiteX530" fmla="*/ 1612 w 10000"/>
                <a:gd name="connsiteY530" fmla="*/ 1920 h 10126"/>
                <a:gd name="connsiteX531" fmla="*/ 1650 w 10000"/>
                <a:gd name="connsiteY531" fmla="*/ 1871 h 10126"/>
                <a:gd name="connsiteX532" fmla="*/ 1694 w 10000"/>
                <a:gd name="connsiteY532" fmla="*/ 1835 h 10126"/>
                <a:gd name="connsiteX533" fmla="*/ 1738 w 10000"/>
                <a:gd name="connsiteY533" fmla="*/ 1806 h 10126"/>
                <a:gd name="connsiteX534" fmla="*/ 1788 w 10000"/>
                <a:gd name="connsiteY534" fmla="*/ 1776 h 10126"/>
                <a:gd name="connsiteX535" fmla="*/ 1750 w 10000"/>
                <a:gd name="connsiteY535" fmla="*/ 1703 h 10126"/>
                <a:gd name="connsiteX536" fmla="*/ 1719 w 10000"/>
                <a:gd name="connsiteY536" fmla="*/ 1637 h 10126"/>
                <a:gd name="connsiteX537" fmla="*/ 1713 w 10000"/>
                <a:gd name="connsiteY537" fmla="*/ 1607 h 10126"/>
                <a:gd name="connsiteX538" fmla="*/ 1706 w 10000"/>
                <a:gd name="connsiteY538" fmla="*/ 1577 h 10126"/>
                <a:gd name="connsiteX539" fmla="*/ 1706 w 10000"/>
                <a:gd name="connsiteY539" fmla="*/ 1541 h 10126"/>
                <a:gd name="connsiteX540" fmla="*/ 1706 w 10000"/>
                <a:gd name="connsiteY540" fmla="*/ 1511 h 10126"/>
                <a:gd name="connsiteX541" fmla="*/ 1713 w 10000"/>
                <a:gd name="connsiteY541" fmla="*/ 1480 h 10126"/>
                <a:gd name="connsiteX542" fmla="*/ 1719 w 10000"/>
                <a:gd name="connsiteY542" fmla="*/ 1450 h 10126"/>
                <a:gd name="connsiteX543" fmla="*/ 1731 w 10000"/>
                <a:gd name="connsiteY543" fmla="*/ 1426 h 10126"/>
                <a:gd name="connsiteX544" fmla="*/ 1757 w 10000"/>
                <a:gd name="connsiteY544" fmla="*/ 1402 h 10126"/>
                <a:gd name="connsiteX545" fmla="*/ 1775 w 10000"/>
                <a:gd name="connsiteY545" fmla="*/ 1384 h 10126"/>
                <a:gd name="connsiteX546" fmla="*/ 1801 w 10000"/>
                <a:gd name="connsiteY546" fmla="*/ 1366 h 10126"/>
                <a:gd name="connsiteX547" fmla="*/ 1838 w 10000"/>
                <a:gd name="connsiteY547" fmla="*/ 1348 h 10126"/>
                <a:gd name="connsiteX548" fmla="*/ 1870 w 10000"/>
                <a:gd name="connsiteY548" fmla="*/ 1330 h 10126"/>
                <a:gd name="connsiteX549" fmla="*/ 1788 w 10000"/>
                <a:gd name="connsiteY549" fmla="*/ 1240 h 10126"/>
                <a:gd name="connsiteX550" fmla="*/ 1688 w 10000"/>
                <a:gd name="connsiteY550" fmla="*/ 1168 h 10126"/>
                <a:gd name="connsiteX551" fmla="*/ 1550 w 10000"/>
                <a:gd name="connsiteY551" fmla="*/ 1046 h 10126"/>
                <a:gd name="connsiteX552" fmla="*/ 1487 w 10000"/>
                <a:gd name="connsiteY552" fmla="*/ 986 h 10126"/>
                <a:gd name="connsiteX553" fmla="*/ 1383 w 10000"/>
                <a:gd name="connsiteY553" fmla="*/ 868 h 10126"/>
                <a:gd name="connsiteX554" fmla="*/ 1426 w 10000"/>
                <a:gd name="connsiteY554" fmla="*/ 764 h 10126"/>
                <a:gd name="connsiteX555" fmla="*/ 1603 w 10000"/>
                <a:gd name="connsiteY555" fmla="*/ 650 h 10126"/>
                <a:gd name="connsiteX556" fmla="*/ 1708 w 10000"/>
                <a:gd name="connsiteY556" fmla="*/ 605 h 10126"/>
                <a:gd name="connsiteX557" fmla="*/ 1673 w 10000"/>
                <a:gd name="connsiteY557" fmla="*/ 540 h 10126"/>
                <a:gd name="connsiteX558" fmla="*/ 1606 w 10000"/>
                <a:gd name="connsiteY558" fmla="*/ 463 h 10126"/>
                <a:gd name="connsiteX559" fmla="*/ 1539 w 10000"/>
                <a:gd name="connsiteY559" fmla="*/ 431 h 10126"/>
                <a:gd name="connsiteX560" fmla="*/ 1539 w 10000"/>
                <a:gd name="connsiteY560" fmla="*/ 366 h 10126"/>
                <a:gd name="connsiteX561" fmla="*/ 1473 w 10000"/>
                <a:gd name="connsiteY561" fmla="*/ 296 h 10126"/>
                <a:gd name="connsiteX562" fmla="*/ 1341 w 10000"/>
                <a:gd name="connsiteY562" fmla="*/ 236 h 10126"/>
                <a:gd name="connsiteX563" fmla="*/ 1490 w 10000"/>
                <a:gd name="connsiteY563" fmla="*/ 123 h 10126"/>
                <a:gd name="connsiteX564" fmla="*/ 1654 w 10000"/>
                <a:gd name="connsiteY564" fmla="*/ 0 h 10126"/>
                <a:gd name="connsiteX565" fmla="*/ 1895 w 10000"/>
                <a:gd name="connsiteY565" fmla="*/ 61 h 10126"/>
                <a:gd name="connsiteX566" fmla="*/ 2151 w 10000"/>
                <a:gd name="connsiteY566" fmla="*/ 94 h 10126"/>
                <a:gd name="connsiteX567" fmla="*/ 2280 w 10000"/>
                <a:gd name="connsiteY567" fmla="*/ 123 h 10126"/>
                <a:gd name="connsiteX568" fmla="*/ 2517 w 10000"/>
                <a:gd name="connsiteY568"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203 w 10000"/>
                <a:gd name="connsiteY7" fmla="*/ 858 h 10126"/>
                <a:gd name="connsiteX8" fmla="*/ 3314 w 10000"/>
                <a:gd name="connsiteY8" fmla="*/ 940 h 10126"/>
                <a:gd name="connsiteX9" fmla="*/ 3412 w 10000"/>
                <a:gd name="connsiteY9" fmla="*/ 1046 h 10126"/>
                <a:gd name="connsiteX10" fmla="*/ 3356 w 10000"/>
                <a:gd name="connsiteY10" fmla="*/ 1113 h 10126"/>
                <a:gd name="connsiteX11" fmla="*/ 3389 w 10000"/>
                <a:gd name="connsiteY11" fmla="*/ 1215 h 10126"/>
                <a:gd name="connsiteX12" fmla="*/ 3348 w 10000"/>
                <a:gd name="connsiteY12" fmla="*/ 1238 h 10126"/>
                <a:gd name="connsiteX13" fmla="*/ 3043 w 10000"/>
                <a:gd name="connsiteY13" fmla="*/ 1366 h 10126"/>
                <a:gd name="connsiteX14" fmla="*/ 3074 w 10000"/>
                <a:gd name="connsiteY14" fmla="*/ 1444 h 10126"/>
                <a:gd name="connsiteX15" fmla="*/ 3118 w 10000"/>
                <a:gd name="connsiteY15" fmla="*/ 1511 h 10126"/>
                <a:gd name="connsiteX16" fmla="*/ 3168 w 10000"/>
                <a:gd name="connsiteY16" fmla="*/ 1571 h 10126"/>
                <a:gd name="connsiteX17" fmla="*/ 3225 w 10000"/>
                <a:gd name="connsiteY17" fmla="*/ 1613 h 10126"/>
                <a:gd name="connsiteX18" fmla="*/ 3281 w 10000"/>
                <a:gd name="connsiteY18" fmla="*/ 1655 h 10126"/>
                <a:gd name="connsiteX19" fmla="*/ 3350 w 10000"/>
                <a:gd name="connsiteY19" fmla="*/ 1685 h 10126"/>
                <a:gd name="connsiteX20" fmla="*/ 3413 w 10000"/>
                <a:gd name="connsiteY20" fmla="*/ 1715 h 10126"/>
                <a:gd name="connsiteX21" fmla="*/ 3488 w 10000"/>
                <a:gd name="connsiteY21" fmla="*/ 1740 h 10126"/>
                <a:gd name="connsiteX22" fmla="*/ 3626 w 10000"/>
                <a:gd name="connsiteY22" fmla="*/ 1794 h 10126"/>
                <a:gd name="connsiteX23" fmla="*/ 3764 w 10000"/>
                <a:gd name="connsiteY23" fmla="*/ 1847 h 10126"/>
                <a:gd name="connsiteX24" fmla="*/ 3827 w 10000"/>
                <a:gd name="connsiteY24" fmla="*/ 1884 h 10126"/>
                <a:gd name="connsiteX25" fmla="*/ 3890 w 10000"/>
                <a:gd name="connsiteY25" fmla="*/ 1932 h 10126"/>
                <a:gd name="connsiteX26" fmla="*/ 3946 w 10000"/>
                <a:gd name="connsiteY26" fmla="*/ 1981 h 10126"/>
                <a:gd name="connsiteX27" fmla="*/ 4003 w 10000"/>
                <a:gd name="connsiteY27" fmla="*/ 2035 h 10126"/>
                <a:gd name="connsiteX28" fmla="*/ 3959 w 10000"/>
                <a:gd name="connsiteY28" fmla="*/ 2596 h 10126"/>
                <a:gd name="connsiteX29" fmla="*/ 4034 w 10000"/>
                <a:gd name="connsiteY29" fmla="*/ 2650 h 10126"/>
                <a:gd name="connsiteX30" fmla="*/ 4141 w 10000"/>
                <a:gd name="connsiteY30" fmla="*/ 2716 h 10126"/>
                <a:gd name="connsiteX31" fmla="*/ 4260 w 10000"/>
                <a:gd name="connsiteY31" fmla="*/ 2776 h 10126"/>
                <a:gd name="connsiteX32" fmla="*/ 4398 w 10000"/>
                <a:gd name="connsiteY32" fmla="*/ 2831 h 10126"/>
                <a:gd name="connsiteX33" fmla="*/ 4536 w 10000"/>
                <a:gd name="connsiteY33" fmla="*/ 2884 h 10126"/>
                <a:gd name="connsiteX34" fmla="*/ 4668 w 10000"/>
                <a:gd name="connsiteY34" fmla="*/ 2926 h 10126"/>
                <a:gd name="connsiteX35" fmla="*/ 4724 w 10000"/>
                <a:gd name="connsiteY35" fmla="*/ 2944 h 10126"/>
                <a:gd name="connsiteX36" fmla="*/ 4780 w 10000"/>
                <a:gd name="connsiteY36" fmla="*/ 2956 h 10126"/>
                <a:gd name="connsiteX37" fmla="*/ 4831 w 10000"/>
                <a:gd name="connsiteY37" fmla="*/ 2962 h 10126"/>
                <a:gd name="connsiteX38" fmla="*/ 4875 w 10000"/>
                <a:gd name="connsiteY38" fmla="*/ 2962 h 10126"/>
                <a:gd name="connsiteX39" fmla="*/ 4887 w 10000"/>
                <a:gd name="connsiteY39" fmla="*/ 3005 h 10126"/>
                <a:gd name="connsiteX40" fmla="*/ 4918 w 10000"/>
                <a:gd name="connsiteY40" fmla="*/ 3041 h 10126"/>
                <a:gd name="connsiteX41" fmla="*/ 4950 w 10000"/>
                <a:gd name="connsiteY41" fmla="*/ 3059 h 10126"/>
                <a:gd name="connsiteX42" fmla="*/ 4987 w 10000"/>
                <a:gd name="connsiteY42" fmla="*/ 3071 h 10126"/>
                <a:gd name="connsiteX43" fmla="*/ 5019 w 10000"/>
                <a:gd name="connsiteY43" fmla="*/ 3083 h 10126"/>
                <a:gd name="connsiteX44" fmla="*/ 5063 w 10000"/>
                <a:gd name="connsiteY44" fmla="*/ 3083 h 10126"/>
                <a:gd name="connsiteX45" fmla="*/ 5107 w 10000"/>
                <a:gd name="connsiteY45" fmla="*/ 3077 h 10126"/>
                <a:gd name="connsiteX46" fmla="*/ 5157 w 10000"/>
                <a:gd name="connsiteY46" fmla="*/ 3071 h 10126"/>
                <a:gd name="connsiteX47" fmla="*/ 5245 w 10000"/>
                <a:gd name="connsiteY47" fmla="*/ 3053 h 10126"/>
                <a:gd name="connsiteX48" fmla="*/ 5345 w 10000"/>
                <a:gd name="connsiteY48" fmla="*/ 3029 h 10126"/>
                <a:gd name="connsiteX49" fmla="*/ 5383 w 10000"/>
                <a:gd name="connsiteY49" fmla="*/ 3029 h 10126"/>
                <a:gd name="connsiteX50" fmla="*/ 5427 w 10000"/>
                <a:gd name="connsiteY50" fmla="*/ 3023 h 10126"/>
                <a:gd name="connsiteX51" fmla="*/ 5464 w 10000"/>
                <a:gd name="connsiteY51" fmla="*/ 3029 h 10126"/>
                <a:gd name="connsiteX52" fmla="*/ 5502 w 10000"/>
                <a:gd name="connsiteY52" fmla="*/ 3035 h 10126"/>
                <a:gd name="connsiteX53" fmla="*/ 5558 w 10000"/>
                <a:gd name="connsiteY53" fmla="*/ 3071 h 10126"/>
                <a:gd name="connsiteX54" fmla="*/ 5596 w 10000"/>
                <a:gd name="connsiteY54" fmla="*/ 3101 h 10126"/>
                <a:gd name="connsiteX55" fmla="*/ 5634 w 10000"/>
                <a:gd name="connsiteY55" fmla="*/ 3143 h 10126"/>
                <a:gd name="connsiteX56" fmla="*/ 5665 w 10000"/>
                <a:gd name="connsiteY56" fmla="*/ 3179 h 10126"/>
                <a:gd name="connsiteX57" fmla="*/ 5696 w 10000"/>
                <a:gd name="connsiteY57" fmla="*/ 3216 h 10126"/>
                <a:gd name="connsiteX58" fmla="*/ 5734 w 10000"/>
                <a:gd name="connsiteY58" fmla="*/ 3252 h 10126"/>
                <a:gd name="connsiteX59" fmla="*/ 5759 w 10000"/>
                <a:gd name="connsiteY59" fmla="*/ 3270 h 10126"/>
                <a:gd name="connsiteX60" fmla="*/ 5778 w 10000"/>
                <a:gd name="connsiteY60" fmla="*/ 3282 h 10126"/>
                <a:gd name="connsiteX61" fmla="*/ 5803 w 10000"/>
                <a:gd name="connsiteY61" fmla="*/ 3294 h 10126"/>
                <a:gd name="connsiteX62" fmla="*/ 5834 w 10000"/>
                <a:gd name="connsiteY62" fmla="*/ 3300 h 10126"/>
                <a:gd name="connsiteX63" fmla="*/ 5935 w 10000"/>
                <a:gd name="connsiteY63" fmla="*/ 3319 h 10126"/>
                <a:gd name="connsiteX64" fmla="*/ 6073 w 10000"/>
                <a:gd name="connsiteY64" fmla="*/ 3354 h 10126"/>
                <a:gd name="connsiteX65" fmla="*/ 6230 w 10000"/>
                <a:gd name="connsiteY65" fmla="*/ 3390 h 10126"/>
                <a:gd name="connsiteX66" fmla="*/ 6405 w 10000"/>
                <a:gd name="connsiteY66" fmla="*/ 3433 h 10126"/>
                <a:gd name="connsiteX67" fmla="*/ 6568 w 10000"/>
                <a:gd name="connsiteY67" fmla="*/ 3463 h 10126"/>
                <a:gd name="connsiteX68" fmla="*/ 6719 w 10000"/>
                <a:gd name="connsiteY68" fmla="*/ 3487 h 10126"/>
                <a:gd name="connsiteX69" fmla="*/ 6788 w 10000"/>
                <a:gd name="connsiteY69" fmla="*/ 3493 h 10126"/>
                <a:gd name="connsiteX70" fmla="*/ 6838 w 10000"/>
                <a:gd name="connsiteY70" fmla="*/ 3499 h 10126"/>
                <a:gd name="connsiteX71" fmla="*/ 6888 w 10000"/>
                <a:gd name="connsiteY71" fmla="*/ 3493 h 10126"/>
                <a:gd name="connsiteX72" fmla="*/ 6913 w 10000"/>
                <a:gd name="connsiteY72" fmla="*/ 3481 h 10126"/>
                <a:gd name="connsiteX73" fmla="*/ 6888 w 10000"/>
                <a:gd name="connsiteY73" fmla="*/ 3439 h 10126"/>
                <a:gd name="connsiteX74" fmla="*/ 6857 w 10000"/>
                <a:gd name="connsiteY74" fmla="*/ 3390 h 10126"/>
                <a:gd name="connsiteX75" fmla="*/ 6838 w 10000"/>
                <a:gd name="connsiteY75" fmla="*/ 3342 h 10126"/>
                <a:gd name="connsiteX76" fmla="*/ 6826 w 10000"/>
                <a:gd name="connsiteY76" fmla="*/ 3288 h 10126"/>
                <a:gd name="connsiteX77" fmla="*/ 6794 w 10000"/>
                <a:gd name="connsiteY77" fmla="*/ 3197 h 10126"/>
                <a:gd name="connsiteX78" fmla="*/ 6788 w 10000"/>
                <a:gd name="connsiteY78" fmla="*/ 3149 h 10126"/>
                <a:gd name="connsiteX79" fmla="*/ 6788 w 10000"/>
                <a:gd name="connsiteY79" fmla="*/ 2962 h 10126"/>
                <a:gd name="connsiteX80" fmla="*/ 6788 w 10000"/>
                <a:gd name="connsiteY80" fmla="*/ 2776 h 10126"/>
                <a:gd name="connsiteX81" fmla="*/ 6995 w 10000"/>
                <a:gd name="connsiteY81" fmla="*/ 2776 h 10126"/>
                <a:gd name="connsiteX82" fmla="*/ 7033 w 10000"/>
                <a:gd name="connsiteY82" fmla="*/ 2842 h 10126"/>
                <a:gd name="connsiteX83" fmla="*/ 7058 w 10000"/>
                <a:gd name="connsiteY83" fmla="*/ 2884 h 10126"/>
                <a:gd name="connsiteX84" fmla="*/ 7095 w 10000"/>
                <a:gd name="connsiteY84" fmla="*/ 2920 h 10126"/>
                <a:gd name="connsiteX85" fmla="*/ 7127 w 10000"/>
                <a:gd name="connsiteY85" fmla="*/ 2962 h 10126"/>
                <a:gd name="connsiteX86" fmla="*/ 7120 w 10000"/>
                <a:gd name="connsiteY86" fmla="*/ 3059 h 10126"/>
                <a:gd name="connsiteX87" fmla="*/ 7102 w 10000"/>
                <a:gd name="connsiteY87" fmla="*/ 3119 h 10126"/>
                <a:gd name="connsiteX88" fmla="*/ 7089 w 10000"/>
                <a:gd name="connsiteY88" fmla="*/ 3167 h 10126"/>
                <a:gd name="connsiteX89" fmla="*/ 7077 w 10000"/>
                <a:gd name="connsiteY89" fmla="*/ 3222 h 10126"/>
                <a:gd name="connsiteX90" fmla="*/ 7208 w 10000"/>
                <a:gd name="connsiteY90" fmla="*/ 3258 h 10126"/>
                <a:gd name="connsiteX91" fmla="*/ 7334 w 10000"/>
                <a:gd name="connsiteY91" fmla="*/ 3294 h 10126"/>
                <a:gd name="connsiteX92" fmla="*/ 7396 w 10000"/>
                <a:gd name="connsiteY92" fmla="*/ 3313 h 10126"/>
                <a:gd name="connsiteX93" fmla="*/ 7459 w 10000"/>
                <a:gd name="connsiteY93" fmla="*/ 3325 h 10126"/>
                <a:gd name="connsiteX94" fmla="*/ 7522 w 10000"/>
                <a:gd name="connsiteY94" fmla="*/ 3331 h 10126"/>
                <a:gd name="connsiteX95" fmla="*/ 7585 w 10000"/>
                <a:gd name="connsiteY95" fmla="*/ 3336 h 10126"/>
                <a:gd name="connsiteX96" fmla="*/ 7591 w 10000"/>
                <a:gd name="connsiteY96" fmla="*/ 3360 h 10126"/>
                <a:gd name="connsiteX97" fmla="*/ 7604 w 10000"/>
                <a:gd name="connsiteY97" fmla="*/ 3384 h 10126"/>
                <a:gd name="connsiteX98" fmla="*/ 7622 w 10000"/>
                <a:gd name="connsiteY98" fmla="*/ 3402 h 10126"/>
                <a:gd name="connsiteX99" fmla="*/ 7654 w 10000"/>
                <a:gd name="connsiteY99" fmla="*/ 3420 h 10126"/>
                <a:gd name="connsiteX100" fmla="*/ 7704 w 10000"/>
                <a:gd name="connsiteY100" fmla="*/ 3439 h 10126"/>
                <a:gd name="connsiteX101" fmla="*/ 7748 w 10000"/>
                <a:gd name="connsiteY101" fmla="*/ 3445 h 10126"/>
                <a:gd name="connsiteX102" fmla="*/ 7798 w 10000"/>
                <a:gd name="connsiteY102" fmla="*/ 3445 h 10126"/>
                <a:gd name="connsiteX103" fmla="*/ 7836 w 10000"/>
                <a:gd name="connsiteY103" fmla="*/ 3433 h 10126"/>
                <a:gd name="connsiteX104" fmla="*/ 7880 w 10000"/>
                <a:gd name="connsiteY104" fmla="*/ 3414 h 10126"/>
                <a:gd name="connsiteX105" fmla="*/ 7911 w 10000"/>
                <a:gd name="connsiteY105" fmla="*/ 3396 h 10126"/>
                <a:gd name="connsiteX106" fmla="*/ 7949 w 10000"/>
                <a:gd name="connsiteY106" fmla="*/ 3372 h 10126"/>
                <a:gd name="connsiteX107" fmla="*/ 7980 w 10000"/>
                <a:gd name="connsiteY107" fmla="*/ 3342 h 10126"/>
                <a:gd name="connsiteX108" fmla="*/ 8011 w 10000"/>
                <a:gd name="connsiteY108" fmla="*/ 3313 h 10126"/>
                <a:gd name="connsiteX109" fmla="*/ 8036 w 10000"/>
                <a:gd name="connsiteY109" fmla="*/ 3282 h 10126"/>
                <a:gd name="connsiteX110" fmla="*/ 8087 w 10000"/>
                <a:gd name="connsiteY110" fmla="*/ 3203 h 10126"/>
                <a:gd name="connsiteX111" fmla="*/ 8118 w 10000"/>
                <a:gd name="connsiteY111" fmla="*/ 3131 h 10126"/>
                <a:gd name="connsiteX112" fmla="*/ 8149 w 10000"/>
                <a:gd name="connsiteY112" fmla="*/ 3065 h 10126"/>
                <a:gd name="connsiteX113" fmla="*/ 8168 w 10000"/>
                <a:gd name="connsiteY113" fmla="*/ 2999 h 10126"/>
                <a:gd name="connsiteX114" fmla="*/ 8231 w 10000"/>
                <a:gd name="connsiteY114" fmla="*/ 2932 h 10126"/>
                <a:gd name="connsiteX115" fmla="*/ 8294 w 10000"/>
                <a:gd name="connsiteY115" fmla="*/ 2866 h 10126"/>
                <a:gd name="connsiteX116" fmla="*/ 8363 w 10000"/>
                <a:gd name="connsiteY116" fmla="*/ 2813 h 10126"/>
                <a:gd name="connsiteX117" fmla="*/ 8432 w 10000"/>
                <a:gd name="connsiteY117" fmla="*/ 2752 h 10126"/>
                <a:gd name="connsiteX118" fmla="*/ 8507 w 10000"/>
                <a:gd name="connsiteY118" fmla="*/ 2704 h 10126"/>
                <a:gd name="connsiteX119" fmla="*/ 8576 w 10000"/>
                <a:gd name="connsiteY119" fmla="*/ 2656 h 10126"/>
                <a:gd name="connsiteX120" fmla="*/ 8651 w 10000"/>
                <a:gd name="connsiteY120" fmla="*/ 2614 h 10126"/>
                <a:gd name="connsiteX121" fmla="*/ 8726 w 10000"/>
                <a:gd name="connsiteY121" fmla="*/ 2570 h 10126"/>
                <a:gd name="connsiteX122" fmla="*/ 8808 w 10000"/>
                <a:gd name="connsiteY122" fmla="*/ 2528 h 10126"/>
                <a:gd name="connsiteX123" fmla="*/ 8890 w 10000"/>
                <a:gd name="connsiteY123" fmla="*/ 2492 h 10126"/>
                <a:gd name="connsiteX124" fmla="*/ 8971 w 10000"/>
                <a:gd name="connsiteY124" fmla="*/ 2462 h 10126"/>
                <a:gd name="connsiteX125" fmla="*/ 9059 w 10000"/>
                <a:gd name="connsiteY125" fmla="*/ 2432 h 10126"/>
                <a:gd name="connsiteX126" fmla="*/ 9235 w 10000"/>
                <a:gd name="connsiteY126" fmla="*/ 2378 h 10126"/>
                <a:gd name="connsiteX127" fmla="*/ 9417 w 10000"/>
                <a:gd name="connsiteY127" fmla="*/ 2335 h 10126"/>
                <a:gd name="connsiteX128" fmla="*/ 9454 w 10000"/>
                <a:gd name="connsiteY128" fmla="*/ 2384 h 10126"/>
                <a:gd name="connsiteX129" fmla="*/ 9504 w 10000"/>
                <a:gd name="connsiteY129" fmla="*/ 2444 h 10126"/>
                <a:gd name="connsiteX130" fmla="*/ 9573 w 10000"/>
                <a:gd name="connsiteY130" fmla="*/ 2510 h 10126"/>
                <a:gd name="connsiteX131" fmla="*/ 9642 w 10000"/>
                <a:gd name="connsiteY131" fmla="*/ 2583 h 10126"/>
                <a:gd name="connsiteX132" fmla="*/ 9718 w 10000"/>
                <a:gd name="connsiteY132" fmla="*/ 2644 h 10126"/>
                <a:gd name="connsiteX133" fmla="*/ 9799 w 10000"/>
                <a:gd name="connsiteY133" fmla="*/ 2692 h 10126"/>
                <a:gd name="connsiteX134" fmla="*/ 9837 w 10000"/>
                <a:gd name="connsiteY134" fmla="*/ 2716 h 10126"/>
                <a:gd name="connsiteX135" fmla="*/ 9875 w 10000"/>
                <a:gd name="connsiteY135" fmla="*/ 2728 h 10126"/>
                <a:gd name="connsiteX136" fmla="*/ 9918 w 10000"/>
                <a:gd name="connsiteY136" fmla="*/ 2740 h 10126"/>
                <a:gd name="connsiteX137" fmla="*/ 9956 w 10000"/>
                <a:gd name="connsiteY137" fmla="*/ 2740 h 10126"/>
                <a:gd name="connsiteX138" fmla="*/ 10000 w 10000"/>
                <a:gd name="connsiteY138" fmla="*/ 2668 h 10126"/>
                <a:gd name="connsiteX139" fmla="*/ 9975 w 10000"/>
                <a:gd name="connsiteY139" fmla="*/ 2795 h 10126"/>
                <a:gd name="connsiteX140" fmla="*/ 9944 w 10000"/>
                <a:gd name="connsiteY140" fmla="*/ 2938 h 10126"/>
                <a:gd name="connsiteX141" fmla="*/ 9931 w 10000"/>
                <a:gd name="connsiteY141" fmla="*/ 3005 h 10126"/>
                <a:gd name="connsiteX142" fmla="*/ 9906 w 10000"/>
                <a:gd name="connsiteY142" fmla="*/ 3065 h 10126"/>
                <a:gd name="connsiteX143" fmla="*/ 9887 w 10000"/>
                <a:gd name="connsiteY143" fmla="*/ 3089 h 10126"/>
                <a:gd name="connsiteX144" fmla="*/ 9875 w 10000"/>
                <a:gd name="connsiteY144" fmla="*/ 3113 h 10126"/>
                <a:gd name="connsiteX145" fmla="*/ 9856 w 10000"/>
                <a:gd name="connsiteY145" fmla="*/ 3131 h 10126"/>
                <a:gd name="connsiteX146" fmla="*/ 9837 w 10000"/>
                <a:gd name="connsiteY146" fmla="*/ 3149 h 10126"/>
                <a:gd name="connsiteX147" fmla="*/ 9749 w 10000"/>
                <a:gd name="connsiteY147" fmla="*/ 3167 h 10126"/>
                <a:gd name="connsiteX148" fmla="*/ 9605 w 10000"/>
                <a:gd name="connsiteY148" fmla="*/ 3216 h 10126"/>
                <a:gd name="connsiteX149" fmla="*/ 9536 w 10000"/>
                <a:gd name="connsiteY149" fmla="*/ 3258 h 10126"/>
                <a:gd name="connsiteX150" fmla="*/ 9479 w 10000"/>
                <a:gd name="connsiteY150" fmla="*/ 3294 h 10126"/>
                <a:gd name="connsiteX151" fmla="*/ 9448 w 10000"/>
                <a:gd name="connsiteY151" fmla="*/ 3313 h 10126"/>
                <a:gd name="connsiteX152" fmla="*/ 9435 w 10000"/>
                <a:gd name="connsiteY152" fmla="*/ 3331 h 10126"/>
                <a:gd name="connsiteX153" fmla="*/ 9423 w 10000"/>
                <a:gd name="connsiteY153" fmla="*/ 3354 h 10126"/>
                <a:gd name="connsiteX154" fmla="*/ 9417 w 10000"/>
                <a:gd name="connsiteY154" fmla="*/ 3372 h 10126"/>
                <a:gd name="connsiteX155" fmla="*/ 9423 w 10000"/>
                <a:gd name="connsiteY155" fmla="*/ 3583 h 10126"/>
                <a:gd name="connsiteX156" fmla="*/ 9417 w 10000"/>
                <a:gd name="connsiteY156" fmla="*/ 3824 h 10126"/>
                <a:gd name="connsiteX157" fmla="*/ 9398 w 10000"/>
                <a:gd name="connsiteY157" fmla="*/ 3884 h 10126"/>
                <a:gd name="connsiteX158" fmla="*/ 9391 w 10000"/>
                <a:gd name="connsiteY158" fmla="*/ 3950 h 10126"/>
                <a:gd name="connsiteX159" fmla="*/ 9379 w 10000"/>
                <a:gd name="connsiteY159" fmla="*/ 4004 h 10126"/>
                <a:gd name="connsiteX160" fmla="*/ 9366 w 10000"/>
                <a:gd name="connsiteY160" fmla="*/ 4059 h 10126"/>
                <a:gd name="connsiteX161" fmla="*/ 9348 w 10000"/>
                <a:gd name="connsiteY161" fmla="*/ 4108 h 10126"/>
                <a:gd name="connsiteX162" fmla="*/ 9316 w 10000"/>
                <a:gd name="connsiteY162" fmla="*/ 4156 h 10126"/>
                <a:gd name="connsiteX163" fmla="*/ 9285 w 10000"/>
                <a:gd name="connsiteY163" fmla="*/ 4192 h 10126"/>
                <a:gd name="connsiteX164" fmla="*/ 9247 w 10000"/>
                <a:gd name="connsiteY164" fmla="*/ 4222 h 10126"/>
                <a:gd name="connsiteX165" fmla="*/ 9228 w 10000"/>
                <a:gd name="connsiteY165" fmla="*/ 4240 h 10126"/>
                <a:gd name="connsiteX166" fmla="*/ 9184 w 10000"/>
                <a:gd name="connsiteY166" fmla="*/ 4246 h 10126"/>
                <a:gd name="connsiteX167" fmla="*/ 9141 w 10000"/>
                <a:gd name="connsiteY167" fmla="*/ 4252 h 10126"/>
                <a:gd name="connsiteX168" fmla="*/ 9090 w 10000"/>
                <a:gd name="connsiteY168" fmla="*/ 4258 h 10126"/>
                <a:gd name="connsiteX169" fmla="*/ 9040 w 10000"/>
                <a:gd name="connsiteY169" fmla="*/ 4264 h 10126"/>
                <a:gd name="connsiteX170" fmla="*/ 8996 w 10000"/>
                <a:gd name="connsiteY170" fmla="*/ 4283 h 10126"/>
                <a:gd name="connsiteX171" fmla="*/ 8977 w 10000"/>
                <a:gd name="connsiteY171" fmla="*/ 4289 h 10126"/>
                <a:gd name="connsiteX172" fmla="*/ 8965 w 10000"/>
                <a:gd name="connsiteY172" fmla="*/ 4307 h 10126"/>
                <a:gd name="connsiteX173" fmla="*/ 8959 w 10000"/>
                <a:gd name="connsiteY173" fmla="*/ 4319 h 10126"/>
                <a:gd name="connsiteX174" fmla="*/ 8959 w 10000"/>
                <a:gd name="connsiteY174" fmla="*/ 4337 h 10126"/>
                <a:gd name="connsiteX175" fmla="*/ 8952 w 10000"/>
                <a:gd name="connsiteY175" fmla="*/ 4408 h 10126"/>
                <a:gd name="connsiteX176" fmla="*/ 8952 w 10000"/>
                <a:gd name="connsiteY176" fmla="*/ 4493 h 10126"/>
                <a:gd name="connsiteX177" fmla="*/ 8940 w 10000"/>
                <a:gd name="connsiteY177" fmla="*/ 4583 h 10126"/>
                <a:gd name="connsiteX178" fmla="*/ 8927 w 10000"/>
                <a:gd name="connsiteY178" fmla="*/ 4667 h 10126"/>
                <a:gd name="connsiteX179" fmla="*/ 8908 w 10000"/>
                <a:gd name="connsiteY179" fmla="*/ 4753 h 10126"/>
                <a:gd name="connsiteX180" fmla="*/ 8890 w 10000"/>
                <a:gd name="connsiteY180" fmla="*/ 4831 h 10126"/>
                <a:gd name="connsiteX181" fmla="*/ 8864 w 10000"/>
                <a:gd name="connsiteY181" fmla="*/ 4902 h 10126"/>
                <a:gd name="connsiteX182" fmla="*/ 8833 w 10000"/>
                <a:gd name="connsiteY182" fmla="*/ 4969 h 10126"/>
                <a:gd name="connsiteX183" fmla="*/ 8538 w 10000"/>
                <a:gd name="connsiteY183" fmla="*/ 4480 h 10126"/>
                <a:gd name="connsiteX184" fmla="*/ 8526 w 10000"/>
                <a:gd name="connsiteY184" fmla="*/ 4505 h 10126"/>
                <a:gd name="connsiteX185" fmla="*/ 8494 w 10000"/>
                <a:gd name="connsiteY185" fmla="*/ 4559 h 10126"/>
                <a:gd name="connsiteX186" fmla="*/ 8463 w 10000"/>
                <a:gd name="connsiteY186" fmla="*/ 4589 h 10126"/>
                <a:gd name="connsiteX187" fmla="*/ 8438 w 10000"/>
                <a:gd name="connsiteY187" fmla="*/ 4613 h 10126"/>
                <a:gd name="connsiteX188" fmla="*/ 8407 w 10000"/>
                <a:gd name="connsiteY188" fmla="*/ 4631 h 10126"/>
                <a:gd name="connsiteX189" fmla="*/ 8375 w 10000"/>
                <a:gd name="connsiteY189" fmla="*/ 4637 h 10126"/>
                <a:gd name="connsiteX190" fmla="*/ 8338 w 10000"/>
                <a:gd name="connsiteY190" fmla="*/ 4631 h 10126"/>
                <a:gd name="connsiteX191" fmla="*/ 8312 w 10000"/>
                <a:gd name="connsiteY191" fmla="*/ 4625 h 10126"/>
                <a:gd name="connsiteX192" fmla="*/ 8287 w 10000"/>
                <a:gd name="connsiteY192" fmla="*/ 4607 h 10126"/>
                <a:gd name="connsiteX193" fmla="*/ 8256 w 10000"/>
                <a:gd name="connsiteY193" fmla="*/ 4589 h 10126"/>
                <a:gd name="connsiteX194" fmla="*/ 8237 w 10000"/>
                <a:gd name="connsiteY194" fmla="*/ 4559 h 10126"/>
                <a:gd name="connsiteX195" fmla="*/ 8225 w 10000"/>
                <a:gd name="connsiteY195" fmla="*/ 4535 h 10126"/>
                <a:gd name="connsiteX196" fmla="*/ 8206 w 10000"/>
                <a:gd name="connsiteY196" fmla="*/ 4511 h 10126"/>
                <a:gd name="connsiteX197" fmla="*/ 8206 w 10000"/>
                <a:gd name="connsiteY197" fmla="*/ 4480 h 10126"/>
                <a:gd name="connsiteX198" fmla="*/ 8206 w 10000"/>
                <a:gd name="connsiteY198" fmla="*/ 4444 h 10126"/>
                <a:gd name="connsiteX199" fmla="*/ 8225 w 10000"/>
                <a:gd name="connsiteY199" fmla="*/ 4408 h 10126"/>
                <a:gd name="connsiteX200" fmla="*/ 8237 w 10000"/>
                <a:gd name="connsiteY200" fmla="*/ 4372 h 10126"/>
                <a:gd name="connsiteX201" fmla="*/ 8250 w 10000"/>
                <a:gd name="connsiteY201" fmla="*/ 4337 h 10126"/>
                <a:gd name="connsiteX202" fmla="*/ 8300 w 10000"/>
                <a:gd name="connsiteY202" fmla="*/ 4270 h 10126"/>
                <a:gd name="connsiteX203" fmla="*/ 8356 w 10000"/>
                <a:gd name="connsiteY203" fmla="*/ 4204 h 10126"/>
                <a:gd name="connsiteX204" fmla="*/ 8407 w 10000"/>
                <a:gd name="connsiteY204" fmla="*/ 4144 h 10126"/>
                <a:gd name="connsiteX205" fmla="*/ 8457 w 10000"/>
                <a:gd name="connsiteY205" fmla="*/ 4078 h 10126"/>
                <a:gd name="connsiteX206" fmla="*/ 8469 w 10000"/>
                <a:gd name="connsiteY206" fmla="*/ 4041 h 10126"/>
                <a:gd name="connsiteX207" fmla="*/ 8482 w 10000"/>
                <a:gd name="connsiteY207" fmla="*/ 4010 h 10126"/>
                <a:gd name="connsiteX208" fmla="*/ 8501 w 10000"/>
                <a:gd name="connsiteY208" fmla="*/ 3968 h 10126"/>
                <a:gd name="connsiteX209" fmla="*/ 8501 w 10000"/>
                <a:gd name="connsiteY209" fmla="*/ 3932 h 10126"/>
                <a:gd name="connsiteX210" fmla="*/ 7748 w 10000"/>
                <a:gd name="connsiteY210" fmla="*/ 3932 h 10126"/>
                <a:gd name="connsiteX211" fmla="*/ 7723 w 10000"/>
                <a:gd name="connsiteY211" fmla="*/ 3926 h 10126"/>
                <a:gd name="connsiteX212" fmla="*/ 7685 w 10000"/>
                <a:gd name="connsiteY212" fmla="*/ 3908 h 10126"/>
                <a:gd name="connsiteX213" fmla="*/ 7660 w 10000"/>
                <a:gd name="connsiteY213" fmla="*/ 3872 h 10126"/>
                <a:gd name="connsiteX214" fmla="*/ 7635 w 10000"/>
                <a:gd name="connsiteY214" fmla="*/ 3836 h 10126"/>
                <a:gd name="connsiteX215" fmla="*/ 7616 w 10000"/>
                <a:gd name="connsiteY215" fmla="*/ 3788 h 10126"/>
                <a:gd name="connsiteX216" fmla="*/ 7597 w 10000"/>
                <a:gd name="connsiteY216" fmla="*/ 3740 h 10126"/>
                <a:gd name="connsiteX217" fmla="*/ 7591 w 10000"/>
                <a:gd name="connsiteY217" fmla="*/ 3686 h 10126"/>
                <a:gd name="connsiteX218" fmla="*/ 7585 w 10000"/>
                <a:gd name="connsiteY218" fmla="*/ 3631 h 10126"/>
                <a:gd name="connsiteX219" fmla="*/ 7547 w 10000"/>
                <a:gd name="connsiteY219" fmla="*/ 3631 h 10126"/>
                <a:gd name="connsiteX220" fmla="*/ 7516 w 10000"/>
                <a:gd name="connsiteY220" fmla="*/ 3625 h 10126"/>
                <a:gd name="connsiteX221" fmla="*/ 7478 w 10000"/>
                <a:gd name="connsiteY221" fmla="*/ 3619 h 10126"/>
                <a:gd name="connsiteX222" fmla="*/ 7447 w 10000"/>
                <a:gd name="connsiteY222" fmla="*/ 3607 h 10126"/>
                <a:gd name="connsiteX223" fmla="*/ 7415 w 10000"/>
                <a:gd name="connsiteY223" fmla="*/ 3589 h 10126"/>
                <a:gd name="connsiteX224" fmla="*/ 7396 w 10000"/>
                <a:gd name="connsiteY224" fmla="*/ 3571 h 10126"/>
                <a:gd name="connsiteX225" fmla="*/ 7384 w 10000"/>
                <a:gd name="connsiteY225" fmla="*/ 3541 h 10126"/>
                <a:gd name="connsiteX226" fmla="*/ 7378 w 10000"/>
                <a:gd name="connsiteY226" fmla="*/ 3517 h 10126"/>
                <a:gd name="connsiteX227" fmla="*/ 7321 w 10000"/>
                <a:gd name="connsiteY227" fmla="*/ 3517 h 10126"/>
                <a:gd name="connsiteX228" fmla="*/ 7271 w 10000"/>
                <a:gd name="connsiteY228" fmla="*/ 3517 h 10126"/>
                <a:gd name="connsiteX229" fmla="*/ 7221 w 10000"/>
                <a:gd name="connsiteY229" fmla="*/ 3517 h 10126"/>
                <a:gd name="connsiteX230" fmla="*/ 7171 w 10000"/>
                <a:gd name="connsiteY230" fmla="*/ 3517 h 10126"/>
                <a:gd name="connsiteX231" fmla="*/ 7127 w 10000"/>
                <a:gd name="connsiteY231" fmla="*/ 3523 h 10126"/>
                <a:gd name="connsiteX232" fmla="*/ 7095 w 10000"/>
                <a:gd name="connsiteY232" fmla="*/ 3529 h 10126"/>
                <a:gd name="connsiteX233" fmla="*/ 7051 w 10000"/>
                <a:gd name="connsiteY233" fmla="*/ 3547 h 10126"/>
                <a:gd name="connsiteX234" fmla="*/ 7008 w 10000"/>
                <a:gd name="connsiteY234" fmla="*/ 3571 h 10126"/>
                <a:gd name="connsiteX235" fmla="*/ 6976 w 10000"/>
                <a:gd name="connsiteY235" fmla="*/ 3601 h 10126"/>
                <a:gd name="connsiteX236" fmla="*/ 6939 w 10000"/>
                <a:gd name="connsiteY236" fmla="*/ 3631 h 10126"/>
                <a:gd name="connsiteX237" fmla="*/ 6920 w 10000"/>
                <a:gd name="connsiteY237" fmla="*/ 3668 h 10126"/>
                <a:gd name="connsiteX238" fmla="*/ 6913 w 10000"/>
                <a:gd name="connsiteY238" fmla="*/ 3704 h 10126"/>
                <a:gd name="connsiteX239" fmla="*/ 6926 w 10000"/>
                <a:gd name="connsiteY239" fmla="*/ 3728 h 10126"/>
                <a:gd name="connsiteX240" fmla="*/ 6964 w 10000"/>
                <a:gd name="connsiteY240" fmla="*/ 3758 h 10126"/>
                <a:gd name="connsiteX241" fmla="*/ 7008 w 10000"/>
                <a:gd name="connsiteY241" fmla="*/ 3794 h 10126"/>
                <a:gd name="connsiteX242" fmla="*/ 7070 w 10000"/>
                <a:gd name="connsiteY242" fmla="*/ 3830 h 10126"/>
                <a:gd name="connsiteX243" fmla="*/ 7133 w 10000"/>
                <a:gd name="connsiteY243" fmla="*/ 3866 h 10126"/>
                <a:gd name="connsiteX244" fmla="*/ 7196 w 10000"/>
                <a:gd name="connsiteY244" fmla="*/ 3896 h 10126"/>
                <a:gd name="connsiteX245" fmla="*/ 7252 w 10000"/>
                <a:gd name="connsiteY245" fmla="*/ 3920 h 10126"/>
                <a:gd name="connsiteX246" fmla="*/ 7290 w 10000"/>
                <a:gd name="connsiteY246" fmla="*/ 3932 h 10126"/>
                <a:gd name="connsiteX247" fmla="*/ 7208 w 10000"/>
                <a:gd name="connsiteY247" fmla="*/ 3992 h 10126"/>
                <a:gd name="connsiteX248" fmla="*/ 7114 w 10000"/>
                <a:gd name="connsiteY248" fmla="*/ 4066 h 10126"/>
                <a:gd name="connsiteX249" fmla="*/ 7070 w 10000"/>
                <a:gd name="connsiteY249" fmla="*/ 4102 h 10126"/>
                <a:gd name="connsiteX250" fmla="*/ 7033 w 10000"/>
                <a:gd name="connsiteY250" fmla="*/ 4144 h 10126"/>
                <a:gd name="connsiteX251" fmla="*/ 7020 w 10000"/>
                <a:gd name="connsiteY251" fmla="*/ 4162 h 10126"/>
                <a:gd name="connsiteX252" fmla="*/ 7008 w 10000"/>
                <a:gd name="connsiteY252" fmla="*/ 4180 h 10126"/>
                <a:gd name="connsiteX253" fmla="*/ 7001 w 10000"/>
                <a:gd name="connsiteY253" fmla="*/ 4204 h 10126"/>
                <a:gd name="connsiteX254" fmla="*/ 6995 w 10000"/>
                <a:gd name="connsiteY254" fmla="*/ 4222 h 10126"/>
                <a:gd name="connsiteX255" fmla="*/ 7001 w 10000"/>
                <a:gd name="connsiteY255" fmla="*/ 4252 h 10126"/>
                <a:gd name="connsiteX256" fmla="*/ 7008 w 10000"/>
                <a:gd name="connsiteY256" fmla="*/ 4270 h 10126"/>
                <a:gd name="connsiteX257" fmla="*/ 7026 w 10000"/>
                <a:gd name="connsiteY257" fmla="*/ 4295 h 10126"/>
                <a:gd name="connsiteX258" fmla="*/ 7039 w 10000"/>
                <a:gd name="connsiteY258" fmla="*/ 4319 h 10126"/>
                <a:gd name="connsiteX259" fmla="*/ 7089 w 10000"/>
                <a:gd name="connsiteY259" fmla="*/ 4366 h 10126"/>
                <a:gd name="connsiteX260" fmla="*/ 7146 w 10000"/>
                <a:gd name="connsiteY260" fmla="*/ 4414 h 10126"/>
                <a:gd name="connsiteX261" fmla="*/ 7208 w 10000"/>
                <a:gd name="connsiteY261" fmla="*/ 4456 h 10126"/>
                <a:gd name="connsiteX262" fmla="*/ 7277 w 10000"/>
                <a:gd name="connsiteY262" fmla="*/ 4493 h 10126"/>
                <a:gd name="connsiteX263" fmla="*/ 7315 w 10000"/>
                <a:gd name="connsiteY263" fmla="*/ 4505 h 10126"/>
                <a:gd name="connsiteX264" fmla="*/ 7346 w 10000"/>
                <a:gd name="connsiteY264" fmla="*/ 4511 h 10126"/>
                <a:gd name="connsiteX265" fmla="*/ 7384 w 10000"/>
                <a:gd name="connsiteY265" fmla="*/ 4517 h 10126"/>
                <a:gd name="connsiteX266" fmla="*/ 7415 w 10000"/>
                <a:gd name="connsiteY266" fmla="*/ 4523 h 10126"/>
                <a:gd name="connsiteX267" fmla="*/ 7585 w 10000"/>
                <a:gd name="connsiteY267" fmla="*/ 5150 h 10126"/>
                <a:gd name="connsiteX268" fmla="*/ 7491 w 10000"/>
                <a:gd name="connsiteY268" fmla="*/ 5150 h 10126"/>
                <a:gd name="connsiteX269" fmla="*/ 7403 w 10000"/>
                <a:gd name="connsiteY269" fmla="*/ 5150 h 10126"/>
                <a:gd name="connsiteX270" fmla="*/ 7321 w 10000"/>
                <a:gd name="connsiteY270" fmla="*/ 5150 h 10126"/>
                <a:gd name="connsiteX271" fmla="*/ 7252 w 10000"/>
                <a:gd name="connsiteY271" fmla="*/ 5150 h 10126"/>
                <a:gd name="connsiteX272" fmla="*/ 7208 w 10000"/>
                <a:gd name="connsiteY272" fmla="*/ 5144 h 10126"/>
                <a:gd name="connsiteX273" fmla="*/ 7164 w 10000"/>
                <a:gd name="connsiteY273" fmla="*/ 5113 h 10126"/>
                <a:gd name="connsiteX274" fmla="*/ 7133 w 10000"/>
                <a:gd name="connsiteY274" fmla="*/ 5101 h 10126"/>
                <a:gd name="connsiteX275" fmla="*/ 7102 w 10000"/>
                <a:gd name="connsiteY275" fmla="*/ 5089 h 10126"/>
                <a:gd name="connsiteX276" fmla="*/ 7070 w 10000"/>
                <a:gd name="connsiteY276" fmla="*/ 5083 h 10126"/>
                <a:gd name="connsiteX277" fmla="*/ 7039 w 10000"/>
                <a:gd name="connsiteY277" fmla="*/ 5077 h 10126"/>
                <a:gd name="connsiteX278" fmla="*/ 7008 w 10000"/>
                <a:gd name="connsiteY278" fmla="*/ 5089 h 10126"/>
                <a:gd name="connsiteX279" fmla="*/ 6957 w 10000"/>
                <a:gd name="connsiteY279" fmla="*/ 5119 h 10126"/>
                <a:gd name="connsiteX280" fmla="*/ 6895 w 10000"/>
                <a:gd name="connsiteY280" fmla="*/ 5162 h 10126"/>
                <a:gd name="connsiteX281" fmla="*/ 6819 w 10000"/>
                <a:gd name="connsiteY281" fmla="*/ 5210 h 10126"/>
                <a:gd name="connsiteX282" fmla="*/ 6744 w 10000"/>
                <a:gd name="connsiteY282" fmla="*/ 5270 h 10126"/>
                <a:gd name="connsiteX283" fmla="*/ 6681 w 10000"/>
                <a:gd name="connsiteY283" fmla="*/ 5318 h 10126"/>
                <a:gd name="connsiteX284" fmla="*/ 6637 w 10000"/>
                <a:gd name="connsiteY284" fmla="*/ 5354 h 10126"/>
                <a:gd name="connsiteX285" fmla="*/ 6625 w 10000"/>
                <a:gd name="connsiteY285" fmla="*/ 5378 h 10126"/>
                <a:gd name="connsiteX286" fmla="*/ 6750 w 10000"/>
                <a:gd name="connsiteY286" fmla="*/ 5450 h 10126"/>
                <a:gd name="connsiteX287" fmla="*/ 6744 w 10000"/>
                <a:gd name="connsiteY287" fmla="*/ 5487 h 10126"/>
                <a:gd name="connsiteX288" fmla="*/ 6725 w 10000"/>
                <a:gd name="connsiteY288" fmla="*/ 5529 h 10126"/>
                <a:gd name="connsiteX289" fmla="*/ 6706 w 10000"/>
                <a:gd name="connsiteY289" fmla="*/ 5560 h 10126"/>
                <a:gd name="connsiteX290" fmla="*/ 6688 w 10000"/>
                <a:gd name="connsiteY290" fmla="*/ 5602 h 10126"/>
                <a:gd name="connsiteX291" fmla="*/ 6637 w 10000"/>
                <a:gd name="connsiteY291" fmla="*/ 5656 h 10126"/>
                <a:gd name="connsiteX292" fmla="*/ 6581 w 10000"/>
                <a:gd name="connsiteY292" fmla="*/ 5710 h 10126"/>
                <a:gd name="connsiteX293" fmla="*/ 6518 w 10000"/>
                <a:gd name="connsiteY293" fmla="*/ 5758 h 10126"/>
                <a:gd name="connsiteX294" fmla="*/ 6443 w 10000"/>
                <a:gd name="connsiteY294" fmla="*/ 5801 h 10126"/>
                <a:gd name="connsiteX295" fmla="*/ 6374 w 10000"/>
                <a:gd name="connsiteY295" fmla="*/ 5837 h 10126"/>
                <a:gd name="connsiteX296" fmla="*/ 6299 w 10000"/>
                <a:gd name="connsiteY296" fmla="*/ 5872 h 10126"/>
                <a:gd name="connsiteX297" fmla="*/ 6223 w 10000"/>
                <a:gd name="connsiteY297" fmla="*/ 5920 h 10126"/>
                <a:gd name="connsiteX298" fmla="*/ 6154 w 10000"/>
                <a:gd name="connsiteY298" fmla="*/ 5956 h 10126"/>
                <a:gd name="connsiteX299" fmla="*/ 6092 w 10000"/>
                <a:gd name="connsiteY299" fmla="*/ 5999 h 10126"/>
                <a:gd name="connsiteX300" fmla="*/ 6035 w 10000"/>
                <a:gd name="connsiteY300" fmla="*/ 6047 h 10126"/>
                <a:gd name="connsiteX301" fmla="*/ 6004 w 10000"/>
                <a:gd name="connsiteY301" fmla="*/ 6071 h 10126"/>
                <a:gd name="connsiteX302" fmla="*/ 5985 w 10000"/>
                <a:gd name="connsiteY302" fmla="*/ 6095 h 10126"/>
                <a:gd name="connsiteX303" fmla="*/ 5966 w 10000"/>
                <a:gd name="connsiteY303" fmla="*/ 6125 h 10126"/>
                <a:gd name="connsiteX304" fmla="*/ 5947 w 10000"/>
                <a:gd name="connsiteY304" fmla="*/ 6155 h 10126"/>
                <a:gd name="connsiteX305" fmla="*/ 5935 w 10000"/>
                <a:gd name="connsiteY305" fmla="*/ 6193 h 10126"/>
                <a:gd name="connsiteX306" fmla="*/ 5922 w 10000"/>
                <a:gd name="connsiteY306" fmla="*/ 6223 h 10126"/>
                <a:gd name="connsiteX307" fmla="*/ 5916 w 10000"/>
                <a:gd name="connsiteY307" fmla="*/ 6265 h 10126"/>
                <a:gd name="connsiteX308" fmla="*/ 5916 w 10000"/>
                <a:gd name="connsiteY308" fmla="*/ 6307 h 10126"/>
                <a:gd name="connsiteX309" fmla="*/ 5859 w 10000"/>
                <a:gd name="connsiteY309" fmla="*/ 6325 h 10126"/>
                <a:gd name="connsiteX310" fmla="*/ 5809 w 10000"/>
                <a:gd name="connsiteY310" fmla="*/ 6343 h 10126"/>
                <a:gd name="connsiteX311" fmla="*/ 5765 w 10000"/>
                <a:gd name="connsiteY311" fmla="*/ 6366 h 10126"/>
                <a:gd name="connsiteX312" fmla="*/ 5721 w 10000"/>
                <a:gd name="connsiteY312" fmla="*/ 6390 h 10126"/>
                <a:gd name="connsiteX313" fmla="*/ 5634 w 10000"/>
                <a:gd name="connsiteY313" fmla="*/ 6451 h 10126"/>
                <a:gd name="connsiteX314" fmla="*/ 5558 w 10000"/>
                <a:gd name="connsiteY314" fmla="*/ 6523 h 10126"/>
                <a:gd name="connsiteX315" fmla="*/ 5420 w 10000"/>
                <a:gd name="connsiteY315" fmla="*/ 6686 h 10126"/>
                <a:gd name="connsiteX316" fmla="*/ 5289 w 10000"/>
                <a:gd name="connsiteY316" fmla="*/ 6860 h 10126"/>
                <a:gd name="connsiteX317" fmla="*/ 5220 w 10000"/>
                <a:gd name="connsiteY317" fmla="*/ 6951 h 10126"/>
                <a:gd name="connsiteX318" fmla="*/ 5151 w 10000"/>
                <a:gd name="connsiteY318" fmla="*/ 7029 h 10126"/>
                <a:gd name="connsiteX319" fmla="*/ 5075 w 10000"/>
                <a:gd name="connsiteY319" fmla="*/ 7102 h 10126"/>
                <a:gd name="connsiteX320" fmla="*/ 4994 w 10000"/>
                <a:gd name="connsiteY320" fmla="*/ 7168 h 10126"/>
                <a:gd name="connsiteX321" fmla="*/ 4944 w 10000"/>
                <a:gd name="connsiteY321" fmla="*/ 7198 h 10126"/>
                <a:gd name="connsiteX322" fmla="*/ 4893 w 10000"/>
                <a:gd name="connsiteY322" fmla="*/ 7222 h 10126"/>
                <a:gd name="connsiteX323" fmla="*/ 4849 w 10000"/>
                <a:gd name="connsiteY323" fmla="*/ 7246 h 10126"/>
                <a:gd name="connsiteX324" fmla="*/ 4793 w 10000"/>
                <a:gd name="connsiteY324" fmla="*/ 7271 h 10126"/>
                <a:gd name="connsiteX325" fmla="*/ 4730 w 10000"/>
                <a:gd name="connsiteY325" fmla="*/ 7289 h 10126"/>
                <a:gd name="connsiteX326" fmla="*/ 4674 w 10000"/>
                <a:gd name="connsiteY326" fmla="*/ 7301 h 10126"/>
                <a:gd name="connsiteX327" fmla="*/ 4605 w 10000"/>
                <a:gd name="connsiteY327" fmla="*/ 7307 h 10126"/>
                <a:gd name="connsiteX328" fmla="*/ 4536 w 10000"/>
                <a:gd name="connsiteY328" fmla="*/ 7307 h 10126"/>
                <a:gd name="connsiteX329" fmla="*/ 4536 w 10000"/>
                <a:gd name="connsiteY329" fmla="*/ 7360 h 10126"/>
                <a:gd name="connsiteX330" fmla="*/ 4536 w 10000"/>
                <a:gd name="connsiteY330" fmla="*/ 7414 h 10126"/>
                <a:gd name="connsiteX331" fmla="*/ 4536 w 10000"/>
                <a:gd name="connsiteY331" fmla="*/ 7456 h 10126"/>
                <a:gd name="connsiteX332" fmla="*/ 4536 w 10000"/>
                <a:gd name="connsiteY332" fmla="*/ 7493 h 10126"/>
                <a:gd name="connsiteX333" fmla="*/ 4536 w 10000"/>
                <a:gd name="connsiteY333" fmla="*/ 7559 h 10126"/>
                <a:gd name="connsiteX334" fmla="*/ 4536 w 10000"/>
                <a:gd name="connsiteY334" fmla="*/ 7662 h 10126"/>
                <a:gd name="connsiteX335" fmla="*/ 4536 w 10000"/>
                <a:gd name="connsiteY335" fmla="*/ 7771 h 10126"/>
                <a:gd name="connsiteX336" fmla="*/ 4548 w 10000"/>
                <a:gd name="connsiteY336" fmla="*/ 7884 h 10126"/>
                <a:gd name="connsiteX337" fmla="*/ 4561 w 10000"/>
                <a:gd name="connsiteY337" fmla="*/ 7945 h 10126"/>
                <a:gd name="connsiteX338" fmla="*/ 4573 w 10000"/>
                <a:gd name="connsiteY338" fmla="*/ 7999 h 10126"/>
                <a:gd name="connsiteX339" fmla="*/ 4586 w 10000"/>
                <a:gd name="connsiteY339" fmla="*/ 8047 h 10126"/>
                <a:gd name="connsiteX340" fmla="*/ 4611 w 10000"/>
                <a:gd name="connsiteY340" fmla="*/ 8089 h 10126"/>
                <a:gd name="connsiteX341" fmla="*/ 4636 w 10000"/>
                <a:gd name="connsiteY341" fmla="*/ 8132 h 10126"/>
                <a:gd name="connsiteX342" fmla="*/ 4668 w 10000"/>
                <a:gd name="connsiteY342" fmla="*/ 8162 h 10126"/>
                <a:gd name="connsiteX343" fmla="*/ 4705 w 10000"/>
                <a:gd name="connsiteY343" fmla="*/ 8186 h 10126"/>
                <a:gd name="connsiteX344" fmla="*/ 4749 w 10000"/>
                <a:gd name="connsiteY344" fmla="*/ 8198 h 10126"/>
                <a:gd name="connsiteX345" fmla="*/ 4711 w 10000"/>
                <a:gd name="connsiteY345" fmla="*/ 8294 h 10126"/>
                <a:gd name="connsiteX346" fmla="*/ 4668 w 10000"/>
                <a:gd name="connsiteY346" fmla="*/ 8379 h 10126"/>
                <a:gd name="connsiteX347" fmla="*/ 4617 w 10000"/>
                <a:gd name="connsiteY347" fmla="*/ 8457 h 10126"/>
                <a:gd name="connsiteX348" fmla="*/ 4573 w 10000"/>
                <a:gd name="connsiteY348" fmla="*/ 8529 h 10126"/>
                <a:gd name="connsiteX349" fmla="*/ 4523 w 10000"/>
                <a:gd name="connsiteY349" fmla="*/ 8614 h 10126"/>
                <a:gd name="connsiteX350" fmla="*/ 4492 w 10000"/>
                <a:gd name="connsiteY350" fmla="*/ 8692 h 10126"/>
                <a:gd name="connsiteX351" fmla="*/ 4473 w 10000"/>
                <a:gd name="connsiteY351" fmla="*/ 8728 h 10126"/>
                <a:gd name="connsiteX352" fmla="*/ 4467 w 10000"/>
                <a:gd name="connsiteY352" fmla="*/ 8771 h 10126"/>
                <a:gd name="connsiteX353" fmla="*/ 4460 w 10000"/>
                <a:gd name="connsiteY353" fmla="*/ 8819 h 10126"/>
                <a:gd name="connsiteX354" fmla="*/ 4454 w 10000"/>
                <a:gd name="connsiteY354" fmla="*/ 8861 h 10126"/>
                <a:gd name="connsiteX355" fmla="*/ 4460 w 10000"/>
                <a:gd name="connsiteY355" fmla="*/ 8878 h 10126"/>
                <a:gd name="connsiteX356" fmla="*/ 4467 w 10000"/>
                <a:gd name="connsiteY356" fmla="*/ 8890 h 10126"/>
                <a:gd name="connsiteX357" fmla="*/ 4479 w 10000"/>
                <a:gd name="connsiteY357" fmla="*/ 8902 h 10126"/>
                <a:gd name="connsiteX358" fmla="*/ 4504 w 10000"/>
                <a:gd name="connsiteY358" fmla="*/ 8914 h 10126"/>
                <a:gd name="connsiteX359" fmla="*/ 4542 w 10000"/>
                <a:gd name="connsiteY359" fmla="*/ 8938 h 10126"/>
                <a:gd name="connsiteX360" fmla="*/ 4580 w 10000"/>
                <a:gd name="connsiteY360" fmla="*/ 8944 h 10126"/>
                <a:gd name="connsiteX361" fmla="*/ 4580 w 10000"/>
                <a:gd name="connsiteY361" fmla="*/ 9162 h 10126"/>
                <a:gd name="connsiteX362" fmla="*/ 4529 w 10000"/>
                <a:gd name="connsiteY362" fmla="*/ 9247 h 10126"/>
                <a:gd name="connsiteX363" fmla="*/ 4492 w 10000"/>
                <a:gd name="connsiteY363" fmla="*/ 9337 h 10126"/>
                <a:gd name="connsiteX364" fmla="*/ 4460 w 10000"/>
                <a:gd name="connsiteY364" fmla="*/ 9372 h 10126"/>
                <a:gd name="connsiteX365" fmla="*/ 4429 w 10000"/>
                <a:gd name="connsiteY365" fmla="*/ 9397 h 10126"/>
                <a:gd name="connsiteX366" fmla="*/ 4404 w 10000"/>
                <a:gd name="connsiteY366" fmla="*/ 9409 h 10126"/>
                <a:gd name="connsiteX367" fmla="*/ 4385 w 10000"/>
                <a:gd name="connsiteY367" fmla="*/ 9415 h 10126"/>
                <a:gd name="connsiteX368" fmla="*/ 4360 w 10000"/>
                <a:gd name="connsiteY368" fmla="*/ 9421 h 10126"/>
                <a:gd name="connsiteX369" fmla="*/ 4329 w 10000"/>
                <a:gd name="connsiteY369" fmla="*/ 9421 h 10126"/>
                <a:gd name="connsiteX370" fmla="*/ 4329 w 10000"/>
                <a:gd name="connsiteY370" fmla="*/ 9469 h 10126"/>
                <a:gd name="connsiteX371" fmla="*/ 4335 w 10000"/>
                <a:gd name="connsiteY371" fmla="*/ 9529 h 10126"/>
                <a:gd name="connsiteX372" fmla="*/ 4348 w 10000"/>
                <a:gd name="connsiteY372" fmla="*/ 9559 h 10126"/>
                <a:gd name="connsiteX373" fmla="*/ 4354 w 10000"/>
                <a:gd name="connsiteY373" fmla="*/ 9583 h 10126"/>
                <a:gd name="connsiteX374" fmla="*/ 4360 w 10000"/>
                <a:gd name="connsiteY374" fmla="*/ 9602 h 10126"/>
                <a:gd name="connsiteX375" fmla="*/ 4373 w 10000"/>
                <a:gd name="connsiteY375" fmla="*/ 9608 h 10126"/>
                <a:gd name="connsiteX376" fmla="*/ 4210 w 10000"/>
                <a:gd name="connsiteY376" fmla="*/ 9734 h 10126"/>
                <a:gd name="connsiteX377" fmla="*/ 4072 w 10000"/>
                <a:gd name="connsiteY377" fmla="*/ 9838 h 10126"/>
                <a:gd name="connsiteX378" fmla="*/ 4009 w 10000"/>
                <a:gd name="connsiteY378" fmla="*/ 9897 h 10126"/>
                <a:gd name="connsiteX379" fmla="*/ 3952 w 10000"/>
                <a:gd name="connsiteY379" fmla="*/ 9963 h 10126"/>
                <a:gd name="connsiteX380" fmla="*/ 3890 w 10000"/>
                <a:gd name="connsiteY380" fmla="*/ 10042 h 10126"/>
                <a:gd name="connsiteX381" fmla="*/ 3833 w 10000"/>
                <a:gd name="connsiteY381" fmla="*/ 10126 h 10126"/>
                <a:gd name="connsiteX382" fmla="*/ 3733 w 10000"/>
                <a:gd name="connsiteY382" fmla="*/ 10084 h 10126"/>
                <a:gd name="connsiteX383" fmla="*/ 3664 w 10000"/>
                <a:gd name="connsiteY383" fmla="*/ 10042 h 10126"/>
                <a:gd name="connsiteX384" fmla="*/ 3607 w 10000"/>
                <a:gd name="connsiteY384" fmla="*/ 9999 h 10126"/>
                <a:gd name="connsiteX385" fmla="*/ 3563 w 10000"/>
                <a:gd name="connsiteY385" fmla="*/ 9951 h 10126"/>
                <a:gd name="connsiteX386" fmla="*/ 3532 w 10000"/>
                <a:gd name="connsiteY386" fmla="*/ 9891 h 10126"/>
                <a:gd name="connsiteX387" fmla="*/ 3513 w 10000"/>
                <a:gd name="connsiteY387" fmla="*/ 9832 h 10126"/>
                <a:gd name="connsiteX388" fmla="*/ 3482 w 10000"/>
                <a:gd name="connsiteY388" fmla="*/ 9758 h 10126"/>
                <a:gd name="connsiteX389" fmla="*/ 3457 w 10000"/>
                <a:gd name="connsiteY389" fmla="*/ 9686 h 10126"/>
                <a:gd name="connsiteX390" fmla="*/ 3400 w 10000"/>
                <a:gd name="connsiteY390" fmla="*/ 9547 h 10126"/>
                <a:gd name="connsiteX391" fmla="*/ 3325 w 10000"/>
                <a:gd name="connsiteY391" fmla="*/ 9415 h 10126"/>
                <a:gd name="connsiteX392" fmla="*/ 3237 w 10000"/>
                <a:gd name="connsiteY392" fmla="*/ 9277 h 10126"/>
                <a:gd name="connsiteX393" fmla="*/ 3143 w 10000"/>
                <a:gd name="connsiteY393" fmla="*/ 9132 h 10126"/>
                <a:gd name="connsiteX394" fmla="*/ 3049 w 10000"/>
                <a:gd name="connsiteY394" fmla="*/ 8999 h 10126"/>
                <a:gd name="connsiteX395" fmla="*/ 2967 w 10000"/>
                <a:gd name="connsiteY395" fmla="*/ 8867 h 10126"/>
                <a:gd name="connsiteX396" fmla="*/ 2892 w 10000"/>
                <a:gd name="connsiteY396" fmla="*/ 8747 h 10126"/>
                <a:gd name="connsiteX397" fmla="*/ 2829 w 10000"/>
                <a:gd name="connsiteY397" fmla="*/ 8644 h 10126"/>
                <a:gd name="connsiteX398" fmla="*/ 2773 w 10000"/>
                <a:gd name="connsiteY398" fmla="*/ 8529 h 10126"/>
                <a:gd name="connsiteX399" fmla="*/ 2735 w 10000"/>
                <a:gd name="connsiteY399" fmla="*/ 8427 h 10126"/>
                <a:gd name="connsiteX400" fmla="*/ 2698 w 10000"/>
                <a:gd name="connsiteY400" fmla="*/ 8319 h 10126"/>
                <a:gd name="connsiteX401" fmla="*/ 2666 w 10000"/>
                <a:gd name="connsiteY401" fmla="*/ 8210 h 10126"/>
                <a:gd name="connsiteX402" fmla="*/ 2629 w 10000"/>
                <a:gd name="connsiteY402" fmla="*/ 8101 h 10126"/>
                <a:gd name="connsiteX403" fmla="*/ 2597 w 10000"/>
                <a:gd name="connsiteY403" fmla="*/ 7993 h 10126"/>
                <a:gd name="connsiteX404" fmla="*/ 2553 w 10000"/>
                <a:gd name="connsiteY404" fmla="*/ 7872 h 10126"/>
                <a:gd name="connsiteX405" fmla="*/ 2497 w 10000"/>
                <a:gd name="connsiteY405" fmla="*/ 7753 h 10126"/>
                <a:gd name="connsiteX406" fmla="*/ 2359 w 10000"/>
                <a:gd name="connsiteY406" fmla="*/ 7559 h 10126"/>
                <a:gd name="connsiteX407" fmla="*/ 2208 w 10000"/>
                <a:gd name="connsiteY407" fmla="*/ 7378 h 10126"/>
                <a:gd name="connsiteX408" fmla="*/ 2139 w 10000"/>
                <a:gd name="connsiteY408" fmla="*/ 7295 h 10126"/>
                <a:gd name="connsiteX409" fmla="*/ 2070 w 10000"/>
                <a:gd name="connsiteY409" fmla="*/ 7198 h 10126"/>
                <a:gd name="connsiteX410" fmla="*/ 2008 w 10000"/>
                <a:gd name="connsiteY410" fmla="*/ 7108 h 10126"/>
                <a:gd name="connsiteX411" fmla="*/ 1957 w 10000"/>
                <a:gd name="connsiteY411" fmla="*/ 7011 h 10126"/>
                <a:gd name="connsiteX412" fmla="*/ 1888 w 10000"/>
                <a:gd name="connsiteY412" fmla="*/ 6776 h 10126"/>
                <a:gd name="connsiteX413" fmla="*/ 1832 w 10000"/>
                <a:gd name="connsiteY413" fmla="*/ 6559 h 10126"/>
                <a:gd name="connsiteX414" fmla="*/ 1782 w 10000"/>
                <a:gd name="connsiteY414" fmla="*/ 6349 h 10126"/>
                <a:gd name="connsiteX415" fmla="*/ 1757 w 10000"/>
                <a:gd name="connsiteY415" fmla="*/ 6137 h 10126"/>
                <a:gd name="connsiteX416" fmla="*/ 1725 w 10000"/>
                <a:gd name="connsiteY416" fmla="*/ 5932 h 10126"/>
                <a:gd name="connsiteX417" fmla="*/ 1713 w 10000"/>
                <a:gd name="connsiteY417" fmla="*/ 5716 h 10126"/>
                <a:gd name="connsiteX418" fmla="*/ 1706 w 10000"/>
                <a:gd name="connsiteY418" fmla="*/ 5493 h 10126"/>
                <a:gd name="connsiteX419" fmla="*/ 1706 w 10000"/>
                <a:gd name="connsiteY419" fmla="*/ 5270 h 10126"/>
                <a:gd name="connsiteX420" fmla="*/ 1681 w 10000"/>
                <a:gd name="connsiteY420" fmla="*/ 5264 h 10126"/>
                <a:gd name="connsiteX421" fmla="*/ 1650 w 10000"/>
                <a:gd name="connsiteY421" fmla="*/ 5258 h 10126"/>
                <a:gd name="connsiteX422" fmla="*/ 1625 w 10000"/>
                <a:gd name="connsiteY422" fmla="*/ 5252 h 10126"/>
                <a:gd name="connsiteX423" fmla="*/ 1606 w 10000"/>
                <a:gd name="connsiteY423" fmla="*/ 5228 h 10126"/>
                <a:gd name="connsiteX424" fmla="*/ 1581 w 10000"/>
                <a:gd name="connsiteY424" fmla="*/ 5216 h 10126"/>
                <a:gd name="connsiteX425" fmla="*/ 1568 w 10000"/>
                <a:gd name="connsiteY425" fmla="*/ 5198 h 10126"/>
                <a:gd name="connsiteX426" fmla="*/ 1550 w 10000"/>
                <a:gd name="connsiteY426" fmla="*/ 5174 h 10126"/>
                <a:gd name="connsiteX427" fmla="*/ 1543 w 10000"/>
                <a:gd name="connsiteY427" fmla="*/ 5150 h 10126"/>
                <a:gd name="connsiteX428" fmla="*/ 1518 w 10000"/>
                <a:gd name="connsiteY428" fmla="*/ 5101 h 10126"/>
                <a:gd name="connsiteX429" fmla="*/ 1506 w 10000"/>
                <a:gd name="connsiteY429" fmla="*/ 5047 h 10126"/>
                <a:gd name="connsiteX430" fmla="*/ 1499 w 10000"/>
                <a:gd name="connsiteY430" fmla="*/ 4987 h 10126"/>
                <a:gd name="connsiteX431" fmla="*/ 1499 w 10000"/>
                <a:gd name="connsiteY431" fmla="*/ 4933 h 10126"/>
                <a:gd name="connsiteX432" fmla="*/ 1443 w 10000"/>
                <a:gd name="connsiteY432" fmla="*/ 4969 h 10126"/>
                <a:gd name="connsiteX433" fmla="*/ 1405 w 10000"/>
                <a:gd name="connsiteY433" fmla="*/ 5011 h 10126"/>
                <a:gd name="connsiteX434" fmla="*/ 1361 w 10000"/>
                <a:gd name="connsiteY434" fmla="*/ 5053 h 10126"/>
                <a:gd name="connsiteX435" fmla="*/ 1317 w 10000"/>
                <a:gd name="connsiteY435" fmla="*/ 5101 h 10126"/>
                <a:gd name="connsiteX436" fmla="*/ 1261 w 10000"/>
                <a:gd name="connsiteY436" fmla="*/ 5198 h 10126"/>
                <a:gd name="connsiteX437" fmla="*/ 1205 w 10000"/>
                <a:gd name="connsiteY437" fmla="*/ 5300 h 10126"/>
                <a:gd name="connsiteX438" fmla="*/ 1167 w 10000"/>
                <a:gd name="connsiteY438" fmla="*/ 5343 h 10126"/>
                <a:gd name="connsiteX439" fmla="*/ 1142 w 10000"/>
                <a:gd name="connsiteY439" fmla="*/ 5384 h 10126"/>
                <a:gd name="connsiteX440" fmla="*/ 1104 w 10000"/>
                <a:gd name="connsiteY440" fmla="*/ 5426 h 10126"/>
                <a:gd name="connsiteX441" fmla="*/ 1073 w 10000"/>
                <a:gd name="connsiteY441" fmla="*/ 5456 h 10126"/>
                <a:gd name="connsiteX442" fmla="*/ 1029 w 10000"/>
                <a:gd name="connsiteY442" fmla="*/ 5487 h 10126"/>
                <a:gd name="connsiteX443" fmla="*/ 985 w 10000"/>
                <a:gd name="connsiteY443" fmla="*/ 5505 h 10126"/>
                <a:gd name="connsiteX444" fmla="*/ 928 w 10000"/>
                <a:gd name="connsiteY444" fmla="*/ 5517 h 10126"/>
                <a:gd name="connsiteX445" fmla="*/ 872 w 10000"/>
                <a:gd name="connsiteY445" fmla="*/ 5523 h 10126"/>
                <a:gd name="connsiteX446" fmla="*/ 841 w 10000"/>
                <a:gd name="connsiteY446" fmla="*/ 5517 h 10126"/>
                <a:gd name="connsiteX447" fmla="*/ 797 w 10000"/>
                <a:gd name="connsiteY447" fmla="*/ 5505 h 10126"/>
                <a:gd name="connsiteX448" fmla="*/ 753 w 10000"/>
                <a:gd name="connsiteY448" fmla="*/ 5487 h 10126"/>
                <a:gd name="connsiteX449" fmla="*/ 709 w 10000"/>
                <a:gd name="connsiteY449" fmla="*/ 5456 h 10126"/>
                <a:gd name="connsiteX450" fmla="*/ 659 w 10000"/>
                <a:gd name="connsiteY450" fmla="*/ 5420 h 10126"/>
                <a:gd name="connsiteX451" fmla="*/ 609 w 10000"/>
                <a:gd name="connsiteY451" fmla="*/ 5384 h 10126"/>
                <a:gd name="connsiteX452" fmla="*/ 565 w 10000"/>
                <a:gd name="connsiteY452" fmla="*/ 5343 h 10126"/>
                <a:gd name="connsiteX453" fmla="*/ 514 w 10000"/>
                <a:gd name="connsiteY453" fmla="*/ 5294 h 10126"/>
                <a:gd name="connsiteX454" fmla="*/ 471 w 10000"/>
                <a:gd name="connsiteY454" fmla="*/ 5246 h 10126"/>
                <a:gd name="connsiteX455" fmla="*/ 433 w 10000"/>
                <a:gd name="connsiteY455" fmla="*/ 5192 h 10126"/>
                <a:gd name="connsiteX456" fmla="*/ 389 w 10000"/>
                <a:gd name="connsiteY456" fmla="*/ 5138 h 10126"/>
                <a:gd name="connsiteX457" fmla="*/ 358 w 10000"/>
                <a:gd name="connsiteY457" fmla="*/ 5083 h 10126"/>
                <a:gd name="connsiteX458" fmla="*/ 326 w 10000"/>
                <a:gd name="connsiteY458" fmla="*/ 5035 h 10126"/>
                <a:gd name="connsiteX459" fmla="*/ 307 w 10000"/>
                <a:gd name="connsiteY459" fmla="*/ 4987 h 10126"/>
                <a:gd name="connsiteX460" fmla="*/ 295 w 10000"/>
                <a:gd name="connsiteY460" fmla="*/ 4939 h 10126"/>
                <a:gd name="connsiteX461" fmla="*/ 289 w 10000"/>
                <a:gd name="connsiteY461" fmla="*/ 4890 h 10126"/>
                <a:gd name="connsiteX462" fmla="*/ 320 w 10000"/>
                <a:gd name="connsiteY462" fmla="*/ 4872 h 10126"/>
                <a:gd name="connsiteX463" fmla="*/ 395 w 10000"/>
                <a:gd name="connsiteY463" fmla="*/ 4837 h 10126"/>
                <a:gd name="connsiteX464" fmla="*/ 483 w 10000"/>
                <a:gd name="connsiteY464" fmla="*/ 4801 h 10126"/>
                <a:gd name="connsiteX465" fmla="*/ 533 w 10000"/>
                <a:gd name="connsiteY465" fmla="*/ 4783 h 10126"/>
                <a:gd name="connsiteX466" fmla="*/ 483 w 10000"/>
                <a:gd name="connsiteY466" fmla="*/ 4783 h 10126"/>
                <a:gd name="connsiteX467" fmla="*/ 420 w 10000"/>
                <a:gd name="connsiteY467" fmla="*/ 4777 h 10126"/>
                <a:gd name="connsiteX468" fmla="*/ 370 w 10000"/>
                <a:gd name="connsiteY468" fmla="*/ 4765 h 10126"/>
                <a:gd name="connsiteX469" fmla="*/ 320 w 10000"/>
                <a:gd name="connsiteY469" fmla="*/ 4759 h 10126"/>
                <a:gd name="connsiteX470" fmla="*/ 276 w 10000"/>
                <a:gd name="connsiteY470" fmla="*/ 4740 h 10126"/>
                <a:gd name="connsiteX471" fmla="*/ 232 w 10000"/>
                <a:gd name="connsiteY471" fmla="*/ 4728 h 10126"/>
                <a:gd name="connsiteX472" fmla="*/ 188 w 10000"/>
                <a:gd name="connsiteY472" fmla="*/ 4710 h 10126"/>
                <a:gd name="connsiteX473" fmla="*/ 157 w 10000"/>
                <a:gd name="connsiteY473" fmla="*/ 4685 h 10126"/>
                <a:gd name="connsiteX474" fmla="*/ 132 w 10000"/>
                <a:gd name="connsiteY474" fmla="*/ 4661 h 10126"/>
                <a:gd name="connsiteX475" fmla="*/ 100 w 10000"/>
                <a:gd name="connsiteY475" fmla="*/ 4637 h 10126"/>
                <a:gd name="connsiteX476" fmla="*/ 75 w 10000"/>
                <a:gd name="connsiteY476" fmla="*/ 4607 h 10126"/>
                <a:gd name="connsiteX477" fmla="*/ 50 w 10000"/>
                <a:gd name="connsiteY477" fmla="*/ 4583 h 10126"/>
                <a:gd name="connsiteX478" fmla="*/ 19 w 10000"/>
                <a:gd name="connsiteY478" fmla="*/ 4511 h 10126"/>
                <a:gd name="connsiteX479" fmla="*/ 0 w 10000"/>
                <a:gd name="connsiteY479" fmla="*/ 4444 h 10126"/>
                <a:gd name="connsiteX480" fmla="*/ 63 w 10000"/>
                <a:gd name="connsiteY480" fmla="*/ 4396 h 10126"/>
                <a:gd name="connsiteX481" fmla="*/ 132 w 10000"/>
                <a:gd name="connsiteY481" fmla="*/ 4360 h 10126"/>
                <a:gd name="connsiteX482" fmla="*/ 201 w 10000"/>
                <a:gd name="connsiteY482" fmla="*/ 4331 h 10126"/>
                <a:gd name="connsiteX483" fmla="*/ 276 w 10000"/>
                <a:gd name="connsiteY483" fmla="*/ 4307 h 10126"/>
                <a:gd name="connsiteX484" fmla="*/ 420 w 10000"/>
                <a:gd name="connsiteY484" fmla="*/ 4277 h 10126"/>
                <a:gd name="connsiteX485" fmla="*/ 565 w 10000"/>
                <a:gd name="connsiteY485" fmla="*/ 4252 h 10126"/>
                <a:gd name="connsiteX486" fmla="*/ 640 w 10000"/>
                <a:gd name="connsiteY486" fmla="*/ 4240 h 10126"/>
                <a:gd name="connsiteX487" fmla="*/ 709 w 10000"/>
                <a:gd name="connsiteY487" fmla="*/ 4216 h 10126"/>
                <a:gd name="connsiteX488" fmla="*/ 772 w 10000"/>
                <a:gd name="connsiteY488" fmla="*/ 4198 h 10126"/>
                <a:gd name="connsiteX489" fmla="*/ 834 w 10000"/>
                <a:gd name="connsiteY489" fmla="*/ 4168 h 10126"/>
                <a:gd name="connsiteX490" fmla="*/ 891 w 10000"/>
                <a:gd name="connsiteY490" fmla="*/ 4138 h 10126"/>
                <a:gd name="connsiteX491" fmla="*/ 947 w 10000"/>
                <a:gd name="connsiteY491" fmla="*/ 4090 h 10126"/>
                <a:gd name="connsiteX492" fmla="*/ 997 w 10000"/>
                <a:gd name="connsiteY492" fmla="*/ 4035 h 10126"/>
                <a:gd name="connsiteX493" fmla="*/ 1035 w 10000"/>
                <a:gd name="connsiteY493" fmla="*/ 3968 h 10126"/>
                <a:gd name="connsiteX494" fmla="*/ 1010 w 10000"/>
                <a:gd name="connsiteY494" fmla="*/ 3956 h 10126"/>
                <a:gd name="connsiteX495" fmla="*/ 985 w 10000"/>
                <a:gd name="connsiteY495" fmla="*/ 3938 h 10126"/>
                <a:gd name="connsiteX496" fmla="*/ 947 w 10000"/>
                <a:gd name="connsiteY496" fmla="*/ 3914 h 10126"/>
                <a:gd name="connsiteX497" fmla="*/ 910 w 10000"/>
                <a:gd name="connsiteY497" fmla="*/ 3878 h 10126"/>
                <a:gd name="connsiteX498" fmla="*/ 822 w 10000"/>
                <a:gd name="connsiteY498" fmla="*/ 3806 h 10126"/>
                <a:gd name="connsiteX499" fmla="*/ 740 w 10000"/>
                <a:gd name="connsiteY499" fmla="*/ 3722 h 10126"/>
                <a:gd name="connsiteX500" fmla="*/ 665 w 10000"/>
                <a:gd name="connsiteY500" fmla="*/ 3631 h 10126"/>
                <a:gd name="connsiteX501" fmla="*/ 596 w 10000"/>
                <a:gd name="connsiteY501" fmla="*/ 3535 h 10126"/>
                <a:gd name="connsiteX502" fmla="*/ 577 w 10000"/>
                <a:gd name="connsiteY502" fmla="*/ 3493 h 10126"/>
                <a:gd name="connsiteX503" fmla="*/ 558 w 10000"/>
                <a:gd name="connsiteY503" fmla="*/ 3451 h 10126"/>
                <a:gd name="connsiteX504" fmla="*/ 540 w 10000"/>
                <a:gd name="connsiteY504" fmla="*/ 3408 h 10126"/>
                <a:gd name="connsiteX505" fmla="*/ 533 w 10000"/>
                <a:gd name="connsiteY505" fmla="*/ 3372 h 10126"/>
                <a:gd name="connsiteX506" fmla="*/ 508 w 10000"/>
                <a:gd name="connsiteY506" fmla="*/ 3366 h 10126"/>
                <a:gd name="connsiteX507" fmla="*/ 483 w 10000"/>
                <a:gd name="connsiteY507" fmla="*/ 3360 h 10126"/>
                <a:gd name="connsiteX508" fmla="*/ 458 w 10000"/>
                <a:gd name="connsiteY508" fmla="*/ 3348 h 10126"/>
                <a:gd name="connsiteX509" fmla="*/ 439 w 10000"/>
                <a:gd name="connsiteY509" fmla="*/ 3325 h 10126"/>
                <a:gd name="connsiteX510" fmla="*/ 402 w 10000"/>
                <a:gd name="connsiteY510" fmla="*/ 3282 h 10126"/>
                <a:gd name="connsiteX511" fmla="*/ 370 w 10000"/>
                <a:gd name="connsiteY511" fmla="*/ 3222 h 10126"/>
                <a:gd name="connsiteX512" fmla="*/ 370 w 10000"/>
                <a:gd name="connsiteY512" fmla="*/ 3077 h 10126"/>
                <a:gd name="connsiteX513" fmla="*/ 458 w 10000"/>
                <a:gd name="connsiteY513" fmla="*/ 3071 h 10126"/>
                <a:gd name="connsiteX514" fmla="*/ 540 w 10000"/>
                <a:gd name="connsiteY514" fmla="*/ 3065 h 10126"/>
                <a:gd name="connsiteX515" fmla="*/ 615 w 10000"/>
                <a:gd name="connsiteY515" fmla="*/ 3053 h 10126"/>
                <a:gd name="connsiteX516" fmla="*/ 684 w 10000"/>
                <a:gd name="connsiteY516" fmla="*/ 3029 h 10126"/>
                <a:gd name="connsiteX517" fmla="*/ 747 w 10000"/>
                <a:gd name="connsiteY517" fmla="*/ 3011 h 10126"/>
                <a:gd name="connsiteX518" fmla="*/ 809 w 10000"/>
                <a:gd name="connsiteY518" fmla="*/ 2980 h 10126"/>
                <a:gd name="connsiteX519" fmla="*/ 866 w 10000"/>
                <a:gd name="connsiteY519" fmla="*/ 2950 h 10126"/>
                <a:gd name="connsiteX520" fmla="*/ 922 w 10000"/>
                <a:gd name="connsiteY520" fmla="*/ 2914 h 10126"/>
                <a:gd name="connsiteX521" fmla="*/ 966 w 10000"/>
                <a:gd name="connsiteY521" fmla="*/ 2872 h 10126"/>
                <a:gd name="connsiteX522" fmla="*/ 1016 w 10000"/>
                <a:gd name="connsiteY522" fmla="*/ 2831 h 10126"/>
                <a:gd name="connsiteX523" fmla="*/ 1060 w 10000"/>
                <a:gd name="connsiteY523" fmla="*/ 2789 h 10126"/>
                <a:gd name="connsiteX524" fmla="*/ 1098 w 10000"/>
                <a:gd name="connsiteY524" fmla="*/ 2740 h 10126"/>
                <a:gd name="connsiteX525" fmla="*/ 1167 w 10000"/>
                <a:gd name="connsiteY525" fmla="*/ 2644 h 10126"/>
                <a:gd name="connsiteX526" fmla="*/ 1236 w 10000"/>
                <a:gd name="connsiteY526" fmla="*/ 2534 h 10126"/>
                <a:gd name="connsiteX527" fmla="*/ 1355 w 10000"/>
                <a:gd name="connsiteY527" fmla="*/ 2318 h 10126"/>
                <a:gd name="connsiteX528" fmla="*/ 1474 w 10000"/>
                <a:gd name="connsiteY528" fmla="*/ 2101 h 10126"/>
                <a:gd name="connsiteX529" fmla="*/ 1543 w 10000"/>
                <a:gd name="connsiteY529" fmla="*/ 2005 h 10126"/>
                <a:gd name="connsiteX530" fmla="*/ 1612 w 10000"/>
                <a:gd name="connsiteY530" fmla="*/ 1920 h 10126"/>
                <a:gd name="connsiteX531" fmla="*/ 1650 w 10000"/>
                <a:gd name="connsiteY531" fmla="*/ 1871 h 10126"/>
                <a:gd name="connsiteX532" fmla="*/ 1694 w 10000"/>
                <a:gd name="connsiteY532" fmla="*/ 1835 h 10126"/>
                <a:gd name="connsiteX533" fmla="*/ 1738 w 10000"/>
                <a:gd name="connsiteY533" fmla="*/ 1806 h 10126"/>
                <a:gd name="connsiteX534" fmla="*/ 1788 w 10000"/>
                <a:gd name="connsiteY534" fmla="*/ 1776 h 10126"/>
                <a:gd name="connsiteX535" fmla="*/ 1750 w 10000"/>
                <a:gd name="connsiteY535" fmla="*/ 1703 h 10126"/>
                <a:gd name="connsiteX536" fmla="*/ 1719 w 10000"/>
                <a:gd name="connsiteY536" fmla="*/ 1637 h 10126"/>
                <a:gd name="connsiteX537" fmla="*/ 1713 w 10000"/>
                <a:gd name="connsiteY537" fmla="*/ 1607 h 10126"/>
                <a:gd name="connsiteX538" fmla="*/ 1706 w 10000"/>
                <a:gd name="connsiteY538" fmla="*/ 1577 h 10126"/>
                <a:gd name="connsiteX539" fmla="*/ 1706 w 10000"/>
                <a:gd name="connsiteY539" fmla="*/ 1541 h 10126"/>
                <a:gd name="connsiteX540" fmla="*/ 1706 w 10000"/>
                <a:gd name="connsiteY540" fmla="*/ 1511 h 10126"/>
                <a:gd name="connsiteX541" fmla="*/ 1713 w 10000"/>
                <a:gd name="connsiteY541" fmla="*/ 1480 h 10126"/>
                <a:gd name="connsiteX542" fmla="*/ 1719 w 10000"/>
                <a:gd name="connsiteY542" fmla="*/ 1450 h 10126"/>
                <a:gd name="connsiteX543" fmla="*/ 1731 w 10000"/>
                <a:gd name="connsiteY543" fmla="*/ 1426 h 10126"/>
                <a:gd name="connsiteX544" fmla="*/ 1757 w 10000"/>
                <a:gd name="connsiteY544" fmla="*/ 1402 h 10126"/>
                <a:gd name="connsiteX545" fmla="*/ 1775 w 10000"/>
                <a:gd name="connsiteY545" fmla="*/ 1384 h 10126"/>
                <a:gd name="connsiteX546" fmla="*/ 1801 w 10000"/>
                <a:gd name="connsiteY546" fmla="*/ 1366 h 10126"/>
                <a:gd name="connsiteX547" fmla="*/ 1838 w 10000"/>
                <a:gd name="connsiteY547" fmla="*/ 1348 h 10126"/>
                <a:gd name="connsiteX548" fmla="*/ 1870 w 10000"/>
                <a:gd name="connsiteY548" fmla="*/ 1330 h 10126"/>
                <a:gd name="connsiteX549" fmla="*/ 1788 w 10000"/>
                <a:gd name="connsiteY549" fmla="*/ 1240 h 10126"/>
                <a:gd name="connsiteX550" fmla="*/ 1688 w 10000"/>
                <a:gd name="connsiteY550" fmla="*/ 1168 h 10126"/>
                <a:gd name="connsiteX551" fmla="*/ 1550 w 10000"/>
                <a:gd name="connsiteY551" fmla="*/ 1046 h 10126"/>
                <a:gd name="connsiteX552" fmla="*/ 1487 w 10000"/>
                <a:gd name="connsiteY552" fmla="*/ 986 h 10126"/>
                <a:gd name="connsiteX553" fmla="*/ 1383 w 10000"/>
                <a:gd name="connsiteY553" fmla="*/ 868 h 10126"/>
                <a:gd name="connsiteX554" fmla="*/ 1426 w 10000"/>
                <a:gd name="connsiteY554" fmla="*/ 764 h 10126"/>
                <a:gd name="connsiteX555" fmla="*/ 1603 w 10000"/>
                <a:gd name="connsiteY555" fmla="*/ 650 h 10126"/>
                <a:gd name="connsiteX556" fmla="*/ 1708 w 10000"/>
                <a:gd name="connsiteY556" fmla="*/ 605 h 10126"/>
                <a:gd name="connsiteX557" fmla="*/ 1673 w 10000"/>
                <a:gd name="connsiteY557" fmla="*/ 540 h 10126"/>
                <a:gd name="connsiteX558" fmla="*/ 1606 w 10000"/>
                <a:gd name="connsiteY558" fmla="*/ 463 h 10126"/>
                <a:gd name="connsiteX559" fmla="*/ 1539 w 10000"/>
                <a:gd name="connsiteY559" fmla="*/ 431 h 10126"/>
                <a:gd name="connsiteX560" fmla="*/ 1539 w 10000"/>
                <a:gd name="connsiteY560" fmla="*/ 366 h 10126"/>
                <a:gd name="connsiteX561" fmla="*/ 1473 w 10000"/>
                <a:gd name="connsiteY561" fmla="*/ 296 h 10126"/>
                <a:gd name="connsiteX562" fmla="*/ 1341 w 10000"/>
                <a:gd name="connsiteY562" fmla="*/ 236 h 10126"/>
                <a:gd name="connsiteX563" fmla="*/ 1490 w 10000"/>
                <a:gd name="connsiteY563" fmla="*/ 123 h 10126"/>
                <a:gd name="connsiteX564" fmla="*/ 1654 w 10000"/>
                <a:gd name="connsiteY564" fmla="*/ 0 h 10126"/>
                <a:gd name="connsiteX565" fmla="*/ 1895 w 10000"/>
                <a:gd name="connsiteY565" fmla="*/ 61 h 10126"/>
                <a:gd name="connsiteX566" fmla="*/ 2151 w 10000"/>
                <a:gd name="connsiteY566" fmla="*/ 94 h 10126"/>
                <a:gd name="connsiteX567" fmla="*/ 2280 w 10000"/>
                <a:gd name="connsiteY567" fmla="*/ 123 h 10126"/>
                <a:gd name="connsiteX568" fmla="*/ 2517 w 10000"/>
                <a:gd name="connsiteY568"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203 w 10000"/>
                <a:gd name="connsiteY7" fmla="*/ 858 h 10126"/>
                <a:gd name="connsiteX8" fmla="*/ 3314 w 10000"/>
                <a:gd name="connsiteY8" fmla="*/ 940 h 10126"/>
                <a:gd name="connsiteX9" fmla="*/ 3412 w 10000"/>
                <a:gd name="connsiteY9" fmla="*/ 1046 h 10126"/>
                <a:gd name="connsiteX10" fmla="*/ 3429 w 10000"/>
                <a:gd name="connsiteY10" fmla="*/ 1148 h 10126"/>
                <a:gd name="connsiteX11" fmla="*/ 3389 w 10000"/>
                <a:gd name="connsiteY11" fmla="*/ 1215 h 10126"/>
                <a:gd name="connsiteX12" fmla="*/ 3348 w 10000"/>
                <a:gd name="connsiteY12" fmla="*/ 1238 h 10126"/>
                <a:gd name="connsiteX13" fmla="*/ 3043 w 10000"/>
                <a:gd name="connsiteY13" fmla="*/ 1366 h 10126"/>
                <a:gd name="connsiteX14" fmla="*/ 3074 w 10000"/>
                <a:gd name="connsiteY14" fmla="*/ 1444 h 10126"/>
                <a:gd name="connsiteX15" fmla="*/ 3118 w 10000"/>
                <a:gd name="connsiteY15" fmla="*/ 1511 h 10126"/>
                <a:gd name="connsiteX16" fmla="*/ 3168 w 10000"/>
                <a:gd name="connsiteY16" fmla="*/ 1571 h 10126"/>
                <a:gd name="connsiteX17" fmla="*/ 3225 w 10000"/>
                <a:gd name="connsiteY17" fmla="*/ 1613 h 10126"/>
                <a:gd name="connsiteX18" fmla="*/ 3281 w 10000"/>
                <a:gd name="connsiteY18" fmla="*/ 1655 h 10126"/>
                <a:gd name="connsiteX19" fmla="*/ 3350 w 10000"/>
                <a:gd name="connsiteY19" fmla="*/ 1685 h 10126"/>
                <a:gd name="connsiteX20" fmla="*/ 3413 w 10000"/>
                <a:gd name="connsiteY20" fmla="*/ 1715 h 10126"/>
                <a:gd name="connsiteX21" fmla="*/ 3488 w 10000"/>
                <a:gd name="connsiteY21" fmla="*/ 1740 h 10126"/>
                <a:gd name="connsiteX22" fmla="*/ 3626 w 10000"/>
                <a:gd name="connsiteY22" fmla="*/ 1794 h 10126"/>
                <a:gd name="connsiteX23" fmla="*/ 3764 w 10000"/>
                <a:gd name="connsiteY23" fmla="*/ 1847 h 10126"/>
                <a:gd name="connsiteX24" fmla="*/ 3827 w 10000"/>
                <a:gd name="connsiteY24" fmla="*/ 1884 h 10126"/>
                <a:gd name="connsiteX25" fmla="*/ 3890 w 10000"/>
                <a:gd name="connsiteY25" fmla="*/ 1932 h 10126"/>
                <a:gd name="connsiteX26" fmla="*/ 3946 w 10000"/>
                <a:gd name="connsiteY26" fmla="*/ 1981 h 10126"/>
                <a:gd name="connsiteX27" fmla="*/ 4003 w 10000"/>
                <a:gd name="connsiteY27" fmla="*/ 2035 h 10126"/>
                <a:gd name="connsiteX28" fmla="*/ 3959 w 10000"/>
                <a:gd name="connsiteY28" fmla="*/ 2596 h 10126"/>
                <a:gd name="connsiteX29" fmla="*/ 4034 w 10000"/>
                <a:gd name="connsiteY29" fmla="*/ 2650 h 10126"/>
                <a:gd name="connsiteX30" fmla="*/ 4141 w 10000"/>
                <a:gd name="connsiteY30" fmla="*/ 2716 h 10126"/>
                <a:gd name="connsiteX31" fmla="*/ 4260 w 10000"/>
                <a:gd name="connsiteY31" fmla="*/ 2776 h 10126"/>
                <a:gd name="connsiteX32" fmla="*/ 4398 w 10000"/>
                <a:gd name="connsiteY32" fmla="*/ 2831 h 10126"/>
                <a:gd name="connsiteX33" fmla="*/ 4536 w 10000"/>
                <a:gd name="connsiteY33" fmla="*/ 2884 h 10126"/>
                <a:gd name="connsiteX34" fmla="*/ 4668 w 10000"/>
                <a:gd name="connsiteY34" fmla="*/ 2926 h 10126"/>
                <a:gd name="connsiteX35" fmla="*/ 4724 w 10000"/>
                <a:gd name="connsiteY35" fmla="*/ 2944 h 10126"/>
                <a:gd name="connsiteX36" fmla="*/ 4780 w 10000"/>
                <a:gd name="connsiteY36" fmla="*/ 2956 h 10126"/>
                <a:gd name="connsiteX37" fmla="*/ 4831 w 10000"/>
                <a:gd name="connsiteY37" fmla="*/ 2962 h 10126"/>
                <a:gd name="connsiteX38" fmla="*/ 4875 w 10000"/>
                <a:gd name="connsiteY38" fmla="*/ 2962 h 10126"/>
                <a:gd name="connsiteX39" fmla="*/ 4887 w 10000"/>
                <a:gd name="connsiteY39" fmla="*/ 3005 h 10126"/>
                <a:gd name="connsiteX40" fmla="*/ 4918 w 10000"/>
                <a:gd name="connsiteY40" fmla="*/ 3041 h 10126"/>
                <a:gd name="connsiteX41" fmla="*/ 4950 w 10000"/>
                <a:gd name="connsiteY41" fmla="*/ 3059 h 10126"/>
                <a:gd name="connsiteX42" fmla="*/ 4987 w 10000"/>
                <a:gd name="connsiteY42" fmla="*/ 3071 h 10126"/>
                <a:gd name="connsiteX43" fmla="*/ 5019 w 10000"/>
                <a:gd name="connsiteY43" fmla="*/ 3083 h 10126"/>
                <a:gd name="connsiteX44" fmla="*/ 5063 w 10000"/>
                <a:gd name="connsiteY44" fmla="*/ 3083 h 10126"/>
                <a:gd name="connsiteX45" fmla="*/ 5107 w 10000"/>
                <a:gd name="connsiteY45" fmla="*/ 3077 h 10126"/>
                <a:gd name="connsiteX46" fmla="*/ 5157 w 10000"/>
                <a:gd name="connsiteY46" fmla="*/ 3071 h 10126"/>
                <a:gd name="connsiteX47" fmla="*/ 5245 w 10000"/>
                <a:gd name="connsiteY47" fmla="*/ 3053 h 10126"/>
                <a:gd name="connsiteX48" fmla="*/ 5345 w 10000"/>
                <a:gd name="connsiteY48" fmla="*/ 3029 h 10126"/>
                <a:gd name="connsiteX49" fmla="*/ 5383 w 10000"/>
                <a:gd name="connsiteY49" fmla="*/ 3029 h 10126"/>
                <a:gd name="connsiteX50" fmla="*/ 5427 w 10000"/>
                <a:gd name="connsiteY50" fmla="*/ 3023 h 10126"/>
                <a:gd name="connsiteX51" fmla="*/ 5464 w 10000"/>
                <a:gd name="connsiteY51" fmla="*/ 3029 h 10126"/>
                <a:gd name="connsiteX52" fmla="*/ 5502 w 10000"/>
                <a:gd name="connsiteY52" fmla="*/ 3035 h 10126"/>
                <a:gd name="connsiteX53" fmla="*/ 5558 w 10000"/>
                <a:gd name="connsiteY53" fmla="*/ 3071 h 10126"/>
                <a:gd name="connsiteX54" fmla="*/ 5596 w 10000"/>
                <a:gd name="connsiteY54" fmla="*/ 3101 h 10126"/>
                <a:gd name="connsiteX55" fmla="*/ 5634 w 10000"/>
                <a:gd name="connsiteY55" fmla="*/ 3143 h 10126"/>
                <a:gd name="connsiteX56" fmla="*/ 5665 w 10000"/>
                <a:gd name="connsiteY56" fmla="*/ 3179 h 10126"/>
                <a:gd name="connsiteX57" fmla="*/ 5696 w 10000"/>
                <a:gd name="connsiteY57" fmla="*/ 3216 h 10126"/>
                <a:gd name="connsiteX58" fmla="*/ 5734 w 10000"/>
                <a:gd name="connsiteY58" fmla="*/ 3252 h 10126"/>
                <a:gd name="connsiteX59" fmla="*/ 5759 w 10000"/>
                <a:gd name="connsiteY59" fmla="*/ 3270 h 10126"/>
                <a:gd name="connsiteX60" fmla="*/ 5778 w 10000"/>
                <a:gd name="connsiteY60" fmla="*/ 3282 h 10126"/>
                <a:gd name="connsiteX61" fmla="*/ 5803 w 10000"/>
                <a:gd name="connsiteY61" fmla="*/ 3294 h 10126"/>
                <a:gd name="connsiteX62" fmla="*/ 5834 w 10000"/>
                <a:gd name="connsiteY62" fmla="*/ 3300 h 10126"/>
                <a:gd name="connsiteX63" fmla="*/ 5935 w 10000"/>
                <a:gd name="connsiteY63" fmla="*/ 3319 h 10126"/>
                <a:gd name="connsiteX64" fmla="*/ 6073 w 10000"/>
                <a:gd name="connsiteY64" fmla="*/ 3354 h 10126"/>
                <a:gd name="connsiteX65" fmla="*/ 6230 w 10000"/>
                <a:gd name="connsiteY65" fmla="*/ 3390 h 10126"/>
                <a:gd name="connsiteX66" fmla="*/ 6405 w 10000"/>
                <a:gd name="connsiteY66" fmla="*/ 3433 h 10126"/>
                <a:gd name="connsiteX67" fmla="*/ 6568 w 10000"/>
                <a:gd name="connsiteY67" fmla="*/ 3463 h 10126"/>
                <a:gd name="connsiteX68" fmla="*/ 6719 w 10000"/>
                <a:gd name="connsiteY68" fmla="*/ 3487 h 10126"/>
                <a:gd name="connsiteX69" fmla="*/ 6788 w 10000"/>
                <a:gd name="connsiteY69" fmla="*/ 3493 h 10126"/>
                <a:gd name="connsiteX70" fmla="*/ 6838 w 10000"/>
                <a:gd name="connsiteY70" fmla="*/ 3499 h 10126"/>
                <a:gd name="connsiteX71" fmla="*/ 6888 w 10000"/>
                <a:gd name="connsiteY71" fmla="*/ 3493 h 10126"/>
                <a:gd name="connsiteX72" fmla="*/ 6913 w 10000"/>
                <a:gd name="connsiteY72" fmla="*/ 3481 h 10126"/>
                <a:gd name="connsiteX73" fmla="*/ 6888 w 10000"/>
                <a:gd name="connsiteY73" fmla="*/ 3439 h 10126"/>
                <a:gd name="connsiteX74" fmla="*/ 6857 w 10000"/>
                <a:gd name="connsiteY74" fmla="*/ 3390 h 10126"/>
                <a:gd name="connsiteX75" fmla="*/ 6838 w 10000"/>
                <a:gd name="connsiteY75" fmla="*/ 3342 h 10126"/>
                <a:gd name="connsiteX76" fmla="*/ 6826 w 10000"/>
                <a:gd name="connsiteY76" fmla="*/ 3288 h 10126"/>
                <a:gd name="connsiteX77" fmla="*/ 6794 w 10000"/>
                <a:gd name="connsiteY77" fmla="*/ 3197 h 10126"/>
                <a:gd name="connsiteX78" fmla="*/ 6788 w 10000"/>
                <a:gd name="connsiteY78" fmla="*/ 3149 h 10126"/>
                <a:gd name="connsiteX79" fmla="*/ 6788 w 10000"/>
                <a:gd name="connsiteY79" fmla="*/ 2962 h 10126"/>
                <a:gd name="connsiteX80" fmla="*/ 6788 w 10000"/>
                <a:gd name="connsiteY80" fmla="*/ 2776 h 10126"/>
                <a:gd name="connsiteX81" fmla="*/ 6995 w 10000"/>
                <a:gd name="connsiteY81" fmla="*/ 2776 h 10126"/>
                <a:gd name="connsiteX82" fmla="*/ 7033 w 10000"/>
                <a:gd name="connsiteY82" fmla="*/ 2842 h 10126"/>
                <a:gd name="connsiteX83" fmla="*/ 7058 w 10000"/>
                <a:gd name="connsiteY83" fmla="*/ 2884 h 10126"/>
                <a:gd name="connsiteX84" fmla="*/ 7095 w 10000"/>
                <a:gd name="connsiteY84" fmla="*/ 2920 h 10126"/>
                <a:gd name="connsiteX85" fmla="*/ 7127 w 10000"/>
                <a:gd name="connsiteY85" fmla="*/ 2962 h 10126"/>
                <a:gd name="connsiteX86" fmla="*/ 7120 w 10000"/>
                <a:gd name="connsiteY86" fmla="*/ 3059 h 10126"/>
                <a:gd name="connsiteX87" fmla="*/ 7102 w 10000"/>
                <a:gd name="connsiteY87" fmla="*/ 3119 h 10126"/>
                <a:gd name="connsiteX88" fmla="*/ 7089 w 10000"/>
                <a:gd name="connsiteY88" fmla="*/ 3167 h 10126"/>
                <a:gd name="connsiteX89" fmla="*/ 7077 w 10000"/>
                <a:gd name="connsiteY89" fmla="*/ 3222 h 10126"/>
                <a:gd name="connsiteX90" fmla="*/ 7208 w 10000"/>
                <a:gd name="connsiteY90" fmla="*/ 3258 h 10126"/>
                <a:gd name="connsiteX91" fmla="*/ 7334 w 10000"/>
                <a:gd name="connsiteY91" fmla="*/ 3294 h 10126"/>
                <a:gd name="connsiteX92" fmla="*/ 7396 w 10000"/>
                <a:gd name="connsiteY92" fmla="*/ 3313 h 10126"/>
                <a:gd name="connsiteX93" fmla="*/ 7459 w 10000"/>
                <a:gd name="connsiteY93" fmla="*/ 3325 h 10126"/>
                <a:gd name="connsiteX94" fmla="*/ 7522 w 10000"/>
                <a:gd name="connsiteY94" fmla="*/ 3331 h 10126"/>
                <a:gd name="connsiteX95" fmla="*/ 7585 w 10000"/>
                <a:gd name="connsiteY95" fmla="*/ 3336 h 10126"/>
                <a:gd name="connsiteX96" fmla="*/ 7591 w 10000"/>
                <a:gd name="connsiteY96" fmla="*/ 3360 h 10126"/>
                <a:gd name="connsiteX97" fmla="*/ 7604 w 10000"/>
                <a:gd name="connsiteY97" fmla="*/ 3384 h 10126"/>
                <a:gd name="connsiteX98" fmla="*/ 7622 w 10000"/>
                <a:gd name="connsiteY98" fmla="*/ 3402 h 10126"/>
                <a:gd name="connsiteX99" fmla="*/ 7654 w 10000"/>
                <a:gd name="connsiteY99" fmla="*/ 3420 h 10126"/>
                <a:gd name="connsiteX100" fmla="*/ 7704 w 10000"/>
                <a:gd name="connsiteY100" fmla="*/ 3439 h 10126"/>
                <a:gd name="connsiteX101" fmla="*/ 7748 w 10000"/>
                <a:gd name="connsiteY101" fmla="*/ 3445 h 10126"/>
                <a:gd name="connsiteX102" fmla="*/ 7798 w 10000"/>
                <a:gd name="connsiteY102" fmla="*/ 3445 h 10126"/>
                <a:gd name="connsiteX103" fmla="*/ 7836 w 10000"/>
                <a:gd name="connsiteY103" fmla="*/ 3433 h 10126"/>
                <a:gd name="connsiteX104" fmla="*/ 7880 w 10000"/>
                <a:gd name="connsiteY104" fmla="*/ 3414 h 10126"/>
                <a:gd name="connsiteX105" fmla="*/ 7911 w 10000"/>
                <a:gd name="connsiteY105" fmla="*/ 3396 h 10126"/>
                <a:gd name="connsiteX106" fmla="*/ 7949 w 10000"/>
                <a:gd name="connsiteY106" fmla="*/ 3372 h 10126"/>
                <a:gd name="connsiteX107" fmla="*/ 7980 w 10000"/>
                <a:gd name="connsiteY107" fmla="*/ 3342 h 10126"/>
                <a:gd name="connsiteX108" fmla="*/ 8011 w 10000"/>
                <a:gd name="connsiteY108" fmla="*/ 3313 h 10126"/>
                <a:gd name="connsiteX109" fmla="*/ 8036 w 10000"/>
                <a:gd name="connsiteY109" fmla="*/ 3282 h 10126"/>
                <a:gd name="connsiteX110" fmla="*/ 8087 w 10000"/>
                <a:gd name="connsiteY110" fmla="*/ 3203 h 10126"/>
                <a:gd name="connsiteX111" fmla="*/ 8118 w 10000"/>
                <a:gd name="connsiteY111" fmla="*/ 3131 h 10126"/>
                <a:gd name="connsiteX112" fmla="*/ 8149 w 10000"/>
                <a:gd name="connsiteY112" fmla="*/ 3065 h 10126"/>
                <a:gd name="connsiteX113" fmla="*/ 8168 w 10000"/>
                <a:gd name="connsiteY113" fmla="*/ 2999 h 10126"/>
                <a:gd name="connsiteX114" fmla="*/ 8231 w 10000"/>
                <a:gd name="connsiteY114" fmla="*/ 2932 h 10126"/>
                <a:gd name="connsiteX115" fmla="*/ 8294 w 10000"/>
                <a:gd name="connsiteY115" fmla="*/ 2866 h 10126"/>
                <a:gd name="connsiteX116" fmla="*/ 8363 w 10000"/>
                <a:gd name="connsiteY116" fmla="*/ 2813 h 10126"/>
                <a:gd name="connsiteX117" fmla="*/ 8432 w 10000"/>
                <a:gd name="connsiteY117" fmla="*/ 2752 h 10126"/>
                <a:gd name="connsiteX118" fmla="*/ 8507 w 10000"/>
                <a:gd name="connsiteY118" fmla="*/ 2704 h 10126"/>
                <a:gd name="connsiteX119" fmla="*/ 8576 w 10000"/>
                <a:gd name="connsiteY119" fmla="*/ 2656 h 10126"/>
                <a:gd name="connsiteX120" fmla="*/ 8651 w 10000"/>
                <a:gd name="connsiteY120" fmla="*/ 2614 h 10126"/>
                <a:gd name="connsiteX121" fmla="*/ 8726 w 10000"/>
                <a:gd name="connsiteY121" fmla="*/ 2570 h 10126"/>
                <a:gd name="connsiteX122" fmla="*/ 8808 w 10000"/>
                <a:gd name="connsiteY122" fmla="*/ 2528 h 10126"/>
                <a:gd name="connsiteX123" fmla="*/ 8890 w 10000"/>
                <a:gd name="connsiteY123" fmla="*/ 2492 h 10126"/>
                <a:gd name="connsiteX124" fmla="*/ 8971 w 10000"/>
                <a:gd name="connsiteY124" fmla="*/ 2462 h 10126"/>
                <a:gd name="connsiteX125" fmla="*/ 9059 w 10000"/>
                <a:gd name="connsiteY125" fmla="*/ 2432 h 10126"/>
                <a:gd name="connsiteX126" fmla="*/ 9235 w 10000"/>
                <a:gd name="connsiteY126" fmla="*/ 2378 h 10126"/>
                <a:gd name="connsiteX127" fmla="*/ 9417 w 10000"/>
                <a:gd name="connsiteY127" fmla="*/ 2335 h 10126"/>
                <a:gd name="connsiteX128" fmla="*/ 9454 w 10000"/>
                <a:gd name="connsiteY128" fmla="*/ 2384 h 10126"/>
                <a:gd name="connsiteX129" fmla="*/ 9504 w 10000"/>
                <a:gd name="connsiteY129" fmla="*/ 2444 h 10126"/>
                <a:gd name="connsiteX130" fmla="*/ 9573 w 10000"/>
                <a:gd name="connsiteY130" fmla="*/ 2510 h 10126"/>
                <a:gd name="connsiteX131" fmla="*/ 9642 w 10000"/>
                <a:gd name="connsiteY131" fmla="*/ 2583 h 10126"/>
                <a:gd name="connsiteX132" fmla="*/ 9718 w 10000"/>
                <a:gd name="connsiteY132" fmla="*/ 2644 h 10126"/>
                <a:gd name="connsiteX133" fmla="*/ 9799 w 10000"/>
                <a:gd name="connsiteY133" fmla="*/ 2692 h 10126"/>
                <a:gd name="connsiteX134" fmla="*/ 9837 w 10000"/>
                <a:gd name="connsiteY134" fmla="*/ 2716 h 10126"/>
                <a:gd name="connsiteX135" fmla="*/ 9875 w 10000"/>
                <a:gd name="connsiteY135" fmla="*/ 2728 h 10126"/>
                <a:gd name="connsiteX136" fmla="*/ 9918 w 10000"/>
                <a:gd name="connsiteY136" fmla="*/ 2740 h 10126"/>
                <a:gd name="connsiteX137" fmla="*/ 9956 w 10000"/>
                <a:gd name="connsiteY137" fmla="*/ 2740 h 10126"/>
                <a:gd name="connsiteX138" fmla="*/ 10000 w 10000"/>
                <a:gd name="connsiteY138" fmla="*/ 2668 h 10126"/>
                <a:gd name="connsiteX139" fmla="*/ 9975 w 10000"/>
                <a:gd name="connsiteY139" fmla="*/ 2795 h 10126"/>
                <a:gd name="connsiteX140" fmla="*/ 9944 w 10000"/>
                <a:gd name="connsiteY140" fmla="*/ 2938 h 10126"/>
                <a:gd name="connsiteX141" fmla="*/ 9931 w 10000"/>
                <a:gd name="connsiteY141" fmla="*/ 3005 h 10126"/>
                <a:gd name="connsiteX142" fmla="*/ 9906 w 10000"/>
                <a:gd name="connsiteY142" fmla="*/ 3065 h 10126"/>
                <a:gd name="connsiteX143" fmla="*/ 9887 w 10000"/>
                <a:gd name="connsiteY143" fmla="*/ 3089 h 10126"/>
                <a:gd name="connsiteX144" fmla="*/ 9875 w 10000"/>
                <a:gd name="connsiteY144" fmla="*/ 3113 h 10126"/>
                <a:gd name="connsiteX145" fmla="*/ 9856 w 10000"/>
                <a:gd name="connsiteY145" fmla="*/ 3131 h 10126"/>
                <a:gd name="connsiteX146" fmla="*/ 9837 w 10000"/>
                <a:gd name="connsiteY146" fmla="*/ 3149 h 10126"/>
                <a:gd name="connsiteX147" fmla="*/ 9749 w 10000"/>
                <a:gd name="connsiteY147" fmla="*/ 3167 h 10126"/>
                <a:gd name="connsiteX148" fmla="*/ 9605 w 10000"/>
                <a:gd name="connsiteY148" fmla="*/ 3216 h 10126"/>
                <a:gd name="connsiteX149" fmla="*/ 9536 w 10000"/>
                <a:gd name="connsiteY149" fmla="*/ 3258 h 10126"/>
                <a:gd name="connsiteX150" fmla="*/ 9479 w 10000"/>
                <a:gd name="connsiteY150" fmla="*/ 3294 h 10126"/>
                <a:gd name="connsiteX151" fmla="*/ 9448 w 10000"/>
                <a:gd name="connsiteY151" fmla="*/ 3313 h 10126"/>
                <a:gd name="connsiteX152" fmla="*/ 9435 w 10000"/>
                <a:gd name="connsiteY152" fmla="*/ 3331 h 10126"/>
                <a:gd name="connsiteX153" fmla="*/ 9423 w 10000"/>
                <a:gd name="connsiteY153" fmla="*/ 3354 h 10126"/>
                <a:gd name="connsiteX154" fmla="*/ 9417 w 10000"/>
                <a:gd name="connsiteY154" fmla="*/ 3372 h 10126"/>
                <a:gd name="connsiteX155" fmla="*/ 9423 w 10000"/>
                <a:gd name="connsiteY155" fmla="*/ 3583 h 10126"/>
                <a:gd name="connsiteX156" fmla="*/ 9417 w 10000"/>
                <a:gd name="connsiteY156" fmla="*/ 3824 h 10126"/>
                <a:gd name="connsiteX157" fmla="*/ 9398 w 10000"/>
                <a:gd name="connsiteY157" fmla="*/ 3884 h 10126"/>
                <a:gd name="connsiteX158" fmla="*/ 9391 w 10000"/>
                <a:gd name="connsiteY158" fmla="*/ 3950 h 10126"/>
                <a:gd name="connsiteX159" fmla="*/ 9379 w 10000"/>
                <a:gd name="connsiteY159" fmla="*/ 4004 h 10126"/>
                <a:gd name="connsiteX160" fmla="*/ 9366 w 10000"/>
                <a:gd name="connsiteY160" fmla="*/ 4059 h 10126"/>
                <a:gd name="connsiteX161" fmla="*/ 9348 w 10000"/>
                <a:gd name="connsiteY161" fmla="*/ 4108 h 10126"/>
                <a:gd name="connsiteX162" fmla="*/ 9316 w 10000"/>
                <a:gd name="connsiteY162" fmla="*/ 4156 h 10126"/>
                <a:gd name="connsiteX163" fmla="*/ 9285 w 10000"/>
                <a:gd name="connsiteY163" fmla="*/ 4192 h 10126"/>
                <a:gd name="connsiteX164" fmla="*/ 9247 w 10000"/>
                <a:gd name="connsiteY164" fmla="*/ 4222 h 10126"/>
                <a:gd name="connsiteX165" fmla="*/ 9228 w 10000"/>
                <a:gd name="connsiteY165" fmla="*/ 4240 h 10126"/>
                <a:gd name="connsiteX166" fmla="*/ 9184 w 10000"/>
                <a:gd name="connsiteY166" fmla="*/ 4246 h 10126"/>
                <a:gd name="connsiteX167" fmla="*/ 9141 w 10000"/>
                <a:gd name="connsiteY167" fmla="*/ 4252 h 10126"/>
                <a:gd name="connsiteX168" fmla="*/ 9090 w 10000"/>
                <a:gd name="connsiteY168" fmla="*/ 4258 h 10126"/>
                <a:gd name="connsiteX169" fmla="*/ 9040 w 10000"/>
                <a:gd name="connsiteY169" fmla="*/ 4264 h 10126"/>
                <a:gd name="connsiteX170" fmla="*/ 8996 w 10000"/>
                <a:gd name="connsiteY170" fmla="*/ 4283 h 10126"/>
                <a:gd name="connsiteX171" fmla="*/ 8977 w 10000"/>
                <a:gd name="connsiteY171" fmla="*/ 4289 h 10126"/>
                <a:gd name="connsiteX172" fmla="*/ 8965 w 10000"/>
                <a:gd name="connsiteY172" fmla="*/ 4307 h 10126"/>
                <a:gd name="connsiteX173" fmla="*/ 8959 w 10000"/>
                <a:gd name="connsiteY173" fmla="*/ 4319 h 10126"/>
                <a:gd name="connsiteX174" fmla="*/ 8959 w 10000"/>
                <a:gd name="connsiteY174" fmla="*/ 4337 h 10126"/>
                <a:gd name="connsiteX175" fmla="*/ 8952 w 10000"/>
                <a:gd name="connsiteY175" fmla="*/ 4408 h 10126"/>
                <a:gd name="connsiteX176" fmla="*/ 8952 w 10000"/>
                <a:gd name="connsiteY176" fmla="*/ 4493 h 10126"/>
                <a:gd name="connsiteX177" fmla="*/ 8940 w 10000"/>
                <a:gd name="connsiteY177" fmla="*/ 4583 h 10126"/>
                <a:gd name="connsiteX178" fmla="*/ 8927 w 10000"/>
                <a:gd name="connsiteY178" fmla="*/ 4667 h 10126"/>
                <a:gd name="connsiteX179" fmla="*/ 8908 w 10000"/>
                <a:gd name="connsiteY179" fmla="*/ 4753 h 10126"/>
                <a:gd name="connsiteX180" fmla="*/ 8890 w 10000"/>
                <a:gd name="connsiteY180" fmla="*/ 4831 h 10126"/>
                <a:gd name="connsiteX181" fmla="*/ 8864 w 10000"/>
                <a:gd name="connsiteY181" fmla="*/ 4902 h 10126"/>
                <a:gd name="connsiteX182" fmla="*/ 8833 w 10000"/>
                <a:gd name="connsiteY182" fmla="*/ 4969 h 10126"/>
                <a:gd name="connsiteX183" fmla="*/ 8538 w 10000"/>
                <a:gd name="connsiteY183" fmla="*/ 4480 h 10126"/>
                <a:gd name="connsiteX184" fmla="*/ 8526 w 10000"/>
                <a:gd name="connsiteY184" fmla="*/ 4505 h 10126"/>
                <a:gd name="connsiteX185" fmla="*/ 8494 w 10000"/>
                <a:gd name="connsiteY185" fmla="*/ 4559 h 10126"/>
                <a:gd name="connsiteX186" fmla="*/ 8463 w 10000"/>
                <a:gd name="connsiteY186" fmla="*/ 4589 h 10126"/>
                <a:gd name="connsiteX187" fmla="*/ 8438 w 10000"/>
                <a:gd name="connsiteY187" fmla="*/ 4613 h 10126"/>
                <a:gd name="connsiteX188" fmla="*/ 8407 w 10000"/>
                <a:gd name="connsiteY188" fmla="*/ 4631 h 10126"/>
                <a:gd name="connsiteX189" fmla="*/ 8375 w 10000"/>
                <a:gd name="connsiteY189" fmla="*/ 4637 h 10126"/>
                <a:gd name="connsiteX190" fmla="*/ 8338 w 10000"/>
                <a:gd name="connsiteY190" fmla="*/ 4631 h 10126"/>
                <a:gd name="connsiteX191" fmla="*/ 8312 w 10000"/>
                <a:gd name="connsiteY191" fmla="*/ 4625 h 10126"/>
                <a:gd name="connsiteX192" fmla="*/ 8287 w 10000"/>
                <a:gd name="connsiteY192" fmla="*/ 4607 h 10126"/>
                <a:gd name="connsiteX193" fmla="*/ 8256 w 10000"/>
                <a:gd name="connsiteY193" fmla="*/ 4589 h 10126"/>
                <a:gd name="connsiteX194" fmla="*/ 8237 w 10000"/>
                <a:gd name="connsiteY194" fmla="*/ 4559 h 10126"/>
                <a:gd name="connsiteX195" fmla="*/ 8225 w 10000"/>
                <a:gd name="connsiteY195" fmla="*/ 4535 h 10126"/>
                <a:gd name="connsiteX196" fmla="*/ 8206 w 10000"/>
                <a:gd name="connsiteY196" fmla="*/ 4511 h 10126"/>
                <a:gd name="connsiteX197" fmla="*/ 8206 w 10000"/>
                <a:gd name="connsiteY197" fmla="*/ 4480 h 10126"/>
                <a:gd name="connsiteX198" fmla="*/ 8206 w 10000"/>
                <a:gd name="connsiteY198" fmla="*/ 4444 h 10126"/>
                <a:gd name="connsiteX199" fmla="*/ 8225 w 10000"/>
                <a:gd name="connsiteY199" fmla="*/ 4408 h 10126"/>
                <a:gd name="connsiteX200" fmla="*/ 8237 w 10000"/>
                <a:gd name="connsiteY200" fmla="*/ 4372 h 10126"/>
                <a:gd name="connsiteX201" fmla="*/ 8250 w 10000"/>
                <a:gd name="connsiteY201" fmla="*/ 4337 h 10126"/>
                <a:gd name="connsiteX202" fmla="*/ 8300 w 10000"/>
                <a:gd name="connsiteY202" fmla="*/ 4270 h 10126"/>
                <a:gd name="connsiteX203" fmla="*/ 8356 w 10000"/>
                <a:gd name="connsiteY203" fmla="*/ 4204 h 10126"/>
                <a:gd name="connsiteX204" fmla="*/ 8407 w 10000"/>
                <a:gd name="connsiteY204" fmla="*/ 4144 h 10126"/>
                <a:gd name="connsiteX205" fmla="*/ 8457 w 10000"/>
                <a:gd name="connsiteY205" fmla="*/ 4078 h 10126"/>
                <a:gd name="connsiteX206" fmla="*/ 8469 w 10000"/>
                <a:gd name="connsiteY206" fmla="*/ 4041 h 10126"/>
                <a:gd name="connsiteX207" fmla="*/ 8482 w 10000"/>
                <a:gd name="connsiteY207" fmla="*/ 4010 h 10126"/>
                <a:gd name="connsiteX208" fmla="*/ 8501 w 10000"/>
                <a:gd name="connsiteY208" fmla="*/ 3968 h 10126"/>
                <a:gd name="connsiteX209" fmla="*/ 8501 w 10000"/>
                <a:gd name="connsiteY209" fmla="*/ 3932 h 10126"/>
                <a:gd name="connsiteX210" fmla="*/ 7748 w 10000"/>
                <a:gd name="connsiteY210" fmla="*/ 3932 h 10126"/>
                <a:gd name="connsiteX211" fmla="*/ 7723 w 10000"/>
                <a:gd name="connsiteY211" fmla="*/ 3926 h 10126"/>
                <a:gd name="connsiteX212" fmla="*/ 7685 w 10000"/>
                <a:gd name="connsiteY212" fmla="*/ 3908 h 10126"/>
                <a:gd name="connsiteX213" fmla="*/ 7660 w 10000"/>
                <a:gd name="connsiteY213" fmla="*/ 3872 h 10126"/>
                <a:gd name="connsiteX214" fmla="*/ 7635 w 10000"/>
                <a:gd name="connsiteY214" fmla="*/ 3836 h 10126"/>
                <a:gd name="connsiteX215" fmla="*/ 7616 w 10000"/>
                <a:gd name="connsiteY215" fmla="*/ 3788 h 10126"/>
                <a:gd name="connsiteX216" fmla="*/ 7597 w 10000"/>
                <a:gd name="connsiteY216" fmla="*/ 3740 h 10126"/>
                <a:gd name="connsiteX217" fmla="*/ 7591 w 10000"/>
                <a:gd name="connsiteY217" fmla="*/ 3686 h 10126"/>
                <a:gd name="connsiteX218" fmla="*/ 7585 w 10000"/>
                <a:gd name="connsiteY218" fmla="*/ 3631 h 10126"/>
                <a:gd name="connsiteX219" fmla="*/ 7547 w 10000"/>
                <a:gd name="connsiteY219" fmla="*/ 3631 h 10126"/>
                <a:gd name="connsiteX220" fmla="*/ 7516 w 10000"/>
                <a:gd name="connsiteY220" fmla="*/ 3625 h 10126"/>
                <a:gd name="connsiteX221" fmla="*/ 7478 w 10000"/>
                <a:gd name="connsiteY221" fmla="*/ 3619 h 10126"/>
                <a:gd name="connsiteX222" fmla="*/ 7447 w 10000"/>
                <a:gd name="connsiteY222" fmla="*/ 3607 h 10126"/>
                <a:gd name="connsiteX223" fmla="*/ 7415 w 10000"/>
                <a:gd name="connsiteY223" fmla="*/ 3589 h 10126"/>
                <a:gd name="connsiteX224" fmla="*/ 7396 w 10000"/>
                <a:gd name="connsiteY224" fmla="*/ 3571 h 10126"/>
                <a:gd name="connsiteX225" fmla="*/ 7384 w 10000"/>
                <a:gd name="connsiteY225" fmla="*/ 3541 h 10126"/>
                <a:gd name="connsiteX226" fmla="*/ 7378 w 10000"/>
                <a:gd name="connsiteY226" fmla="*/ 3517 h 10126"/>
                <a:gd name="connsiteX227" fmla="*/ 7321 w 10000"/>
                <a:gd name="connsiteY227" fmla="*/ 3517 h 10126"/>
                <a:gd name="connsiteX228" fmla="*/ 7271 w 10000"/>
                <a:gd name="connsiteY228" fmla="*/ 3517 h 10126"/>
                <a:gd name="connsiteX229" fmla="*/ 7221 w 10000"/>
                <a:gd name="connsiteY229" fmla="*/ 3517 h 10126"/>
                <a:gd name="connsiteX230" fmla="*/ 7171 w 10000"/>
                <a:gd name="connsiteY230" fmla="*/ 3517 h 10126"/>
                <a:gd name="connsiteX231" fmla="*/ 7127 w 10000"/>
                <a:gd name="connsiteY231" fmla="*/ 3523 h 10126"/>
                <a:gd name="connsiteX232" fmla="*/ 7095 w 10000"/>
                <a:gd name="connsiteY232" fmla="*/ 3529 h 10126"/>
                <a:gd name="connsiteX233" fmla="*/ 7051 w 10000"/>
                <a:gd name="connsiteY233" fmla="*/ 3547 h 10126"/>
                <a:gd name="connsiteX234" fmla="*/ 7008 w 10000"/>
                <a:gd name="connsiteY234" fmla="*/ 3571 h 10126"/>
                <a:gd name="connsiteX235" fmla="*/ 6976 w 10000"/>
                <a:gd name="connsiteY235" fmla="*/ 3601 h 10126"/>
                <a:gd name="connsiteX236" fmla="*/ 6939 w 10000"/>
                <a:gd name="connsiteY236" fmla="*/ 3631 h 10126"/>
                <a:gd name="connsiteX237" fmla="*/ 6920 w 10000"/>
                <a:gd name="connsiteY237" fmla="*/ 3668 h 10126"/>
                <a:gd name="connsiteX238" fmla="*/ 6913 w 10000"/>
                <a:gd name="connsiteY238" fmla="*/ 3704 h 10126"/>
                <a:gd name="connsiteX239" fmla="*/ 6926 w 10000"/>
                <a:gd name="connsiteY239" fmla="*/ 3728 h 10126"/>
                <a:gd name="connsiteX240" fmla="*/ 6964 w 10000"/>
                <a:gd name="connsiteY240" fmla="*/ 3758 h 10126"/>
                <a:gd name="connsiteX241" fmla="*/ 7008 w 10000"/>
                <a:gd name="connsiteY241" fmla="*/ 3794 h 10126"/>
                <a:gd name="connsiteX242" fmla="*/ 7070 w 10000"/>
                <a:gd name="connsiteY242" fmla="*/ 3830 h 10126"/>
                <a:gd name="connsiteX243" fmla="*/ 7133 w 10000"/>
                <a:gd name="connsiteY243" fmla="*/ 3866 h 10126"/>
                <a:gd name="connsiteX244" fmla="*/ 7196 w 10000"/>
                <a:gd name="connsiteY244" fmla="*/ 3896 h 10126"/>
                <a:gd name="connsiteX245" fmla="*/ 7252 w 10000"/>
                <a:gd name="connsiteY245" fmla="*/ 3920 h 10126"/>
                <a:gd name="connsiteX246" fmla="*/ 7290 w 10000"/>
                <a:gd name="connsiteY246" fmla="*/ 3932 h 10126"/>
                <a:gd name="connsiteX247" fmla="*/ 7208 w 10000"/>
                <a:gd name="connsiteY247" fmla="*/ 3992 h 10126"/>
                <a:gd name="connsiteX248" fmla="*/ 7114 w 10000"/>
                <a:gd name="connsiteY248" fmla="*/ 4066 h 10126"/>
                <a:gd name="connsiteX249" fmla="*/ 7070 w 10000"/>
                <a:gd name="connsiteY249" fmla="*/ 4102 h 10126"/>
                <a:gd name="connsiteX250" fmla="*/ 7033 w 10000"/>
                <a:gd name="connsiteY250" fmla="*/ 4144 h 10126"/>
                <a:gd name="connsiteX251" fmla="*/ 7020 w 10000"/>
                <a:gd name="connsiteY251" fmla="*/ 4162 h 10126"/>
                <a:gd name="connsiteX252" fmla="*/ 7008 w 10000"/>
                <a:gd name="connsiteY252" fmla="*/ 4180 h 10126"/>
                <a:gd name="connsiteX253" fmla="*/ 7001 w 10000"/>
                <a:gd name="connsiteY253" fmla="*/ 4204 h 10126"/>
                <a:gd name="connsiteX254" fmla="*/ 6995 w 10000"/>
                <a:gd name="connsiteY254" fmla="*/ 4222 h 10126"/>
                <a:gd name="connsiteX255" fmla="*/ 7001 w 10000"/>
                <a:gd name="connsiteY255" fmla="*/ 4252 h 10126"/>
                <a:gd name="connsiteX256" fmla="*/ 7008 w 10000"/>
                <a:gd name="connsiteY256" fmla="*/ 4270 h 10126"/>
                <a:gd name="connsiteX257" fmla="*/ 7026 w 10000"/>
                <a:gd name="connsiteY257" fmla="*/ 4295 h 10126"/>
                <a:gd name="connsiteX258" fmla="*/ 7039 w 10000"/>
                <a:gd name="connsiteY258" fmla="*/ 4319 h 10126"/>
                <a:gd name="connsiteX259" fmla="*/ 7089 w 10000"/>
                <a:gd name="connsiteY259" fmla="*/ 4366 h 10126"/>
                <a:gd name="connsiteX260" fmla="*/ 7146 w 10000"/>
                <a:gd name="connsiteY260" fmla="*/ 4414 h 10126"/>
                <a:gd name="connsiteX261" fmla="*/ 7208 w 10000"/>
                <a:gd name="connsiteY261" fmla="*/ 4456 h 10126"/>
                <a:gd name="connsiteX262" fmla="*/ 7277 w 10000"/>
                <a:gd name="connsiteY262" fmla="*/ 4493 h 10126"/>
                <a:gd name="connsiteX263" fmla="*/ 7315 w 10000"/>
                <a:gd name="connsiteY263" fmla="*/ 4505 h 10126"/>
                <a:gd name="connsiteX264" fmla="*/ 7346 w 10000"/>
                <a:gd name="connsiteY264" fmla="*/ 4511 h 10126"/>
                <a:gd name="connsiteX265" fmla="*/ 7384 w 10000"/>
                <a:gd name="connsiteY265" fmla="*/ 4517 h 10126"/>
                <a:gd name="connsiteX266" fmla="*/ 7415 w 10000"/>
                <a:gd name="connsiteY266" fmla="*/ 4523 h 10126"/>
                <a:gd name="connsiteX267" fmla="*/ 7585 w 10000"/>
                <a:gd name="connsiteY267" fmla="*/ 5150 h 10126"/>
                <a:gd name="connsiteX268" fmla="*/ 7491 w 10000"/>
                <a:gd name="connsiteY268" fmla="*/ 5150 h 10126"/>
                <a:gd name="connsiteX269" fmla="*/ 7403 w 10000"/>
                <a:gd name="connsiteY269" fmla="*/ 5150 h 10126"/>
                <a:gd name="connsiteX270" fmla="*/ 7321 w 10000"/>
                <a:gd name="connsiteY270" fmla="*/ 5150 h 10126"/>
                <a:gd name="connsiteX271" fmla="*/ 7252 w 10000"/>
                <a:gd name="connsiteY271" fmla="*/ 5150 h 10126"/>
                <a:gd name="connsiteX272" fmla="*/ 7208 w 10000"/>
                <a:gd name="connsiteY272" fmla="*/ 5144 h 10126"/>
                <a:gd name="connsiteX273" fmla="*/ 7164 w 10000"/>
                <a:gd name="connsiteY273" fmla="*/ 5113 h 10126"/>
                <a:gd name="connsiteX274" fmla="*/ 7133 w 10000"/>
                <a:gd name="connsiteY274" fmla="*/ 5101 h 10126"/>
                <a:gd name="connsiteX275" fmla="*/ 7102 w 10000"/>
                <a:gd name="connsiteY275" fmla="*/ 5089 h 10126"/>
                <a:gd name="connsiteX276" fmla="*/ 7070 w 10000"/>
                <a:gd name="connsiteY276" fmla="*/ 5083 h 10126"/>
                <a:gd name="connsiteX277" fmla="*/ 7039 w 10000"/>
                <a:gd name="connsiteY277" fmla="*/ 5077 h 10126"/>
                <a:gd name="connsiteX278" fmla="*/ 7008 w 10000"/>
                <a:gd name="connsiteY278" fmla="*/ 5089 h 10126"/>
                <a:gd name="connsiteX279" fmla="*/ 6957 w 10000"/>
                <a:gd name="connsiteY279" fmla="*/ 5119 h 10126"/>
                <a:gd name="connsiteX280" fmla="*/ 6895 w 10000"/>
                <a:gd name="connsiteY280" fmla="*/ 5162 h 10126"/>
                <a:gd name="connsiteX281" fmla="*/ 6819 w 10000"/>
                <a:gd name="connsiteY281" fmla="*/ 5210 h 10126"/>
                <a:gd name="connsiteX282" fmla="*/ 6744 w 10000"/>
                <a:gd name="connsiteY282" fmla="*/ 5270 h 10126"/>
                <a:gd name="connsiteX283" fmla="*/ 6681 w 10000"/>
                <a:gd name="connsiteY283" fmla="*/ 5318 h 10126"/>
                <a:gd name="connsiteX284" fmla="*/ 6637 w 10000"/>
                <a:gd name="connsiteY284" fmla="*/ 5354 h 10126"/>
                <a:gd name="connsiteX285" fmla="*/ 6625 w 10000"/>
                <a:gd name="connsiteY285" fmla="*/ 5378 h 10126"/>
                <a:gd name="connsiteX286" fmla="*/ 6750 w 10000"/>
                <a:gd name="connsiteY286" fmla="*/ 5450 h 10126"/>
                <a:gd name="connsiteX287" fmla="*/ 6744 w 10000"/>
                <a:gd name="connsiteY287" fmla="*/ 5487 h 10126"/>
                <a:gd name="connsiteX288" fmla="*/ 6725 w 10000"/>
                <a:gd name="connsiteY288" fmla="*/ 5529 h 10126"/>
                <a:gd name="connsiteX289" fmla="*/ 6706 w 10000"/>
                <a:gd name="connsiteY289" fmla="*/ 5560 h 10126"/>
                <a:gd name="connsiteX290" fmla="*/ 6688 w 10000"/>
                <a:gd name="connsiteY290" fmla="*/ 5602 h 10126"/>
                <a:gd name="connsiteX291" fmla="*/ 6637 w 10000"/>
                <a:gd name="connsiteY291" fmla="*/ 5656 h 10126"/>
                <a:gd name="connsiteX292" fmla="*/ 6581 w 10000"/>
                <a:gd name="connsiteY292" fmla="*/ 5710 h 10126"/>
                <a:gd name="connsiteX293" fmla="*/ 6518 w 10000"/>
                <a:gd name="connsiteY293" fmla="*/ 5758 h 10126"/>
                <a:gd name="connsiteX294" fmla="*/ 6443 w 10000"/>
                <a:gd name="connsiteY294" fmla="*/ 5801 h 10126"/>
                <a:gd name="connsiteX295" fmla="*/ 6374 w 10000"/>
                <a:gd name="connsiteY295" fmla="*/ 5837 h 10126"/>
                <a:gd name="connsiteX296" fmla="*/ 6299 w 10000"/>
                <a:gd name="connsiteY296" fmla="*/ 5872 h 10126"/>
                <a:gd name="connsiteX297" fmla="*/ 6223 w 10000"/>
                <a:gd name="connsiteY297" fmla="*/ 5920 h 10126"/>
                <a:gd name="connsiteX298" fmla="*/ 6154 w 10000"/>
                <a:gd name="connsiteY298" fmla="*/ 5956 h 10126"/>
                <a:gd name="connsiteX299" fmla="*/ 6092 w 10000"/>
                <a:gd name="connsiteY299" fmla="*/ 5999 h 10126"/>
                <a:gd name="connsiteX300" fmla="*/ 6035 w 10000"/>
                <a:gd name="connsiteY300" fmla="*/ 6047 h 10126"/>
                <a:gd name="connsiteX301" fmla="*/ 6004 w 10000"/>
                <a:gd name="connsiteY301" fmla="*/ 6071 h 10126"/>
                <a:gd name="connsiteX302" fmla="*/ 5985 w 10000"/>
                <a:gd name="connsiteY302" fmla="*/ 6095 h 10126"/>
                <a:gd name="connsiteX303" fmla="*/ 5966 w 10000"/>
                <a:gd name="connsiteY303" fmla="*/ 6125 h 10126"/>
                <a:gd name="connsiteX304" fmla="*/ 5947 w 10000"/>
                <a:gd name="connsiteY304" fmla="*/ 6155 h 10126"/>
                <a:gd name="connsiteX305" fmla="*/ 5935 w 10000"/>
                <a:gd name="connsiteY305" fmla="*/ 6193 h 10126"/>
                <a:gd name="connsiteX306" fmla="*/ 5922 w 10000"/>
                <a:gd name="connsiteY306" fmla="*/ 6223 h 10126"/>
                <a:gd name="connsiteX307" fmla="*/ 5916 w 10000"/>
                <a:gd name="connsiteY307" fmla="*/ 6265 h 10126"/>
                <a:gd name="connsiteX308" fmla="*/ 5916 w 10000"/>
                <a:gd name="connsiteY308" fmla="*/ 6307 h 10126"/>
                <a:gd name="connsiteX309" fmla="*/ 5859 w 10000"/>
                <a:gd name="connsiteY309" fmla="*/ 6325 h 10126"/>
                <a:gd name="connsiteX310" fmla="*/ 5809 w 10000"/>
                <a:gd name="connsiteY310" fmla="*/ 6343 h 10126"/>
                <a:gd name="connsiteX311" fmla="*/ 5765 w 10000"/>
                <a:gd name="connsiteY311" fmla="*/ 6366 h 10126"/>
                <a:gd name="connsiteX312" fmla="*/ 5721 w 10000"/>
                <a:gd name="connsiteY312" fmla="*/ 6390 h 10126"/>
                <a:gd name="connsiteX313" fmla="*/ 5634 w 10000"/>
                <a:gd name="connsiteY313" fmla="*/ 6451 h 10126"/>
                <a:gd name="connsiteX314" fmla="*/ 5558 w 10000"/>
                <a:gd name="connsiteY314" fmla="*/ 6523 h 10126"/>
                <a:gd name="connsiteX315" fmla="*/ 5420 w 10000"/>
                <a:gd name="connsiteY315" fmla="*/ 6686 h 10126"/>
                <a:gd name="connsiteX316" fmla="*/ 5289 w 10000"/>
                <a:gd name="connsiteY316" fmla="*/ 6860 h 10126"/>
                <a:gd name="connsiteX317" fmla="*/ 5220 w 10000"/>
                <a:gd name="connsiteY317" fmla="*/ 6951 h 10126"/>
                <a:gd name="connsiteX318" fmla="*/ 5151 w 10000"/>
                <a:gd name="connsiteY318" fmla="*/ 7029 h 10126"/>
                <a:gd name="connsiteX319" fmla="*/ 5075 w 10000"/>
                <a:gd name="connsiteY319" fmla="*/ 7102 h 10126"/>
                <a:gd name="connsiteX320" fmla="*/ 4994 w 10000"/>
                <a:gd name="connsiteY320" fmla="*/ 7168 h 10126"/>
                <a:gd name="connsiteX321" fmla="*/ 4944 w 10000"/>
                <a:gd name="connsiteY321" fmla="*/ 7198 h 10126"/>
                <a:gd name="connsiteX322" fmla="*/ 4893 w 10000"/>
                <a:gd name="connsiteY322" fmla="*/ 7222 h 10126"/>
                <a:gd name="connsiteX323" fmla="*/ 4849 w 10000"/>
                <a:gd name="connsiteY323" fmla="*/ 7246 h 10126"/>
                <a:gd name="connsiteX324" fmla="*/ 4793 w 10000"/>
                <a:gd name="connsiteY324" fmla="*/ 7271 h 10126"/>
                <a:gd name="connsiteX325" fmla="*/ 4730 w 10000"/>
                <a:gd name="connsiteY325" fmla="*/ 7289 h 10126"/>
                <a:gd name="connsiteX326" fmla="*/ 4674 w 10000"/>
                <a:gd name="connsiteY326" fmla="*/ 7301 h 10126"/>
                <a:gd name="connsiteX327" fmla="*/ 4605 w 10000"/>
                <a:gd name="connsiteY327" fmla="*/ 7307 h 10126"/>
                <a:gd name="connsiteX328" fmla="*/ 4536 w 10000"/>
                <a:gd name="connsiteY328" fmla="*/ 7307 h 10126"/>
                <a:gd name="connsiteX329" fmla="*/ 4536 w 10000"/>
                <a:gd name="connsiteY329" fmla="*/ 7360 h 10126"/>
                <a:gd name="connsiteX330" fmla="*/ 4536 w 10000"/>
                <a:gd name="connsiteY330" fmla="*/ 7414 h 10126"/>
                <a:gd name="connsiteX331" fmla="*/ 4536 w 10000"/>
                <a:gd name="connsiteY331" fmla="*/ 7456 h 10126"/>
                <a:gd name="connsiteX332" fmla="*/ 4536 w 10000"/>
                <a:gd name="connsiteY332" fmla="*/ 7493 h 10126"/>
                <a:gd name="connsiteX333" fmla="*/ 4536 w 10000"/>
                <a:gd name="connsiteY333" fmla="*/ 7559 h 10126"/>
                <a:gd name="connsiteX334" fmla="*/ 4536 w 10000"/>
                <a:gd name="connsiteY334" fmla="*/ 7662 h 10126"/>
                <a:gd name="connsiteX335" fmla="*/ 4536 w 10000"/>
                <a:gd name="connsiteY335" fmla="*/ 7771 h 10126"/>
                <a:gd name="connsiteX336" fmla="*/ 4548 w 10000"/>
                <a:gd name="connsiteY336" fmla="*/ 7884 h 10126"/>
                <a:gd name="connsiteX337" fmla="*/ 4561 w 10000"/>
                <a:gd name="connsiteY337" fmla="*/ 7945 h 10126"/>
                <a:gd name="connsiteX338" fmla="*/ 4573 w 10000"/>
                <a:gd name="connsiteY338" fmla="*/ 7999 h 10126"/>
                <a:gd name="connsiteX339" fmla="*/ 4586 w 10000"/>
                <a:gd name="connsiteY339" fmla="*/ 8047 h 10126"/>
                <a:gd name="connsiteX340" fmla="*/ 4611 w 10000"/>
                <a:gd name="connsiteY340" fmla="*/ 8089 h 10126"/>
                <a:gd name="connsiteX341" fmla="*/ 4636 w 10000"/>
                <a:gd name="connsiteY341" fmla="*/ 8132 h 10126"/>
                <a:gd name="connsiteX342" fmla="*/ 4668 w 10000"/>
                <a:gd name="connsiteY342" fmla="*/ 8162 h 10126"/>
                <a:gd name="connsiteX343" fmla="*/ 4705 w 10000"/>
                <a:gd name="connsiteY343" fmla="*/ 8186 h 10126"/>
                <a:gd name="connsiteX344" fmla="*/ 4749 w 10000"/>
                <a:gd name="connsiteY344" fmla="*/ 8198 h 10126"/>
                <a:gd name="connsiteX345" fmla="*/ 4711 w 10000"/>
                <a:gd name="connsiteY345" fmla="*/ 8294 h 10126"/>
                <a:gd name="connsiteX346" fmla="*/ 4668 w 10000"/>
                <a:gd name="connsiteY346" fmla="*/ 8379 h 10126"/>
                <a:gd name="connsiteX347" fmla="*/ 4617 w 10000"/>
                <a:gd name="connsiteY347" fmla="*/ 8457 h 10126"/>
                <a:gd name="connsiteX348" fmla="*/ 4573 w 10000"/>
                <a:gd name="connsiteY348" fmla="*/ 8529 h 10126"/>
                <a:gd name="connsiteX349" fmla="*/ 4523 w 10000"/>
                <a:gd name="connsiteY349" fmla="*/ 8614 h 10126"/>
                <a:gd name="connsiteX350" fmla="*/ 4492 w 10000"/>
                <a:gd name="connsiteY350" fmla="*/ 8692 h 10126"/>
                <a:gd name="connsiteX351" fmla="*/ 4473 w 10000"/>
                <a:gd name="connsiteY351" fmla="*/ 8728 h 10126"/>
                <a:gd name="connsiteX352" fmla="*/ 4467 w 10000"/>
                <a:gd name="connsiteY352" fmla="*/ 8771 h 10126"/>
                <a:gd name="connsiteX353" fmla="*/ 4460 w 10000"/>
                <a:gd name="connsiteY353" fmla="*/ 8819 h 10126"/>
                <a:gd name="connsiteX354" fmla="*/ 4454 w 10000"/>
                <a:gd name="connsiteY354" fmla="*/ 8861 h 10126"/>
                <a:gd name="connsiteX355" fmla="*/ 4460 w 10000"/>
                <a:gd name="connsiteY355" fmla="*/ 8878 h 10126"/>
                <a:gd name="connsiteX356" fmla="*/ 4467 w 10000"/>
                <a:gd name="connsiteY356" fmla="*/ 8890 h 10126"/>
                <a:gd name="connsiteX357" fmla="*/ 4479 w 10000"/>
                <a:gd name="connsiteY357" fmla="*/ 8902 h 10126"/>
                <a:gd name="connsiteX358" fmla="*/ 4504 w 10000"/>
                <a:gd name="connsiteY358" fmla="*/ 8914 h 10126"/>
                <a:gd name="connsiteX359" fmla="*/ 4542 w 10000"/>
                <a:gd name="connsiteY359" fmla="*/ 8938 h 10126"/>
                <a:gd name="connsiteX360" fmla="*/ 4580 w 10000"/>
                <a:gd name="connsiteY360" fmla="*/ 8944 h 10126"/>
                <a:gd name="connsiteX361" fmla="*/ 4580 w 10000"/>
                <a:gd name="connsiteY361" fmla="*/ 9162 h 10126"/>
                <a:gd name="connsiteX362" fmla="*/ 4529 w 10000"/>
                <a:gd name="connsiteY362" fmla="*/ 9247 h 10126"/>
                <a:gd name="connsiteX363" fmla="*/ 4492 w 10000"/>
                <a:gd name="connsiteY363" fmla="*/ 9337 h 10126"/>
                <a:gd name="connsiteX364" fmla="*/ 4460 w 10000"/>
                <a:gd name="connsiteY364" fmla="*/ 9372 h 10126"/>
                <a:gd name="connsiteX365" fmla="*/ 4429 w 10000"/>
                <a:gd name="connsiteY365" fmla="*/ 9397 h 10126"/>
                <a:gd name="connsiteX366" fmla="*/ 4404 w 10000"/>
                <a:gd name="connsiteY366" fmla="*/ 9409 h 10126"/>
                <a:gd name="connsiteX367" fmla="*/ 4385 w 10000"/>
                <a:gd name="connsiteY367" fmla="*/ 9415 h 10126"/>
                <a:gd name="connsiteX368" fmla="*/ 4360 w 10000"/>
                <a:gd name="connsiteY368" fmla="*/ 9421 h 10126"/>
                <a:gd name="connsiteX369" fmla="*/ 4329 w 10000"/>
                <a:gd name="connsiteY369" fmla="*/ 9421 h 10126"/>
                <a:gd name="connsiteX370" fmla="*/ 4329 w 10000"/>
                <a:gd name="connsiteY370" fmla="*/ 9469 h 10126"/>
                <a:gd name="connsiteX371" fmla="*/ 4335 w 10000"/>
                <a:gd name="connsiteY371" fmla="*/ 9529 h 10126"/>
                <a:gd name="connsiteX372" fmla="*/ 4348 w 10000"/>
                <a:gd name="connsiteY372" fmla="*/ 9559 h 10126"/>
                <a:gd name="connsiteX373" fmla="*/ 4354 w 10000"/>
                <a:gd name="connsiteY373" fmla="*/ 9583 h 10126"/>
                <a:gd name="connsiteX374" fmla="*/ 4360 w 10000"/>
                <a:gd name="connsiteY374" fmla="*/ 9602 h 10126"/>
                <a:gd name="connsiteX375" fmla="*/ 4373 w 10000"/>
                <a:gd name="connsiteY375" fmla="*/ 9608 h 10126"/>
                <a:gd name="connsiteX376" fmla="*/ 4210 w 10000"/>
                <a:gd name="connsiteY376" fmla="*/ 9734 h 10126"/>
                <a:gd name="connsiteX377" fmla="*/ 4072 w 10000"/>
                <a:gd name="connsiteY377" fmla="*/ 9838 h 10126"/>
                <a:gd name="connsiteX378" fmla="*/ 4009 w 10000"/>
                <a:gd name="connsiteY378" fmla="*/ 9897 h 10126"/>
                <a:gd name="connsiteX379" fmla="*/ 3952 w 10000"/>
                <a:gd name="connsiteY379" fmla="*/ 9963 h 10126"/>
                <a:gd name="connsiteX380" fmla="*/ 3890 w 10000"/>
                <a:gd name="connsiteY380" fmla="*/ 10042 h 10126"/>
                <a:gd name="connsiteX381" fmla="*/ 3833 w 10000"/>
                <a:gd name="connsiteY381" fmla="*/ 10126 h 10126"/>
                <a:gd name="connsiteX382" fmla="*/ 3733 w 10000"/>
                <a:gd name="connsiteY382" fmla="*/ 10084 h 10126"/>
                <a:gd name="connsiteX383" fmla="*/ 3664 w 10000"/>
                <a:gd name="connsiteY383" fmla="*/ 10042 h 10126"/>
                <a:gd name="connsiteX384" fmla="*/ 3607 w 10000"/>
                <a:gd name="connsiteY384" fmla="*/ 9999 h 10126"/>
                <a:gd name="connsiteX385" fmla="*/ 3563 w 10000"/>
                <a:gd name="connsiteY385" fmla="*/ 9951 h 10126"/>
                <a:gd name="connsiteX386" fmla="*/ 3532 w 10000"/>
                <a:gd name="connsiteY386" fmla="*/ 9891 h 10126"/>
                <a:gd name="connsiteX387" fmla="*/ 3513 w 10000"/>
                <a:gd name="connsiteY387" fmla="*/ 9832 h 10126"/>
                <a:gd name="connsiteX388" fmla="*/ 3482 w 10000"/>
                <a:gd name="connsiteY388" fmla="*/ 9758 h 10126"/>
                <a:gd name="connsiteX389" fmla="*/ 3457 w 10000"/>
                <a:gd name="connsiteY389" fmla="*/ 9686 h 10126"/>
                <a:gd name="connsiteX390" fmla="*/ 3400 w 10000"/>
                <a:gd name="connsiteY390" fmla="*/ 9547 h 10126"/>
                <a:gd name="connsiteX391" fmla="*/ 3325 w 10000"/>
                <a:gd name="connsiteY391" fmla="*/ 9415 h 10126"/>
                <a:gd name="connsiteX392" fmla="*/ 3237 w 10000"/>
                <a:gd name="connsiteY392" fmla="*/ 9277 h 10126"/>
                <a:gd name="connsiteX393" fmla="*/ 3143 w 10000"/>
                <a:gd name="connsiteY393" fmla="*/ 9132 h 10126"/>
                <a:gd name="connsiteX394" fmla="*/ 3049 w 10000"/>
                <a:gd name="connsiteY394" fmla="*/ 8999 h 10126"/>
                <a:gd name="connsiteX395" fmla="*/ 2967 w 10000"/>
                <a:gd name="connsiteY395" fmla="*/ 8867 h 10126"/>
                <a:gd name="connsiteX396" fmla="*/ 2892 w 10000"/>
                <a:gd name="connsiteY396" fmla="*/ 8747 h 10126"/>
                <a:gd name="connsiteX397" fmla="*/ 2829 w 10000"/>
                <a:gd name="connsiteY397" fmla="*/ 8644 h 10126"/>
                <a:gd name="connsiteX398" fmla="*/ 2773 w 10000"/>
                <a:gd name="connsiteY398" fmla="*/ 8529 h 10126"/>
                <a:gd name="connsiteX399" fmla="*/ 2735 w 10000"/>
                <a:gd name="connsiteY399" fmla="*/ 8427 h 10126"/>
                <a:gd name="connsiteX400" fmla="*/ 2698 w 10000"/>
                <a:gd name="connsiteY400" fmla="*/ 8319 h 10126"/>
                <a:gd name="connsiteX401" fmla="*/ 2666 w 10000"/>
                <a:gd name="connsiteY401" fmla="*/ 8210 h 10126"/>
                <a:gd name="connsiteX402" fmla="*/ 2629 w 10000"/>
                <a:gd name="connsiteY402" fmla="*/ 8101 h 10126"/>
                <a:gd name="connsiteX403" fmla="*/ 2597 w 10000"/>
                <a:gd name="connsiteY403" fmla="*/ 7993 h 10126"/>
                <a:gd name="connsiteX404" fmla="*/ 2553 w 10000"/>
                <a:gd name="connsiteY404" fmla="*/ 7872 h 10126"/>
                <a:gd name="connsiteX405" fmla="*/ 2497 w 10000"/>
                <a:gd name="connsiteY405" fmla="*/ 7753 h 10126"/>
                <a:gd name="connsiteX406" fmla="*/ 2359 w 10000"/>
                <a:gd name="connsiteY406" fmla="*/ 7559 h 10126"/>
                <a:gd name="connsiteX407" fmla="*/ 2208 w 10000"/>
                <a:gd name="connsiteY407" fmla="*/ 7378 h 10126"/>
                <a:gd name="connsiteX408" fmla="*/ 2139 w 10000"/>
                <a:gd name="connsiteY408" fmla="*/ 7295 h 10126"/>
                <a:gd name="connsiteX409" fmla="*/ 2070 w 10000"/>
                <a:gd name="connsiteY409" fmla="*/ 7198 h 10126"/>
                <a:gd name="connsiteX410" fmla="*/ 2008 w 10000"/>
                <a:gd name="connsiteY410" fmla="*/ 7108 h 10126"/>
                <a:gd name="connsiteX411" fmla="*/ 1957 w 10000"/>
                <a:gd name="connsiteY411" fmla="*/ 7011 h 10126"/>
                <a:gd name="connsiteX412" fmla="*/ 1888 w 10000"/>
                <a:gd name="connsiteY412" fmla="*/ 6776 h 10126"/>
                <a:gd name="connsiteX413" fmla="*/ 1832 w 10000"/>
                <a:gd name="connsiteY413" fmla="*/ 6559 h 10126"/>
                <a:gd name="connsiteX414" fmla="*/ 1782 w 10000"/>
                <a:gd name="connsiteY414" fmla="*/ 6349 h 10126"/>
                <a:gd name="connsiteX415" fmla="*/ 1757 w 10000"/>
                <a:gd name="connsiteY415" fmla="*/ 6137 h 10126"/>
                <a:gd name="connsiteX416" fmla="*/ 1725 w 10000"/>
                <a:gd name="connsiteY416" fmla="*/ 5932 h 10126"/>
                <a:gd name="connsiteX417" fmla="*/ 1713 w 10000"/>
                <a:gd name="connsiteY417" fmla="*/ 5716 h 10126"/>
                <a:gd name="connsiteX418" fmla="*/ 1706 w 10000"/>
                <a:gd name="connsiteY418" fmla="*/ 5493 h 10126"/>
                <a:gd name="connsiteX419" fmla="*/ 1706 w 10000"/>
                <a:gd name="connsiteY419" fmla="*/ 5270 h 10126"/>
                <a:gd name="connsiteX420" fmla="*/ 1681 w 10000"/>
                <a:gd name="connsiteY420" fmla="*/ 5264 h 10126"/>
                <a:gd name="connsiteX421" fmla="*/ 1650 w 10000"/>
                <a:gd name="connsiteY421" fmla="*/ 5258 h 10126"/>
                <a:gd name="connsiteX422" fmla="*/ 1625 w 10000"/>
                <a:gd name="connsiteY422" fmla="*/ 5252 h 10126"/>
                <a:gd name="connsiteX423" fmla="*/ 1606 w 10000"/>
                <a:gd name="connsiteY423" fmla="*/ 5228 h 10126"/>
                <a:gd name="connsiteX424" fmla="*/ 1581 w 10000"/>
                <a:gd name="connsiteY424" fmla="*/ 5216 h 10126"/>
                <a:gd name="connsiteX425" fmla="*/ 1568 w 10000"/>
                <a:gd name="connsiteY425" fmla="*/ 5198 h 10126"/>
                <a:gd name="connsiteX426" fmla="*/ 1550 w 10000"/>
                <a:gd name="connsiteY426" fmla="*/ 5174 h 10126"/>
                <a:gd name="connsiteX427" fmla="*/ 1543 w 10000"/>
                <a:gd name="connsiteY427" fmla="*/ 5150 h 10126"/>
                <a:gd name="connsiteX428" fmla="*/ 1518 w 10000"/>
                <a:gd name="connsiteY428" fmla="*/ 5101 h 10126"/>
                <a:gd name="connsiteX429" fmla="*/ 1506 w 10000"/>
                <a:gd name="connsiteY429" fmla="*/ 5047 h 10126"/>
                <a:gd name="connsiteX430" fmla="*/ 1499 w 10000"/>
                <a:gd name="connsiteY430" fmla="*/ 4987 h 10126"/>
                <a:gd name="connsiteX431" fmla="*/ 1499 w 10000"/>
                <a:gd name="connsiteY431" fmla="*/ 4933 h 10126"/>
                <a:gd name="connsiteX432" fmla="*/ 1443 w 10000"/>
                <a:gd name="connsiteY432" fmla="*/ 4969 h 10126"/>
                <a:gd name="connsiteX433" fmla="*/ 1405 w 10000"/>
                <a:gd name="connsiteY433" fmla="*/ 5011 h 10126"/>
                <a:gd name="connsiteX434" fmla="*/ 1361 w 10000"/>
                <a:gd name="connsiteY434" fmla="*/ 5053 h 10126"/>
                <a:gd name="connsiteX435" fmla="*/ 1317 w 10000"/>
                <a:gd name="connsiteY435" fmla="*/ 5101 h 10126"/>
                <a:gd name="connsiteX436" fmla="*/ 1261 w 10000"/>
                <a:gd name="connsiteY436" fmla="*/ 5198 h 10126"/>
                <a:gd name="connsiteX437" fmla="*/ 1205 w 10000"/>
                <a:gd name="connsiteY437" fmla="*/ 5300 h 10126"/>
                <a:gd name="connsiteX438" fmla="*/ 1167 w 10000"/>
                <a:gd name="connsiteY438" fmla="*/ 5343 h 10126"/>
                <a:gd name="connsiteX439" fmla="*/ 1142 w 10000"/>
                <a:gd name="connsiteY439" fmla="*/ 5384 h 10126"/>
                <a:gd name="connsiteX440" fmla="*/ 1104 w 10000"/>
                <a:gd name="connsiteY440" fmla="*/ 5426 h 10126"/>
                <a:gd name="connsiteX441" fmla="*/ 1073 w 10000"/>
                <a:gd name="connsiteY441" fmla="*/ 5456 h 10126"/>
                <a:gd name="connsiteX442" fmla="*/ 1029 w 10000"/>
                <a:gd name="connsiteY442" fmla="*/ 5487 h 10126"/>
                <a:gd name="connsiteX443" fmla="*/ 985 w 10000"/>
                <a:gd name="connsiteY443" fmla="*/ 5505 h 10126"/>
                <a:gd name="connsiteX444" fmla="*/ 928 w 10000"/>
                <a:gd name="connsiteY444" fmla="*/ 5517 h 10126"/>
                <a:gd name="connsiteX445" fmla="*/ 872 w 10000"/>
                <a:gd name="connsiteY445" fmla="*/ 5523 h 10126"/>
                <a:gd name="connsiteX446" fmla="*/ 841 w 10000"/>
                <a:gd name="connsiteY446" fmla="*/ 5517 h 10126"/>
                <a:gd name="connsiteX447" fmla="*/ 797 w 10000"/>
                <a:gd name="connsiteY447" fmla="*/ 5505 h 10126"/>
                <a:gd name="connsiteX448" fmla="*/ 753 w 10000"/>
                <a:gd name="connsiteY448" fmla="*/ 5487 h 10126"/>
                <a:gd name="connsiteX449" fmla="*/ 709 w 10000"/>
                <a:gd name="connsiteY449" fmla="*/ 5456 h 10126"/>
                <a:gd name="connsiteX450" fmla="*/ 659 w 10000"/>
                <a:gd name="connsiteY450" fmla="*/ 5420 h 10126"/>
                <a:gd name="connsiteX451" fmla="*/ 609 w 10000"/>
                <a:gd name="connsiteY451" fmla="*/ 5384 h 10126"/>
                <a:gd name="connsiteX452" fmla="*/ 565 w 10000"/>
                <a:gd name="connsiteY452" fmla="*/ 5343 h 10126"/>
                <a:gd name="connsiteX453" fmla="*/ 514 w 10000"/>
                <a:gd name="connsiteY453" fmla="*/ 5294 h 10126"/>
                <a:gd name="connsiteX454" fmla="*/ 471 w 10000"/>
                <a:gd name="connsiteY454" fmla="*/ 5246 h 10126"/>
                <a:gd name="connsiteX455" fmla="*/ 433 w 10000"/>
                <a:gd name="connsiteY455" fmla="*/ 5192 h 10126"/>
                <a:gd name="connsiteX456" fmla="*/ 389 w 10000"/>
                <a:gd name="connsiteY456" fmla="*/ 5138 h 10126"/>
                <a:gd name="connsiteX457" fmla="*/ 358 w 10000"/>
                <a:gd name="connsiteY457" fmla="*/ 5083 h 10126"/>
                <a:gd name="connsiteX458" fmla="*/ 326 w 10000"/>
                <a:gd name="connsiteY458" fmla="*/ 5035 h 10126"/>
                <a:gd name="connsiteX459" fmla="*/ 307 w 10000"/>
                <a:gd name="connsiteY459" fmla="*/ 4987 h 10126"/>
                <a:gd name="connsiteX460" fmla="*/ 295 w 10000"/>
                <a:gd name="connsiteY460" fmla="*/ 4939 h 10126"/>
                <a:gd name="connsiteX461" fmla="*/ 289 w 10000"/>
                <a:gd name="connsiteY461" fmla="*/ 4890 h 10126"/>
                <a:gd name="connsiteX462" fmla="*/ 320 w 10000"/>
                <a:gd name="connsiteY462" fmla="*/ 4872 h 10126"/>
                <a:gd name="connsiteX463" fmla="*/ 395 w 10000"/>
                <a:gd name="connsiteY463" fmla="*/ 4837 h 10126"/>
                <a:gd name="connsiteX464" fmla="*/ 483 w 10000"/>
                <a:gd name="connsiteY464" fmla="*/ 4801 h 10126"/>
                <a:gd name="connsiteX465" fmla="*/ 533 w 10000"/>
                <a:gd name="connsiteY465" fmla="*/ 4783 h 10126"/>
                <a:gd name="connsiteX466" fmla="*/ 483 w 10000"/>
                <a:gd name="connsiteY466" fmla="*/ 4783 h 10126"/>
                <a:gd name="connsiteX467" fmla="*/ 420 w 10000"/>
                <a:gd name="connsiteY467" fmla="*/ 4777 h 10126"/>
                <a:gd name="connsiteX468" fmla="*/ 370 w 10000"/>
                <a:gd name="connsiteY468" fmla="*/ 4765 h 10126"/>
                <a:gd name="connsiteX469" fmla="*/ 320 w 10000"/>
                <a:gd name="connsiteY469" fmla="*/ 4759 h 10126"/>
                <a:gd name="connsiteX470" fmla="*/ 276 w 10000"/>
                <a:gd name="connsiteY470" fmla="*/ 4740 h 10126"/>
                <a:gd name="connsiteX471" fmla="*/ 232 w 10000"/>
                <a:gd name="connsiteY471" fmla="*/ 4728 h 10126"/>
                <a:gd name="connsiteX472" fmla="*/ 188 w 10000"/>
                <a:gd name="connsiteY472" fmla="*/ 4710 h 10126"/>
                <a:gd name="connsiteX473" fmla="*/ 157 w 10000"/>
                <a:gd name="connsiteY473" fmla="*/ 4685 h 10126"/>
                <a:gd name="connsiteX474" fmla="*/ 132 w 10000"/>
                <a:gd name="connsiteY474" fmla="*/ 4661 h 10126"/>
                <a:gd name="connsiteX475" fmla="*/ 100 w 10000"/>
                <a:gd name="connsiteY475" fmla="*/ 4637 h 10126"/>
                <a:gd name="connsiteX476" fmla="*/ 75 w 10000"/>
                <a:gd name="connsiteY476" fmla="*/ 4607 h 10126"/>
                <a:gd name="connsiteX477" fmla="*/ 50 w 10000"/>
                <a:gd name="connsiteY477" fmla="*/ 4583 h 10126"/>
                <a:gd name="connsiteX478" fmla="*/ 19 w 10000"/>
                <a:gd name="connsiteY478" fmla="*/ 4511 h 10126"/>
                <a:gd name="connsiteX479" fmla="*/ 0 w 10000"/>
                <a:gd name="connsiteY479" fmla="*/ 4444 h 10126"/>
                <a:gd name="connsiteX480" fmla="*/ 63 w 10000"/>
                <a:gd name="connsiteY480" fmla="*/ 4396 h 10126"/>
                <a:gd name="connsiteX481" fmla="*/ 132 w 10000"/>
                <a:gd name="connsiteY481" fmla="*/ 4360 h 10126"/>
                <a:gd name="connsiteX482" fmla="*/ 201 w 10000"/>
                <a:gd name="connsiteY482" fmla="*/ 4331 h 10126"/>
                <a:gd name="connsiteX483" fmla="*/ 276 w 10000"/>
                <a:gd name="connsiteY483" fmla="*/ 4307 h 10126"/>
                <a:gd name="connsiteX484" fmla="*/ 420 w 10000"/>
                <a:gd name="connsiteY484" fmla="*/ 4277 h 10126"/>
                <a:gd name="connsiteX485" fmla="*/ 565 w 10000"/>
                <a:gd name="connsiteY485" fmla="*/ 4252 h 10126"/>
                <a:gd name="connsiteX486" fmla="*/ 640 w 10000"/>
                <a:gd name="connsiteY486" fmla="*/ 4240 h 10126"/>
                <a:gd name="connsiteX487" fmla="*/ 709 w 10000"/>
                <a:gd name="connsiteY487" fmla="*/ 4216 h 10126"/>
                <a:gd name="connsiteX488" fmla="*/ 772 w 10000"/>
                <a:gd name="connsiteY488" fmla="*/ 4198 h 10126"/>
                <a:gd name="connsiteX489" fmla="*/ 834 w 10000"/>
                <a:gd name="connsiteY489" fmla="*/ 4168 h 10126"/>
                <a:gd name="connsiteX490" fmla="*/ 891 w 10000"/>
                <a:gd name="connsiteY490" fmla="*/ 4138 h 10126"/>
                <a:gd name="connsiteX491" fmla="*/ 947 w 10000"/>
                <a:gd name="connsiteY491" fmla="*/ 4090 h 10126"/>
                <a:gd name="connsiteX492" fmla="*/ 997 w 10000"/>
                <a:gd name="connsiteY492" fmla="*/ 4035 h 10126"/>
                <a:gd name="connsiteX493" fmla="*/ 1035 w 10000"/>
                <a:gd name="connsiteY493" fmla="*/ 3968 h 10126"/>
                <a:gd name="connsiteX494" fmla="*/ 1010 w 10000"/>
                <a:gd name="connsiteY494" fmla="*/ 3956 h 10126"/>
                <a:gd name="connsiteX495" fmla="*/ 985 w 10000"/>
                <a:gd name="connsiteY495" fmla="*/ 3938 h 10126"/>
                <a:gd name="connsiteX496" fmla="*/ 947 w 10000"/>
                <a:gd name="connsiteY496" fmla="*/ 3914 h 10126"/>
                <a:gd name="connsiteX497" fmla="*/ 910 w 10000"/>
                <a:gd name="connsiteY497" fmla="*/ 3878 h 10126"/>
                <a:gd name="connsiteX498" fmla="*/ 822 w 10000"/>
                <a:gd name="connsiteY498" fmla="*/ 3806 h 10126"/>
                <a:gd name="connsiteX499" fmla="*/ 740 w 10000"/>
                <a:gd name="connsiteY499" fmla="*/ 3722 h 10126"/>
                <a:gd name="connsiteX500" fmla="*/ 665 w 10000"/>
                <a:gd name="connsiteY500" fmla="*/ 3631 h 10126"/>
                <a:gd name="connsiteX501" fmla="*/ 596 w 10000"/>
                <a:gd name="connsiteY501" fmla="*/ 3535 h 10126"/>
                <a:gd name="connsiteX502" fmla="*/ 577 w 10000"/>
                <a:gd name="connsiteY502" fmla="*/ 3493 h 10126"/>
                <a:gd name="connsiteX503" fmla="*/ 558 w 10000"/>
                <a:gd name="connsiteY503" fmla="*/ 3451 h 10126"/>
                <a:gd name="connsiteX504" fmla="*/ 540 w 10000"/>
                <a:gd name="connsiteY504" fmla="*/ 3408 h 10126"/>
                <a:gd name="connsiteX505" fmla="*/ 533 w 10000"/>
                <a:gd name="connsiteY505" fmla="*/ 3372 h 10126"/>
                <a:gd name="connsiteX506" fmla="*/ 508 w 10000"/>
                <a:gd name="connsiteY506" fmla="*/ 3366 h 10126"/>
                <a:gd name="connsiteX507" fmla="*/ 483 w 10000"/>
                <a:gd name="connsiteY507" fmla="*/ 3360 h 10126"/>
                <a:gd name="connsiteX508" fmla="*/ 458 w 10000"/>
                <a:gd name="connsiteY508" fmla="*/ 3348 h 10126"/>
                <a:gd name="connsiteX509" fmla="*/ 439 w 10000"/>
                <a:gd name="connsiteY509" fmla="*/ 3325 h 10126"/>
                <a:gd name="connsiteX510" fmla="*/ 402 w 10000"/>
                <a:gd name="connsiteY510" fmla="*/ 3282 h 10126"/>
                <a:gd name="connsiteX511" fmla="*/ 370 w 10000"/>
                <a:gd name="connsiteY511" fmla="*/ 3222 h 10126"/>
                <a:gd name="connsiteX512" fmla="*/ 370 w 10000"/>
                <a:gd name="connsiteY512" fmla="*/ 3077 h 10126"/>
                <a:gd name="connsiteX513" fmla="*/ 458 w 10000"/>
                <a:gd name="connsiteY513" fmla="*/ 3071 h 10126"/>
                <a:gd name="connsiteX514" fmla="*/ 540 w 10000"/>
                <a:gd name="connsiteY514" fmla="*/ 3065 h 10126"/>
                <a:gd name="connsiteX515" fmla="*/ 615 w 10000"/>
                <a:gd name="connsiteY515" fmla="*/ 3053 h 10126"/>
                <a:gd name="connsiteX516" fmla="*/ 684 w 10000"/>
                <a:gd name="connsiteY516" fmla="*/ 3029 h 10126"/>
                <a:gd name="connsiteX517" fmla="*/ 747 w 10000"/>
                <a:gd name="connsiteY517" fmla="*/ 3011 h 10126"/>
                <a:gd name="connsiteX518" fmla="*/ 809 w 10000"/>
                <a:gd name="connsiteY518" fmla="*/ 2980 h 10126"/>
                <a:gd name="connsiteX519" fmla="*/ 866 w 10000"/>
                <a:gd name="connsiteY519" fmla="*/ 2950 h 10126"/>
                <a:gd name="connsiteX520" fmla="*/ 922 w 10000"/>
                <a:gd name="connsiteY520" fmla="*/ 2914 h 10126"/>
                <a:gd name="connsiteX521" fmla="*/ 966 w 10000"/>
                <a:gd name="connsiteY521" fmla="*/ 2872 h 10126"/>
                <a:gd name="connsiteX522" fmla="*/ 1016 w 10000"/>
                <a:gd name="connsiteY522" fmla="*/ 2831 h 10126"/>
                <a:gd name="connsiteX523" fmla="*/ 1060 w 10000"/>
                <a:gd name="connsiteY523" fmla="*/ 2789 h 10126"/>
                <a:gd name="connsiteX524" fmla="*/ 1098 w 10000"/>
                <a:gd name="connsiteY524" fmla="*/ 2740 h 10126"/>
                <a:gd name="connsiteX525" fmla="*/ 1167 w 10000"/>
                <a:gd name="connsiteY525" fmla="*/ 2644 h 10126"/>
                <a:gd name="connsiteX526" fmla="*/ 1236 w 10000"/>
                <a:gd name="connsiteY526" fmla="*/ 2534 h 10126"/>
                <a:gd name="connsiteX527" fmla="*/ 1355 w 10000"/>
                <a:gd name="connsiteY527" fmla="*/ 2318 h 10126"/>
                <a:gd name="connsiteX528" fmla="*/ 1474 w 10000"/>
                <a:gd name="connsiteY528" fmla="*/ 2101 h 10126"/>
                <a:gd name="connsiteX529" fmla="*/ 1543 w 10000"/>
                <a:gd name="connsiteY529" fmla="*/ 2005 h 10126"/>
                <a:gd name="connsiteX530" fmla="*/ 1612 w 10000"/>
                <a:gd name="connsiteY530" fmla="*/ 1920 h 10126"/>
                <a:gd name="connsiteX531" fmla="*/ 1650 w 10000"/>
                <a:gd name="connsiteY531" fmla="*/ 1871 h 10126"/>
                <a:gd name="connsiteX532" fmla="*/ 1694 w 10000"/>
                <a:gd name="connsiteY532" fmla="*/ 1835 h 10126"/>
                <a:gd name="connsiteX533" fmla="*/ 1738 w 10000"/>
                <a:gd name="connsiteY533" fmla="*/ 1806 h 10126"/>
                <a:gd name="connsiteX534" fmla="*/ 1788 w 10000"/>
                <a:gd name="connsiteY534" fmla="*/ 1776 h 10126"/>
                <a:gd name="connsiteX535" fmla="*/ 1750 w 10000"/>
                <a:gd name="connsiteY535" fmla="*/ 1703 h 10126"/>
                <a:gd name="connsiteX536" fmla="*/ 1719 w 10000"/>
                <a:gd name="connsiteY536" fmla="*/ 1637 h 10126"/>
                <a:gd name="connsiteX537" fmla="*/ 1713 w 10000"/>
                <a:gd name="connsiteY537" fmla="*/ 1607 h 10126"/>
                <a:gd name="connsiteX538" fmla="*/ 1706 w 10000"/>
                <a:gd name="connsiteY538" fmla="*/ 1577 h 10126"/>
                <a:gd name="connsiteX539" fmla="*/ 1706 w 10000"/>
                <a:gd name="connsiteY539" fmla="*/ 1541 h 10126"/>
                <a:gd name="connsiteX540" fmla="*/ 1706 w 10000"/>
                <a:gd name="connsiteY540" fmla="*/ 1511 h 10126"/>
                <a:gd name="connsiteX541" fmla="*/ 1713 w 10000"/>
                <a:gd name="connsiteY541" fmla="*/ 1480 h 10126"/>
                <a:gd name="connsiteX542" fmla="*/ 1719 w 10000"/>
                <a:gd name="connsiteY542" fmla="*/ 1450 h 10126"/>
                <a:gd name="connsiteX543" fmla="*/ 1731 w 10000"/>
                <a:gd name="connsiteY543" fmla="*/ 1426 h 10126"/>
                <a:gd name="connsiteX544" fmla="*/ 1757 w 10000"/>
                <a:gd name="connsiteY544" fmla="*/ 1402 h 10126"/>
                <a:gd name="connsiteX545" fmla="*/ 1775 w 10000"/>
                <a:gd name="connsiteY545" fmla="*/ 1384 h 10126"/>
                <a:gd name="connsiteX546" fmla="*/ 1801 w 10000"/>
                <a:gd name="connsiteY546" fmla="*/ 1366 h 10126"/>
                <a:gd name="connsiteX547" fmla="*/ 1838 w 10000"/>
                <a:gd name="connsiteY547" fmla="*/ 1348 h 10126"/>
                <a:gd name="connsiteX548" fmla="*/ 1870 w 10000"/>
                <a:gd name="connsiteY548" fmla="*/ 1330 h 10126"/>
                <a:gd name="connsiteX549" fmla="*/ 1788 w 10000"/>
                <a:gd name="connsiteY549" fmla="*/ 1240 h 10126"/>
                <a:gd name="connsiteX550" fmla="*/ 1688 w 10000"/>
                <a:gd name="connsiteY550" fmla="*/ 1168 h 10126"/>
                <a:gd name="connsiteX551" fmla="*/ 1550 w 10000"/>
                <a:gd name="connsiteY551" fmla="*/ 1046 h 10126"/>
                <a:gd name="connsiteX552" fmla="*/ 1487 w 10000"/>
                <a:gd name="connsiteY552" fmla="*/ 986 h 10126"/>
                <a:gd name="connsiteX553" fmla="*/ 1383 w 10000"/>
                <a:gd name="connsiteY553" fmla="*/ 868 h 10126"/>
                <a:gd name="connsiteX554" fmla="*/ 1426 w 10000"/>
                <a:gd name="connsiteY554" fmla="*/ 764 h 10126"/>
                <a:gd name="connsiteX555" fmla="*/ 1603 w 10000"/>
                <a:gd name="connsiteY555" fmla="*/ 650 h 10126"/>
                <a:gd name="connsiteX556" fmla="*/ 1708 w 10000"/>
                <a:gd name="connsiteY556" fmla="*/ 605 h 10126"/>
                <a:gd name="connsiteX557" fmla="*/ 1673 w 10000"/>
                <a:gd name="connsiteY557" fmla="*/ 540 h 10126"/>
                <a:gd name="connsiteX558" fmla="*/ 1606 w 10000"/>
                <a:gd name="connsiteY558" fmla="*/ 463 h 10126"/>
                <a:gd name="connsiteX559" fmla="*/ 1539 w 10000"/>
                <a:gd name="connsiteY559" fmla="*/ 431 h 10126"/>
                <a:gd name="connsiteX560" fmla="*/ 1539 w 10000"/>
                <a:gd name="connsiteY560" fmla="*/ 366 h 10126"/>
                <a:gd name="connsiteX561" fmla="*/ 1473 w 10000"/>
                <a:gd name="connsiteY561" fmla="*/ 296 h 10126"/>
                <a:gd name="connsiteX562" fmla="*/ 1341 w 10000"/>
                <a:gd name="connsiteY562" fmla="*/ 236 h 10126"/>
                <a:gd name="connsiteX563" fmla="*/ 1490 w 10000"/>
                <a:gd name="connsiteY563" fmla="*/ 123 h 10126"/>
                <a:gd name="connsiteX564" fmla="*/ 1654 w 10000"/>
                <a:gd name="connsiteY564" fmla="*/ 0 h 10126"/>
                <a:gd name="connsiteX565" fmla="*/ 1895 w 10000"/>
                <a:gd name="connsiteY565" fmla="*/ 61 h 10126"/>
                <a:gd name="connsiteX566" fmla="*/ 2151 w 10000"/>
                <a:gd name="connsiteY566" fmla="*/ 94 h 10126"/>
                <a:gd name="connsiteX567" fmla="*/ 2280 w 10000"/>
                <a:gd name="connsiteY567" fmla="*/ 123 h 10126"/>
                <a:gd name="connsiteX568" fmla="*/ 2517 w 10000"/>
                <a:gd name="connsiteY568" fmla="*/ 225 h 10126"/>
                <a:gd name="connsiteX0" fmla="*/ 2525 w 10000"/>
                <a:gd name="connsiteY0" fmla="*/ 225 h 10126"/>
                <a:gd name="connsiteX1" fmla="*/ 2880 w 10000"/>
                <a:gd name="connsiteY1" fmla="*/ 115 h 10126"/>
                <a:gd name="connsiteX2" fmla="*/ 3155 w 10000"/>
                <a:gd name="connsiteY2" fmla="*/ 192 h 10126"/>
                <a:gd name="connsiteX3" fmla="*/ 3286 w 10000"/>
                <a:gd name="connsiteY3" fmla="*/ 481 h 10126"/>
                <a:gd name="connsiteX4" fmla="*/ 3309 w 10000"/>
                <a:gd name="connsiteY4" fmla="*/ 613 h 10126"/>
                <a:gd name="connsiteX5" fmla="*/ 3173 w 10000"/>
                <a:gd name="connsiteY5" fmla="*/ 731 h 10126"/>
                <a:gd name="connsiteX6" fmla="*/ 3113 w 10000"/>
                <a:gd name="connsiteY6" fmla="*/ 799 h 10126"/>
                <a:gd name="connsiteX7" fmla="*/ 3203 w 10000"/>
                <a:gd name="connsiteY7" fmla="*/ 858 h 10126"/>
                <a:gd name="connsiteX8" fmla="*/ 3314 w 10000"/>
                <a:gd name="connsiteY8" fmla="*/ 940 h 10126"/>
                <a:gd name="connsiteX9" fmla="*/ 3412 w 10000"/>
                <a:gd name="connsiteY9" fmla="*/ 1046 h 10126"/>
                <a:gd name="connsiteX10" fmla="*/ 3429 w 10000"/>
                <a:gd name="connsiteY10" fmla="*/ 1148 h 10126"/>
                <a:gd name="connsiteX11" fmla="*/ 3389 w 10000"/>
                <a:gd name="connsiteY11" fmla="*/ 1215 h 10126"/>
                <a:gd name="connsiteX12" fmla="*/ 3348 w 10000"/>
                <a:gd name="connsiteY12" fmla="*/ 1238 h 10126"/>
                <a:gd name="connsiteX13" fmla="*/ 3043 w 10000"/>
                <a:gd name="connsiteY13" fmla="*/ 1366 h 10126"/>
                <a:gd name="connsiteX14" fmla="*/ 3074 w 10000"/>
                <a:gd name="connsiteY14" fmla="*/ 1444 h 10126"/>
                <a:gd name="connsiteX15" fmla="*/ 3118 w 10000"/>
                <a:gd name="connsiteY15" fmla="*/ 1511 h 10126"/>
                <a:gd name="connsiteX16" fmla="*/ 3168 w 10000"/>
                <a:gd name="connsiteY16" fmla="*/ 1571 h 10126"/>
                <a:gd name="connsiteX17" fmla="*/ 3225 w 10000"/>
                <a:gd name="connsiteY17" fmla="*/ 1613 h 10126"/>
                <a:gd name="connsiteX18" fmla="*/ 3281 w 10000"/>
                <a:gd name="connsiteY18" fmla="*/ 1655 h 10126"/>
                <a:gd name="connsiteX19" fmla="*/ 3350 w 10000"/>
                <a:gd name="connsiteY19" fmla="*/ 1685 h 10126"/>
                <a:gd name="connsiteX20" fmla="*/ 3413 w 10000"/>
                <a:gd name="connsiteY20" fmla="*/ 1715 h 10126"/>
                <a:gd name="connsiteX21" fmla="*/ 3488 w 10000"/>
                <a:gd name="connsiteY21" fmla="*/ 1740 h 10126"/>
                <a:gd name="connsiteX22" fmla="*/ 3626 w 10000"/>
                <a:gd name="connsiteY22" fmla="*/ 1794 h 10126"/>
                <a:gd name="connsiteX23" fmla="*/ 3764 w 10000"/>
                <a:gd name="connsiteY23" fmla="*/ 1847 h 10126"/>
                <a:gd name="connsiteX24" fmla="*/ 3827 w 10000"/>
                <a:gd name="connsiteY24" fmla="*/ 1884 h 10126"/>
                <a:gd name="connsiteX25" fmla="*/ 3890 w 10000"/>
                <a:gd name="connsiteY25" fmla="*/ 1932 h 10126"/>
                <a:gd name="connsiteX26" fmla="*/ 3946 w 10000"/>
                <a:gd name="connsiteY26" fmla="*/ 1981 h 10126"/>
                <a:gd name="connsiteX27" fmla="*/ 4003 w 10000"/>
                <a:gd name="connsiteY27" fmla="*/ 2035 h 10126"/>
                <a:gd name="connsiteX28" fmla="*/ 3959 w 10000"/>
                <a:gd name="connsiteY28" fmla="*/ 2596 h 10126"/>
                <a:gd name="connsiteX29" fmla="*/ 4034 w 10000"/>
                <a:gd name="connsiteY29" fmla="*/ 2650 h 10126"/>
                <a:gd name="connsiteX30" fmla="*/ 4141 w 10000"/>
                <a:gd name="connsiteY30" fmla="*/ 2716 h 10126"/>
                <a:gd name="connsiteX31" fmla="*/ 4260 w 10000"/>
                <a:gd name="connsiteY31" fmla="*/ 2776 h 10126"/>
                <a:gd name="connsiteX32" fmla="*/ 4398 w 10000"/>
                <a:gd name="connsiteY32" fmla="*/ 2831 h 10126"/>
                <a:gd name="connsiteX33" fmla="*/ 4536 w 10000"/>
                <a:gd name="connsiteY33" fmla="*/ 2884 h 10126"/>
                <a:gd name="connsiteX34" fmla="*/ 4668 w 10000"/>
                <a:gd name="connsiteY34" fmla="*/ 2926 h 10126"/>
                <a:gd name="connsiteX35" fmla="*/ 4724 w 10000"/>
                <a:gd name="connsiteY35" fmla="*/ 2944 h 10126"/>
                <a:gd name="connsiteX36" fmla="*/ 4780 w 10000"/>
                <a:gd name="connsiteY36" fmla="*/ 2956 h 10126"/>
                <a:gd name="connsiteX37" fmla="*/ 4831 w 10000"/>
                <a:gd name="connsiteY37" fmla="*/ 2962 h 10126"/>
                <a:gd name="connsiteX38" fmla="*/ 4875 w 10000"/>
                <a:gd name="connsiteY38" fmla="*/ 2962 h 10126"/>
                <a:gd name="connsiteX39" fmla="*/ 4887 w 10000"/>
                <a:gd name="connsiteY39" fmla="*/ 3005 h 10126"/>
                <a:gd name="connsiteX40" fmla="*/ 4918 w 10000"/>
                <a:gd name="connsiteY40" fmla="*/ 3041 h 10126"/>
                <a:gd name="connsiteX41" fmla="*/ 4950 w 10000"/>
                <a:gd name="connsiteY41" fmla="*/ 3059 h 10126"/>
                <a:gd name="connsiteX42" fmla="*/ 4987 w 10000"/>
                <a:gd name="connsiteY42" fmla="*/ 3071 h 10126"/>
                <a:gd name="connsiteX43" fmla="*/ 5019 w 10000"/>
                <a:gd name="connsiteY43" fmla="*/ 3083 h 10126"/>
                <a:gd name="connsiteX44" fmla="*/ 5063 w 10000"/>
                <a:gd name="connsiteY44" fmla="*/ 3083 h 10126"/>
                <a:gd name="connsiteX45" fmla="*/ 5107 w 10000"/>
                <a:gd name="connsiteY45" fmla="*/ 3077 h 10126"/>
                <a:gd name="connsiteX46" fmla="*/ 5157 w 10000"/>
                <a:gd name="connsiteY46" fmla="*/ 3071 h 10126"/>
                <a:gd name="connsiteX47" fmla="*/ 5245 w 10000"/>
                <a:gd name="connsiteY47" fmla="*/ 3053 h 10126"/>
                <a:gd name="connsiteX48" fmla="*/ 5345 w 10000"/>
                <a:gd name="connsiteY48" fmla="*/ 3029 h 10126"/>
                <a:gd name="connsiteX49" fmla="*/ 5383 w 10000"/>
                <a:gd name="connsiteY49" fmla="*/ 3029 h 10126"/>
                <a:gd name="connsiteX50" fmla="*/ 5427 w 10000"/>
                <a:gd name="connsiteY50" fmla="*/ 3023 h 10126"/>
                <a:gd name="connsiteX51" fmla="*/ 5464 w 10000"/>
                <a:gd name="connsiteY51" fmla="*/ 3029 h 10126"/>
                <a:gd name="connsiteX52" fmla="*/ 5502 w 10000"/>
                <a:gd name="connsiteY52" fmla="*/ 3035 h 10126"/>
                <a:gd name="connsiteX53" fmla="*/ 5558 w 10000"/>
                <a:gd name="connsiteY53" fmla="*/ 3071 h 10126"/>
                <a:gd name="connsiteX54" fmla="*/ 5596 w 10000"/>
                <a:gd name="connsiteY54" fmla="*/ 3101 h 10126"/>
                <a:gd name="connsiteX55" fmla="*/ 5634 w 10000"/>
                <a:gd name="connsiteY55" fmla="*/ 3143 h 10126"/>
                <a:gd name="connsiteX56" fmla="*/ 5665 w 10000"/>
                <a:gd name="connsiteY56" fmla="*/ 3179 h 10126"/>
                <a:gd name="connsiteX57" fmla="*/ 5696 w 10000"/>
                <a:gd name="connsiteY57" fmla="*/ 3216 h 10126"/>
                <a:gd name="connsiteX58" fmla="*/ 5734 w 10000"/>
                <a:gd name="connsiteY58" fmla="*/ 3252 h 10126"/>
                <a:gd name="connsiteX59" fmla="*/ 5759 w 10000"/>
                <a:gd name="connsiteY59" fmla="*/ 3270 h 10126"/>
                <a:gd name="connsiteX60" fmla="*/ 5778 w 10000"/>
                <a:gd name="connsiteY60" fmla="*/ 3282 h 10126"/>
                <a:gd name="connsiteX61" fmla="*/ 5803 w 10000"/>
                <a:gd name="connsiteY61" fmla="*/ 3294 h 10126"/>
                <a:gd name="connsiteX62" fmla="*/ 5834 w 10000"/>
                <a:gd name="connsiteY62" fmla="*/ 3300 h 10126"/>
                <a:gd name="connsiteX63" fmla="*/ 5935 w 10000"/>
                <a:gd name="connsiteY63" fmla="*/ 3319 h 10126"/>
                <a:gd name="connsiteX64" fmla="*/ 6073 w 10000"/>
                <a:gd name="connsiteY64" fmla="*/ 3354 h 10126"/>
                <a:gd name="connsiteX65" fmla="*/ 6230 w 10000"/>
                <a:gd name="connsiteY65" fmla="*/ 3390 h 10126"/>
                <a:gd name="connsiteX66" fmla="*/ 6405 w 10000"/>
                <a:gd name="connsiteY66" fmla="*/ 3433 h 10126"/>
                <a:gd name="connsiteX67" fmla="*/ 6568 w 10000"/>
                <a:gd name="connsiteY67" fmla="*/ 3463 h 10126"/>
                <a:gd name="connsiteX68" fmla="*/ 6719 w 10000"/>
                <a:gd name="connsiteY68" fmla="*/ 3487 h 10126"/>
                <a:gd name="connsiteX69" fmla="*/ 6788 w 10000"/>
                <a:gd name="connsiteY69" fmla="*/ 3493 h 10126"/>
                <a:gd name="connsiteX70" fmla="*/ 6838 w 10000"/>
                <a:gd name="connsiteY70" fmla="*/ 3499 h 10126"/>
                <a:gd name="connsiteX71" fmla="*/ 6888 w 10000"/>
                <a:gd name="connsiteY71" fmla="*/ 3493 h 10126"/>
                <a:gd name="connsiteX72" fmla="*/ 6913 w 10000"/>
                <a:gd name="connsiteY72" fmla="*/ 3481 h 10126"/>
                <a:gd name="connsiteX73" fmla="*/ 6888 w 10000"/>
                <a:gd name="connsiteY73" fmla="*/ 3439 h 10126"/>
                <a:gd name="connsiteX74" fmla="*/ 6857 w 10000"/>
                <a:gd name="connsiteY74" fmla="*/ 3390 h 10126"/>
                <a:gd name="connsiteX75" fmla="*/ 6838 w 10000"/>
                <a:gd name="connsiteY75" fmla="*/ 3342 h 10126"/>
                <a:gd name="connsiteX76" fmla="*/ 6826 w 10000"/>
                <a:gd name="connsiteY76" fmla="*/ 3288 h 10126"/>
                <a:gd name="connsiteX77" fmla="*/ 6794 w 10000"/>
                <a:gd name="connsiteY77" fmla="*/ 3197 h 10126"/>
                <a:gd name="connsiteX78" fmla="*/ 6788 w 10000"/>
                <a:gd name="connsiteY78" fmla="*/ 3149 h 10126"/>
                <a:gd name="connsiteX79" fmla="*/ 6788 w 10000"/>
                <a:gd name="connsiteY79" fmla="*/ 2962 h 10126"/>
                <a:gd name="connsiteX80" fmla="*/ 6788 w 10000"/>
                <a:gd name="connsiteY80" fmla="*/ 2776 h 10126"/>
                <a:gd name="connsiteX81" fmla="*/ 6995 w 10000"/>
                <a:gd name="connsiteY81" fmla="*/ 2776 h 10126"/>
                <a:gd name="connsiteX82" fmla="*/ 7033 w 10000"/>
                <a:gd name="connsiteY82" fmla="*/ 2842 h 10126"/>
                <a:gd name="connsiteX83" fmla="*/ 7058 w 10000"/>
                <a:gd name="connsiteY83" fmla="*/ 2884 h 10126"/>
                <a:gd name="connsiteX84" fmla="*/ 7095 w 10000"/>
                <a:gd name="connsiteY84" fmla="*/ 2920 h 10126"/>
                <a:gd name="connsiteX85" fmla="*/ 7127 w 10000"/>
                <a:gd name="connsiteY85" fmla="*/ 2962 h 10126"/>
                <a:gd name="connsiteX86" fmla="*/ 7120 w 10000"/>
                <a:gd name="connsiteY86" fmla="*/ 3059 h 10126"/>
                <a:gd name="connsiteX87" fmla="*/ 7102 w 10000"/>
                <a:gd name="connsiteY87" fmla="*/ 3119 h 10126"/>
                <a:gd name="connsiteX88" fmla="*/ 7089 w 10000"/>
                <a:gd name="connsiteY88" fmla="*/ 3167 h 10126"/>
                <a:gd name="connsiteX89" fmla="*/ 7077 w 10000"/>
                <a:gd name="connsiteY89" fmla="*/ 3222 h 10126"/>
                <a:gd name="connsiteX90" fmla="*/ 7208 w 10000"/>
                <a:gd name="connsiteY90" fmla="*/ 3258 h 10126"/>
                <a:gd name="connsiteX91" fmla="*/ 7334 w 10000"/>
                <a:gd name="connsiteY91" fmla="*/ 3294 h 10126"/>
                <a:gd name="connsiteX92" fmla="*/ 7396 w 10000"/>
                <a:gd name="connsiteY92" fmla="*/ 3313 h 10126"/>
                <a:gd name="connsiteX93" fmla="*/ 7459 w 10000"/>
                <a:gd name="connsiteY93" fmla="*/ 3325 h 10126"/>
                <a:gd name="connsiteX94" fmla="*/ 7522 w 10000"/>
                <a:gd name="connsiteY94" fmla="*/ 3331 h 10126"/>
                <a:gd name="connsiteX95" fmla="*/ 7585 w 10000"/>
                <a:gd name="connsiteY95" fmla="*/ 3336 h 10126"/>
                <a:gd name="connsiteX96" fmla="*/ 7591 w 10000"/>
                <a:gd name="connsiteY96" fmla="*/ 3360 h 10126"/>
                <a:gd name="connsiteX97" fmla="*/ 7604 w 10000"/>
                <a:gd name="connsiteY97" fmla="*/ 3384 h 10126"/>
                <a:gd name="connsiteX98" fmla="*/ 7622 w 10000"/>
                <a:gd name="connsiteY98" fmla="*/ 3402 h 10126"/>
                <a:gd name="connsiteX99" fmla="*/ 7654 w 10000"/>
                <a:gd name="connsiteY99" fmla="*/ 3420 h 10126"/>
                <a:gd name="connsiteX100" fmla="*/ 7704 w 10000"/>
                <a:gd name="connsiteY100" fmla="*/ 3439 h 10126"/>
                <a:gd name="connsiteX101" fmla="*/ 7748 w 10000"/>
                <a:gd name="connsiteY101" fmla="*/ 3445 h 10126"/>
                <a:gd name="connsiteX102" fmla="*/ 7798 w 10000"/>
                <a:gd name="connsiteY102" fmla="*/ 3445 h 10126"/>
                <a:gd name="connsiteX103" fmla="*/ 7836 w 10000"/>
                <a:gd name="connsiteY103" fmla="*/ 3433 h 10126"/>
                <a:gd name="connsiteX104" fmla="*/ 7880 w 10000"/>
                <a:gd name="connsiteY104" fmla="*/ 3414 h 10126"/>
                <a:gd name="connsiteX105" fmla="*/ 7911 w 10000"/>
                <a:gd name="connsiteY105" fmla="*/ 3396 h 10126"/>
                <a:gd name="connsiteX106" fmla="*/ 7949 w 10000"/>
                <a:gd name="connsiteY106" fmla="*/ 3372 h 10126"/>
                <a:gd name="connsiteX107" fmla="*/ 7980 w 10000"/>
                <a:gd name="connsiteY107" fmla="*/ 3342 h 10126"/>
                <a:gd name="connsiteX108" fmla="*/ 8011 w 10000"/>
                <a:gd name="connsiteY108" fmla="*/ 3313 h 10126"/>
                <a:gd name="connsiteX109" fmla="*/ 8036 w 10000"/>
                <a:gd name="connsiteY109" fmla="*/ 3282 h 10126"/>
                <a:gd name="connsiteX110" fmla="*/ 8087 w 10000"/>
                <a:gd name="connsiteY110" fmla="*/ 3203 h 10126"/>
                <a:gd name="connsiteX111" fmla="*/ 8118 w 10000"/>
                <a:gd name="connsiteY111" fmla="*/ 3131 h 10126"/>
                <a:gd name="connsiteX112" fmla="*/ 8149 w 10000"/>
                <a:gd name="connsiteY112" fmla="*/ 3065 h 10126"/>
                <a:gd name="connsiteX113" fmla="*/ 8168 w 10000"/>
                <a:gd name="connsiteY113" fmla="*/ 2999 h 10126"/>
                <a:gd name="connsiteX114" fmla="*/ 8231 w 10000"/>
                <a:gd name="connsiteY114" fmla="*/ 2932 h 10126"/>
                <a:gd name="connsiteX115" fmla="*/ 8294 w 10000"/>
                <a:gd name="connsiteY115" fmla="*/ 2866 h 10126"/>
                <a:gd name="connsiteX116" fmla="*/ 8363 w 10000"/>
                <a:gd name="connsiteY116" fmla="*/ 2813 h 10126"/>
                <a:gd name="connsiteX117" fmla="*/ 8432 w 10000"/>
                <a:gd name="connsiteY117" fmla="*/ 2752 h 10126"/>
                <a:gd name="connsiteX118" fmla="*/ 8507 w 10000"/>
                <a:gd name="connsiteY118" fmla="*/ 2704 h 10126"/>
                <a:gd name="connsiteX119" fmla="*/ 8576 w 10000"/>
                <a:gd name="connsiteY119" fmla="*/ 2656 h 10126"/>
                <a:gd name="connsiteX120" fmla="*/ 8651 w 10000"/>
                <a:gd name="connsiteY120" fmla="*/ 2614 h 10126"/>
                <a:gd name="connsiteX121" fmla="*/ 8726 w 10000"/>
                <a:gd name="connsiteY121" fmla="*/ 2570 h 10126"/>
                <a:gd name="connsiteX122" fmla="*/ 8808 w 10000"/>
                <a:gd name="connsiteY122" fmla="*/ 2528 h 10126"/>
                <a:gd name="connsiteX123" fmla="*/ 8890 w 10000"/>
                <a:gd name="connsiteY123" fmla="*/ 2492 h 10126"/>
                <a:gd name="connsiteX124" fmla="*/ 8971 w 10000"/>
                <a:gd name="connsiteY124" fmla="*/ 2462 h 10126"/>
                <a:gd name="connsiteX125" fmla="*/ 9059 w 10000"/>
                <a:gd name="connsiteY125" fmla="*/ 2432 h 10126"/>
                <a:gd name="connsiteX126" fmla="*/ 9235 w 10000"/>
                <a:gd name="connsiteY126" fmla="*/ 2378 h 10126"/>
                <a:gd name="connsiteX127" fmla="*/ 9417 w 10000"/>
                <a:gd name="connsiteY127" fmla="*/ 2335 h 10126"/>
                <a:gd name="connsiteX128" fmla="*/ 9454 w 10000"/>
                <a:gd name="connsiteY128" fmla="*/ 2384 h 10126"/>
                <a:gd name="connsiteX129" fmla="*/ 9504 w 10000"/>
                <a:gd name="connsiteY129" fmla="*/ 2444 h 10126"/>
                <a:gd name="connsiteX130" fmla="*/ 9573 w 10000"/>
                <a:gd name="connsiteY130" fmla="*/ 2510 h 10126"/>
                <a:gd name="connsiteX131" fmla="*/ 9642 w 10000"/>
                <a:gd name="connsiteY131" fmla="*/ 2583 h 10126"/>
                <a:gd name="connsiteX132" fmla="*/ 9718 w 10000"/>
                <a:gd name="connsiteY132" fmla="*/ 2644 h 10126"/>
                <a:gd name="connsiteX133" fmla="*/ 9799 w 10000"/>
                <a:gd name="connsiteY133" fmla="*/ 2692 h 10126"/>
                <a:gd name="connsiteX134" fmla="*/ 9837 w 10000"/>
                <a:gd name="connsiteY134" fmla="*/ 2716 h 10126"/>
                <a:gd name="connsiteX135" fmla="*/ 9875 w 10000"/>
                <a:gd name="connsiteY135" fmla="*/ 2728 h 10126"/>
                <a:gd name="connsiteX136" fmla="*/ 9918 w 10000"/>
                <a:gd name="connsiteY136" fmla="*/ 2740 h 10126"/>
                <a:gd name="connsiteX137" fmla="*/ 9956 w 10000"/>
                <a:gd name="connsiteY137" fmla="*/ 2740 h 10126"/>
                <a:gd name="connsiteX138" fmla="*/ 10000 w 10000"/>
                <a:gd name="connsiteY138" fmla="*/ 2668 h 10126"/>
                <a:gd name="connsiteX139" fmla="*/ 9975 w 10000"/>
                <a:gd name="connsiteY139" fmla="*/ 2795 h 10126"/>
                <a:gd name="connsiteX140" fmla="*/ 9944 w 10000"/>
                <a:gd name="connsiteY140" fmla="*/ 2938 h 10126"/>
                <a:gd name="connsiteX141" fmla="*/ 9931 w 10000"/>
                <a:gd name="connsiteY141" fmla="*/ 3005 h 10126"/>
                <a:gd name="connsiteX142" fmla="*/ 9906 w 10000"/>
                <a:gd name="connsiteY142" fmla="*/ 3065 h 10126"/>
                <a:gd name="connsiteX143" fmla="*/ 9887 w 10000"/>
                <a:gd name="connsiteY143" fmla="*/ 3089 h 10126"/>
                <a:gd name="connsiteX144" fmla="*/ 9875 w 10000"/>
                <a:gd name="connsiteY144" fmla="*/ 3113 h 10126"/>
                <a:gd name="connsiteX145" fmla="*/ 9856 w 10000"/>
                <a:gd name="connsiteY145" fmla="*/ 3131 h 10126"/>
                <a:gd name="connsiteX146" fmla="*/ 9837 w 10000"/>
                <a:gd name="connsiteY146" fmla="*/ 3149 h 10126"/>
                <a:gd name="connsiteX147" fmla="*/ 9749 w 10000"/>
                <a:gd name="connsiteY147" fmla="*/ 3167 h 10126"/>
                <a:gd name="connsiteX148" fmla="*/ 9605 w 10000"/>
                <a:gd name="connsiteY148" fmla="*/ 3216 h 10126"/>
                <a:gd name="connsiteX149" fmla="*/ 9536 w 10000"/>
                <a:gd name="connsiteY149" fmla="*/ 3258 h 10126"/>
                <a:gd name="connsiteX150" fmla="*/ 9479 w 10000"/>
                <a:gd name="connsiteY150" fmla="*/ 3294 h 10126"/>
                <a:gd name="connsiteX151" fmla="*/ 9448 w 10000"/>
                <a:gd name="connsiteY151" fmla="*/ 3313 h 10126"/>
                <a:gd name="connsiteX152" fmla="*/ 9435 w 10000"/>
                <a:gd name="connsiteY152" fmla="*/ 3331 h 10126"/>
                <a:gd name="connsiteX153" fmla="*/ 9423 w 10000"/>
                <a:gd name="connsiteY153" fmla="*/ 3354 h 10126"/>
                <a:gd name="connsiteX154" fmla="*/ 9417 w 10000"/>
                <a:gd name="connsiteY154" fmla="*/ 3372 h 10126"/>
                <a:gd name="connsiteX155" fmla="*/ 9423 w 10000"/>
                <a:gd name="connsiteY155" fmla="*/ 3583 h 10126"/>
                <a:gd name="connsiteX156" fmla="*/ 9417 w 10000"/>
                <a:gd name="connsiteY156" fmla="*/ 3824 h 10126"/>
                <a:gd name="connsiteX157" fmla="*/ 9398 w 10000"/>
                <a:gd name="connsiteY157" fmla="*/ 3884 h 10126"/>
                <a:gd name="connsiteX158" fmla="*/ 9391 w 10000"/>
                <a:gd name="connsiteY158" fmla="*/ 3950 h 10126"/>
                <a:gd name="connsiteX159" fmla="*/ 9379 w 10000"/>
                <a:gd name="connsiteY159" fmla="*/ 4004 h 10126"/>
                <a:gd name="connsiteX160" fmla="*/ 9366 w 10000"/>
                <a:gd name="connsiteY160" fmla="*/ 4059 h 10126"/>
                <a:gd name="connsiteX161" fmla="*/ 9348 w 10000"/>
                <a:gd name="connsiteY161" fmla="*/ 4108 h 10126"/>
                <a:gd name="connsiteX162" fmla="*/ 9316 w 10000"/>
                <a:gd name="connsiteY162" fmla="*/ 4156 h 10126"/>
                <a:gd name="connsiteX163" fmla="*/ 9285 w 10000"/>
                <a:gd name="connsiteY163" fmla="*/ 4192 h 10126"/>
                <a:gd name="connsiteX164" fmla="*/ 9247 w 10000"/>
                <a:gd name="connsiteY164" fmla="*/ 4222 h 10126"/>
                <a:gd name="connsiteX165" fmla="*/ 9228 w 10000"/>
                <a:gd name="connsiteY165" fmla="*/ 4240 h 10126"/>
                <a:gd name="connsiteX166" fmla="*/ 9184 w 10000"/>
                <a:gd name="connsiteY166" fmla="*/ 4246 h 10126"/>
                <a:gd name="connsiteX167" fmla="*/ 9141 w 10000"/>
                <a:gd name="connsiteY167" fmla="*/ 4252 h 10126"/>
                <a:gd name="connsiteX168" fmla="*/ 9090 w 10000"/>
                <a:gd name="connsiteY168" fmla="*/ 4258 h 10126"/>
                <a:gd name="connsiteX169" fmla="*/ 9040 w 10000"/>
                <a:gd name="connsiteY169" fmla="*/ 4264 h 10126"/>
                <a:gd name="connsiteX170" fmla="*/ 8996 w 10000"/>
                <a:gd name="connsiteY170" fmla="*/ 4283 h 10126"/>
                <a:gd name="connsiteX171" fmla="*/ 8977 w 10000"/>
                <a:gd name="connsiteY171" fmla="*/ 4289 h 10126"/>
                <a:gd name="connsiteX172" fmla="*/ 8965 w 10000"/>
                <a:gd name="connsiteY172" fmla="*/ 4307 h 10126"/>
                <a:gd name="connsiteX173" fmla="*/ 8959 w 10000"/>
                <a:gd name="connsiteY173" fmla="*/ 4319 h 10126"/>
                <a:gd name="connsiteX174" fmla="*/ 8959 w 10000"/>
                <a:gd name="connsiteY174" fmla="*/ 4337 h 10126"/>
                <a:gd name="connsiteX175" fmla="*/ 8952 w 10000"/>
                <a:gd name="connsiteY175" fmla="*/ 4408 h 10126"/>
                <a:gd name="connsiteX176" fmla="*/ 8952 w 10000"/>
                <a:gd name="connsiteY176" fmla="*/ 4493 h 10126"/>
                <a:gd name="connsiteX177" fmla="*/ 8940 w 10000"/>
                <a:gd name="connsiteY177" fmla="*/ 4583 h 10126"/>
                <a:gd name="connsiteX178" fmla="*/ 8927 w 10000"/>
                <a:gd name="connsiteY178" fmla="*/ 4667 h 10126"/>
                <a:gd name="connsiteX179" fmla="*/ 8908 w 10000"/>
                <a:gd name="connsiteY179" fmla="*/ 4753 h 10126"/>
                <a:gd name="connsiteX180" fmla="*/ 8890 w 10000"/>
                <a:gd name="connsiteY180" fmla="*/ 4831 h 10126"/>
                <a:gd name="connsiteX181" fmla="*/ 8864 w 10000"/>
                <a:gd name="connsiteY181" fmla="*/ 4902 h 10126"/>
                <a:gd name="connsiteX182" fmla="*/ 8833 w 10000"/>
                <a:gd name="connsiteY182" fmla="*/ 4969 h 10126"/>
                <a:gd name="connsiteX183" fmla="*/ 8538 w 10000"/>
                <a:gd name="connsiteY183" fmla="*/ 4480 h 10126"/>
                <a:gd name="connsiteX184" fmla="*/ 8526 w 10000"/>
                <a:gd name="connsiteY184" fmla="*/ 4505 h 10126"/>
                <a:gd name="connsiteX185" fmla="*/ 8494 w 10000"/>
                <a:gd name="connsiteY185" fmla="*/ 4559 h 10126"/>
                <a:gd name="connsiteX186" fmla="*/ 8463 w 10000"/>
                <a:gd name="connsiteY186" fmla="*/ 4589 h 10126"/>
                <a:gd name="connsiteX187" fmla="*/ 8438 w 10000"/>
                <a:gd name="connsiteY187" fmla="*/ 4613 h 10126"/>
                <a:gd name="connsiteX188" fmla="*/ 8407 w 10000"/>
                <a:gd name="connsiteY188" fmla="*/ 4631 h 10126"/>
                <a:gd name="connsiteX189" fmla="*/ 8375 w 10000"/>
                <a:gd name="connsiteY189" fmla="*/ 4637 h 10126"/>
                <a:gd name="connsiteX190" fmla="*/ 8338 w 10000"/>
                <a:gd name="connsiteY190" fmla="*/ 4631 h 10126"/>
                <a:gd name="connsiteX191" fmla="*/ 8312 w 10000"/>
                <a:gd name="connsiteY191" fmla="*/ 4625 h 10126"/>
                <a:gd name="connsiteX192" fmla="*/ 8287 w 10000"/>
                <a:gd name="connsiteY192" fmla="*/ 4607 h 10126"/>
                <a:gd name="connsiteX193" fmla="*/ 8256 w 10000"/>
                <a:gd name="connsiteY193" fmla="*/ 4589 h 10126"/>
                <a:gd name="connsiteX194" fmla="*/ 8237 w 10000"/>
                <a:gd name="connsiteY194" fmla="*/ 4559 h 10126"/>
                <a:gd name="connsiteX195" fmla="*/ 8225 w 10000"/>
                <a:gd name="connsiteY195" fmla="*/ 4535 h 10126"/>
                <a:gd name="connsiteX196" fmla="*/ 8206 w 10000"/>
                <a:gd name="connsiteY196" fmla="*/ 4511 h 10126"/>
                <a:gd name="connsiteX197" fmla="*/ 8206 w 10000"/>
                <a:gd name="connsiteY197" fmla="*/ 4480 h 10126"/>
                <a:gd name="connsiteX198" fmla="*/ 8206 w 10000"/>
                <a:gd name="connsiteY198" fmla="*/ 4444 h 10126"/>
                <a:gd name="connsiteX199" fmla="*/ 8225 w 10000"/>
                <a:gd name="connsiteY199" fmla="*/ 4408 h 10126"/>
                <a:gd name="connsiteX200" fmla="*/ 8237 w 10000"/>
                <a:gd name="connsiteY200" fmla="*/ 4372 h 10126"/>
                <a:gd name="connsiteX201" fmla="*/ 8250 w 10000"/>
                <a:gd name="connsiteY201" fmla="*/ 4337 h 10126"/>
                <a:gd name="connsiteX202" fmla="*/ 8300 w 10000"/>
                <a:gd name="connsiteY202" fmla="*/ 4270 h 10126"/>
                <a:gd name="connsiteX203" fmla="*/ 8356 w 10000"/>
                <a:gd name="connsiteY203" fmla="*/ 4204 h 10126"/>
                <a:gd name="connsiteX204" fmla="*/ 8407 w 10000"/>
                <a:gd name="connsiteY204" fmla="*/ 4144 h 10126"/>
                <a:gd name="connsiteX205" fmla="*/ 8457 w 10000"/>
                <a:gd name="connsiteY205" fmla="*/ 4078 h 10126"/>
                <a:gd name="connsiteX206" fmla="*/ 8469 w 10000"/>
                <a:gd name="connsiteY206" fmla="*/ 4041 h 10126"/>
                <a:gd name="connsiteX207" fmla="*/ 8482 w 10000"/>
                <a:gd name="connsiteY207" fmla="*/ 4010 h 10126"/>
                <a:gd name="connsiteX208" fmla="*/ 8501 w 10000"/>
                <a:gd name="connsiteY208" fmla="*/ 3968 h 10126"/>
                <a:gd name="connsiteX209" fmla="*/ 8501 w 10000"/>
                <a:gd name="connsiteY209" fmla="*/ 3932 h 10126"/>
                <a:gd name="connsiteX210" fmla="*/ 7748 w 10000"/>
                <a:gd name="connsiteY210" fmla="*/ 3932 h 10126"/>
                <a:gd name="connsiteX211" fmla="*/ 7723 w 10000"/>
                <a:gd name="connsiteY211" fmla="*/ 3926 h 10126"/>
                <a:gd name="connsiteX212" fmla="*/ 7685 w 10000"/>
                <a:gd name="connsiteY212" fmla="*/ 3908 h 10126"/>
                <a:gd name="connsiteX213" fmla="*/ 7660 w 10000"/>
                <a:gd name="connsiteY213" fmla="*/ 3872 h 10126"/>
                <a:gd name="connsiteX214" fmla="*/ 7635 w 10000"/>
                <a:gd name="connsiteY214" fmla="*/ 3836 h 10126"/>
                <a:gd name="connsiteX215" fmla="*/ 7616 w 10000"/>
                <a:gd name="connsiteY215" fmla="*/ 3788 h 10126"/>
                <a:gd name="connsiteX216" fmla="*/ 7597 w 10000"/>
                <a:gd name="connsiteY216" fmla="*/ 3740 h 10126"/>
                <a:gd name="connsiteX217" fmla="*/ 7591 w 10000"/>
                <a:gd name="connsiteY217" fmla="*/ 3686 h 10126"/>
                <a:gd name="connsiteX218" fmla="*/ 7585 w 10000"/>
                <a:gd name="connsiteY218" fmla="*/ 3631 h 10126"/>
                <a:gd name="connsiteX219" fmla="*/ 7547 w 10000"/>
                <a:gd name="connsiteY219" fmla="*/ 3631 h 10126"/>
                <a:gd name="connsiteX220" fmla="*/ 7516 w 10000"/>
                <a:gd name="connsiteY220" fmla="*/ 3625 h 10126"/>
                <a:gd name="connsiteX221" fmla="*/ 7478 w 10000"/>
                <a:gd name="connsiteY221" fmla="*/ 3619 h 10126"/>
                <a:gd name="connsiteX222" fmla="*/ 7447 w 10000"/>
                <a:gd name="connsiteY222" fmla="*/ 3607 h 10126"/>
                <a:gd name="connsiteX223" fmla="*/ 7415 w 10000"/>
                <a:gd name="connsiteY223" fmla="*/ 3589 h 10126"/>
                <a:gd name="connsiteX224" fmla="*/ 7396 w 10000"/>
                <a:gd name="connsiteY224" fmla="*/ 3571 h 10126"/>
                <a:gd name="connsiteX225" fmla="*/ 7384 w 10000"/>
                <a:gd name="connsiteY225" fmla="*/ 3541 h 10126"/>
                <a:gd name="connsiteX226" fmla="*/ 7378 w 10000"/>
                <a:gd name="connsiteY226" fmla="*/ 3517 h 10126"/>
                <a:gd name="connsiteX227" fmla="*/ 7321 w 10000"/>
                <a:gd name="connsiteY227" fmla="*/ 3517 h 10126"/>
                <a:gd name="connsiteX228" fmla="*/ 7271 w 10000"/>
                <a:gd name="connsiteY228" fmla="*/ 3517 h 10126"/>
                <a:gd name="connsiteX229" fmla="*/ 7221 w 10000"/>
                <a:gd name="connsiteY229" fmla="*/ 3517 h 10126"/>
                <a:gd name="connsiteX230" fmla="*/ 7171 w 10000"/>
                <a:gd name="connsiteY230" fmla="*/ 3517 h 10126"/>
                <a:gd name="connsiteX231" fmla="*/ 7127 w 10000"/>
                <a:gd name="connsiteY231" fmla="*/ 3523 h 10126"/>
                <a:gd name="connsiteX232" fmla="*/ 7095 w 10000"/>
                <a:gd name="connsiteY232" fmla="*/ 3529 h 10126"/>
                <a:gd name="connsiteX233" fmla="*/ 7051 w 10000"/>
                <a:gd name="connsiteY233" fmla="*/ 3547 h 10126"/>
                <a:gd name="connsiteX234" fmla="*/ 7008 w 10000"/>
                <a:gd name="connsiteY234" fmla="*/ 3571 h 10126"/>
                <a:gd name="connsiteX235" fmla="*/ 6976 w 10000"/>
                <a:gd name="connsiteY235" fmla="*/ 3601 h 10126"/>
                <a:gd name="connsiteX236" fmla="*/ 6939 w 10000"/>
                <a:gd name="connsiteY236" fmla="*/ 3631 h 10126"/>
                <a:gd name="connsiteX237" fmla="*/ 6920 w 10000"/>
                <a:gd name="connsiteY237" fmla="*/ 3668 h 10126"/>
                <a:gd name="connsiteX238" fmla="*/ 6913 w 10000"/>
                <a:gd name="connsiteY238" fmla="*/ 3704 h 10126"/>
                <a:gd name="connsiteX239" fmla="*/ 6926 w 10000"/>
                <a:gd name="connsiteY239" fmla="*/ 3728 h 10126"/>
                <a:gd name="connsiteX240" fmla="*/ 6964 w 10000"/>
                <a:gd name="connsiteY240" fmla="*/ 3758 h 10126"/>
                <a:gd name="connsiteX241" fmla="*/ 7008 w 10000"/>
                <a:gd name="connsiteY241" fmla="*/ 3794 h 10126"/>
                <a:gd name="connsiteX242" fmla="*/ 7070 w 10000"/>
                <a:gd name="connsiteY242" fmla="*/ 3830 h 10126"/>
                <a:gd name="connsiteX243" fmla="*/ 7133 w 10000"/>
                <a:gd name="connsiteY243" fmla="*/ 3866 h 10126"/>
                <a:gd name="connsiteX244" fmla="*/ 7196 w 10000"/>
                <a:gd name="connsiteY244" fmla="*/ 3896 h 10126"/>
                <a:gd name="connsiteX245" fmla="*/ 7252 w 10000"/>
                <a:gd name="connsiteY245" fmla="*/ 3920 h 10126"/>
                <a:gd name="connsiteX246" fmla="*/ 7290 w 10000"/>
                <a:gd name="connsiteY246" fmla="*/ 3932 h 10126"/>
                <a:gd name="connsiteX247" fmla="*/ 7208 w 10000"/>
                <a:gd name="connsiteY247" fmla="*/ 3992 h 10126"/>
                <a:gd name="connsiteX248" fmla="*/ 7114 w 10000"/>
                <a:gd name="connsiteY248" fmla="*/ 4066 h 10126"/>
                <a:gd name="connsiteX249" fmla="*/ 7070 w 10000"/>
                <a:gd name="connsiteY249" fmla="*/ 4102 h 10126"/>
                <a:gd name="connsiteX250" fmla="*/ 7033 w 10000"/>
                <a:gd name="connsiteY250" fmla="*/ 4144 h 10126"/>
                <a:gd name="connsiteX251" fmla="*/ 7020 w 10000"/>
                <a:gd name="connsiteY251" fmla="*/ 4162 h 10126"/>
                <a:gd name="connsiteX252" fmla="*/ 7008 w 10000"/>
                <a:gd name="connsiteY252" fmla="*/ 4180 h 10126"/>
                <a:gd name="connsiteX253" fmla="*/ 7001 w 10000"/>
                <a:gd name="connsiteY253" fmla="*/ 4204 h 10126"/>
                <a:gd name="connsiteX254" fmla="*/ 6995 w 10000"/>
                <a:gd name="connsiteY254" fmla="*/ 4222 h 10126"/>
                <a:gd name="connsiteX255" fmla="*/ 7001 w 10000"/>
                <a:gd name="connsiteY255" fmla="*/ 4252 h 10126"/>
                <a:gd name="connsiteX256" fmla="*/ 7008 w 10000"/>
                <a:gd name="connsiteY256" fmla="*/ 4270 h 10126"/>
                <a:gd name="connsiteX257" fmla="*/ 7026 w 10000"/>
                <a:gd name="connsiteY257" fmla="*/ 4295 h 10126"/>
                <a:gd name="connsiteX258" fmla="*/ 7039 w 10000"/>
                <a:gd name="connsiteY258" fmla="*/ 4319 h 10126"/>
                <a:gd name="connsiteX259" fmla="*/ 7089 w 10000"/>
                <a:gd name="connsiteY259" fmla="*/ 4366 h 10126"/>
                <a:gd name="connsiteX260" fmla="*/ 7146 w 10000"/>
                <a:gd name="connsiteY260" fmla="*/ 4414 h 10126"/>
                <a:gd name="connsiteX261" fmla="*/ 7208 w 10000"/>
                <a:gd name="connsiteY261" fmla="*/ 4456 h 10126"/>
                <a:gd name="connsiteX262" fmla="*/ 7277 w 10000"/>
                <a:gd name="connsiteY262" fmla="*/ 4493 h 10126"/>
                <a:gd name="connsiteX263" fmla="*/ 7315 w 10000"/>
                <a:gd name="connsiteY263" fmla="*/ 4505 h 10126"/>
                <a:gd name="connsiteX264" fmla="*/ 7346 w 10000"/>
                <a:gd name="connsiteY264" fmla="*/ 4511 h 10126"/>
                <a:gd name="connsiteX265" fmla="*/ 7384 w 10000"/>
                <a:gd name="connsiteY265" fmla="*/ 4517 h 10126"/>
                <a:gd name="connsiteX266" fmla="*/ 7415 w 10000"/>
                <a:gd name="connsiteY266" fmla="*/ 4523 h 10126"/>
                <a:gd name="connsiteX267" fmla="*/ 7585 w 10000"/>
                <a:gd name="connsiteY267" fmla="*/ 5150 h 10126"/>
                <a:gd name="connsiteX268" fmla="*/ 7491 w 10000"/>
                <a:gd name="connsiteY268" fmla="*/ 5150 h 10126"/>
                <a:gd name="connsiteX269" fmla="*/ 7403 w 10000"/>
                <a:gd name="connsiteY269" fmla="*/ 5150 h 10126"/>
                <a:gd name="connsiteX270" fmla="*/ 7321 w 10000"/>
                <a:gd name="connsiteY270" fmla="*/ 5150 h 10126"/>
                <a:gd name="connsiteX271" fmla="*/ 7252 w 10000"/>
                <a:gd name="connsiteY271" fmla="*/ 5150 h 10126"/>
                <a:gd name="connsiteX272" fmla="*/ 7208 w 10000"/>
                <a:gd name="connsiteY272" fmla="*/ 5144 h 10126"/>
                <a:gd name="connsiteX273" fmla="*/ 7164 w 10000"/>
                <a:gd name="connsiteY273" fmla="*/ 5113 h 10126"/>
                <a:gd name="connsiteX274" fmla="*/ 7133 w 10000"/>
                <a:gd name="connsiteY274" fmla="*/ 5101 h 10126"/>
                <a:gd name="connsiteX275" fmla="*/ 7102 w 10000"/>
                <a:gd name="connsiteY275" fmla="*/ 5089 h 10126"/>
                <a:gd name="connsiteX276" fmla="*/ 7070 w 10000"/>
                <a:gd name="connsiteY276" fmla="*/ 5083 h 10126"/>
                <a:gd name="connsiteX277" fmla="*/ 7039 w 10000"/>
                <a:gd name="connsiteY277" fmla="*/ 5077 h 10126"/>
                <a:gd name="connsiteX278" fmla="*/ 7008 w 10000"/>
                <a:gd name="connsiteY278" fmla="*/ 5089 h 10126"/>
                <a:gd name="connsiteX279" fmla="*/ 6957 w 10000"/>
                <a:gd name="connsiteY279" fmla="*/ 5119 h 10126"/>
                <a:gd name="connsiteX280" fmla="*/ 6895 w 10000"/>
                <a:gd name="connsiteY280" fmla="*/ 5162 h 10126"/>
                <a:gd name="connsiteX281" fmla="*/ 6819 w 10000"/>
                <a:gd name="connsiteY281" fmla="*/ 5210 h 10126"/>
                <a:gd name="connsiteX282" fmla="*/ 6744 w 10000"/>
                <a:gd name="connsiteY282" fmla="*/ 5270 h 10126"/>
                <a:gd name="connsiteX283" fmla="*/ 6681 w 10000"/>
                <a:gd name="connsiteY283" fmla="*/ 5318 h 10126"/>
                <a:gd name="connsiteX284" fmla="*/ 6637 w 10000"/>
                <a:gd name="connsiteY284" fmla="*/ 5354 h 10126"/>
                <a:gd name="connsiteX285" fmla="*/ 6625 w 10000"/>
                <a:gd name="connsiteY285" fmla="*/ 5378 h 10126"/>
                <a:gd name="connsiteX286" fmla="*/ 6750 w 10000"/>
                <a:gd name="connsiteY286" fmla="*/ 5450 h 10126"/>
                <a:gd name="connsiteX287" fmla="*/ 6744 w 10000"/>
                <a:gd name="connsiteY287" fmla="*/ 5487 h 10126"/>
                <a:gd name="connsiteX288" fmla="*/ 6725 w 10000"/>
                <a:gd name="connsiteY288" fmla="*/ 5529 h 10126"/>
                <a:gd name="connsiteX289" fmla="*/ 6706 w 10000"/>
                <a:gd name="connsiteY289" fmla="*/ 5560 h 10126"/>
                <a:gd name="connsiteX290" fmla="*/ 6688 w 10000"/>
                <a:gd name="connsiteY290" fmla="*/ 5602 h 10126"/>
                <a:gd name="connsiteX291" fmla="*/ 6637 w 10000"/>
                <a:gd name="connsiteY291" fmla="*/ 5656 h 10126"/>
                <a:gd name="connsiteX292" fmla="*/ 6581 w 10000"/>
                <a:gd name="connsiteY292" fmla="*/ 5710 h 10126"/>
                <a:gd name="connsiteX293" fmla="*/ 6518 w 10000"/>
                <a:gd name="connsiteY293" fmla="*/ 5758 h 10126"/>
                <a:gd name="connsiteX294" fmla="*/ 6443 w 10000"/>
                <a:gd name="connsiteY294" fmla="*/ 5801 h 10126"/>
                <a:gd name="connsiteX295" fmla="*/ 6374 w 10000"/>
                <a:gd name="connsiteY295" fmla="*/ 5837 h 10126"/>
                <a:gd name="connsiteX296" fmla="*/ 6299 w 10000"/>
                <a:gd name="connsiteY296" fmla="*/ 5872 h 10126"/>
                <a:gd name="connsiteX297" fmla="*/ 6223 w 10000"/>
                <a:gd name="connsiteY297" fmla="*/ 5920 h 10126"/>
                <a:gd name="connsiteX298" fmla="*/ 6154 w 10000"/>
                <a:gd name="connsiteY298" fmla="*/ 5956 h 10126"/>
                <a:gd name="connsiteX299" fmla="*/ 6092 w 10000"/>
                <a:gd name="connsiteY299" fmla="*/ 5999 h 10126"/>
                <a:gd name="connsiteX300" fmla="*/ 6035 w 10000"/>
                <a:gd name="connsiteY300" fmla="*/ 6047 h 10126"/>
                <a:gd name="connsiteX301" fmla="*/ 6004 w 10000"/>
                <a:gd name="connsiteY301" fmla="*/ 6071 h 10126"/>
                <a:gd name="connsiteX302" fmla="*/ 5985 w 10000"/>
                <a:gd name="connsiteY302" fmla="*/ 6095 h 10126"/>
                <a:gd name="connsiteX303" fmla="*/ 5966 w 10000"/>
                <a:gd name="connsiteY303" fmla="*/ 6125 h 10126"/>
                <a:gd name="connsiteX304" fmla="*/ 5947 w 10000"/>
                <a:gd name="connsiteY304" fmla="*/ 6155 h 10126"/>
                <a:gd name="connsiteX305" fmla="*/ 5935 w 10000"/>
                <a:gd name="connsiteY305" fmla="*/ 6193 h 10126"/>
                <a:gd name="connsiteX306" fmla="*/ 5922 w 10000"/>
                <a:gd name="connsiteY306" fmla="*/ 6223 h 10126"/>
                <a:gd name="connsiteX307" fmla="*/ 5916 w 10000"/>
                <a:gd name="connsiteY307" fmla="*/ 6265 h 10126"/>
                <a:gd name="connsiteX308" fmla="*/ 5916 w 10000"/>
                <a:gd name="connsiteY308" fmla="*/ 6307 h 10126"/>
                <a:gd name="connsiteX309" fmla="*/ 5859 w 10000"/>
                <a:gd name="connsiteY309" fmla="*/ 6325 h 10126"/>
                <a:gd name="connsiteX310" fmla="*/ 5809 w 10000"/>
                <a:gd name="connsiteY310" fmla="*/ 6343 h 10126"/>
                <a:gd name="connsiteX311" fmla="*/ 5765 w 10000"/>
                <a:gd name="connsiteY311" fmla="*/ 6366 h 10126"/>
                <a:gd name="connsiteX312" fmla="*/ 5721 w 10000"/>
                <a:gd name="connsiteY312" fmla="*/ 6390 h 10126"/>
                <a:gd name="connsiteX313" fmla="*/ 5634 w 10000"/>
                <a:gd name="connsiteY313" fmla="*/ 6451 h 10126"/>
                <a:gd name="connsiteX314" fmla="*/ 5558 w 10000"/>
                <a:gd name="connsiteY314" fmla="*/ 6523 h 10126"/>
                <a:gd name="connsiteX315" fmla="*/ 5420 w 10000"/>
                <a:gd name="connsiteY315" fmla="*/ 6686 h 10126"/>
                <a:gd name="connsiteX316" fmla="*/ 5289 w 10000"/>
                <a:gd name="connsiteY316" fmla="*/ 6860 h 10126"/>
                <a:gd name="connsiteX317" fmla="*/ 5220 w 10000"/>
                <a:gd name="connsiteY317" fmla="*/ 6951 h 10126"/>
                <a:gd name="connsiteX318" fmla="*/ 5151 w 10000"/>
                <a:gd name="connsiteY318" fmla="*/ 7029 h 10126"/>
                <a:gd name="connsiteX319" fmla="*/ 5075 w 10000"/>
                <a:gd name="connsiteY319" fmla="*/ 7102 h 10126"/>
                <a:gd name="connsiteX320" fmla="*/ 4994 w 10000"/>
                <a:gd name="connsiteY320" fmla="*/ 7168 h 10126"/>
                <a:gd name="connsiteX321" fmla="*/ 4944 w 10000"/>
                <a:gd name="connsiteY321" fmla="*/ 7198 h 10126"/>
                <a:gd name="connsiteX322" fmla="*/ 4893 w 10000"/>
                <a:gd name="connsiteY322" fmla="*/ 7222 h 10126"/>
                <a:gd name="connsiteX323" fmla="*/ 4849 w 10000"/>
                <a:gd name="connsiteY323" fmla="*/ 7246 h 10126"/>
                <a:gd name="connsiteX324" fmla="*/ 4793 w 10000"/>
                <a:gd name="connsiteY324" fmla="*/ 7271 h 10126"/>
                <a:gd name="connsiteX325" fmla="*/ 4730 w 10000"/>
                <a:gd name="connsiteY325" fmla="*/ 7289 h 10126"/>
                <a:gd name="connsiteX326" fmla="*/ 4674 w 10000"/>
                <a:gd name="connsiteY326" fmla="*/ 7301 h 10126"/>
                <a:gd name="connsiteX327" fmla="*/ 4605 w 10000"/>
                <a:gd name="connsiteY327" fmla="*/ 7307 h 10126"/>
                <a:gd name="connsiteX328" fmla="*/ 4536 w 10000"/>
                <a:gd name="connsiteY328" fmla="*/ 7307 h 10126"/>
                <a:gd name="connsiteX329" fmla="*/ 4536 w 10000"/>
                <a:gd name="connsiteY329" fmla="*/ 7360 h 10126"/>
                <a:gd name="connsiteX330" fmla="*/ 4536 w 10000"/>
                <a:gd name="connsiteY330" fmla="*/ 7414 h 10126"/>
                <a:gd name="connsiteX331" fmla="*/ 4536 w 10000"/>
                <a:gd name="connsiteY331" fmla="*/ 7456 h 10126"/>
                <a:gd name="connsiteX332" fmla="*/ 4536 w 10000"/>
                <a:gd name="connsiteY332" fmla="*/ 7493 h 10126"/>
                <a:gd name="connsiteX333" fmla="*/ 4536 w 10000"/>
                <a:gd name="connsiteY333" fmla="*/ 7559 h 10126"/>
                <a:gd name="connsiteX334" fmla="*/ 4536 w 10000"/>
                <a:gd name="connsiteY334" fmla="*/ 7662 h 10126"/>
                <a:gd name="connsiteX335" fmla="*/ 4536 w 10000"/>
                <a:gd name="connsiteY335" fmla="*/ 7771 h 10126"/>
                <a:gd name="connsiteX336" fmla="*/ 4548 w 10000"/>
                <a:gd name="connsiteY336" fmla="*/ 7884 h 10126"/>
                <a:gd name="connsiteX337" fmla="*/ 4561 w 10000"/>
                <a:gd name="connsiteY337" fmla="*/ 7945 h 10126"/>
                <a:gd name="connsiteX338" fmla="*/ 4573 w 10000"/>
                <a:gd name="connsiteY338" fmla="*/ 7999 h 10126"/>
                <a:gd name="connsiteX339" fmla="*/ 4586 w 10000"/>
                <a:gd name="connsiteY339" fmla="*/ 8047 h 10126"/>
                <a:gd name="connsiteX340" fmla="*/ 4611 w 10000"/>
                <a:gd name="connsiteY340" fmla="*/ 8089 h 10126"/>
                <a:gd name="connsiteX341" fmla="*/ 4636 w 10000"/>
                <a:gd name="connsiteY341" fmla="*/ 8132 h 10126"/>
                <a:gd name="connsiteX342" fmla="*/ 4668 w 10000"/>
                <a:gd name="connsiteY342" fmla="*/ 8162 h 10126"/>
                <a:gd name="connsiteX343" fmla="*/ 4705 w 10000"/>
                <a:gd name="connsiteY343" fmla="*/ 8186 h 10126"/>
                <a:gd name="connsiteX344" fmla="*/ 4749 w 10000"/>
                <a:gd name="connsiteY344" fmla="*/ 8198 h 10126"/>
                <a:gd name="connsiteX345" fmla="*/ 4711 w 10000"/>
                <a:gd name="connsiteY345" fmla="*/ 8294 h 10126"/>
                <a:gd name="connsiteX346" fmla="*/ 4668 w 10000"/>
                <a:gd name="connsiteY346" fmla="*/ 8379 h 10126"/>
                <a:gd name="connsiteX347" fmla="*/ 4617 w 10000"/>
                <a:gd name="connsiteY347" fmla="*/ 8457 h 10126"/>
                <a:gd name="connsiteX348" fmla="*/ 4573 w 10000"/>
                <a:gd name="connsiteY348" fmla="*/ 8529 h 10126"/>
                <a:gd name="connsiteX349" fmla="*/ 4523 w 10000"/>
                <a:gd name="connsiteY349" fmla="*/ 8614 h 10126"/>
                <a:gd name="connsiteX350" fmla="*/ 4492 w 10000"/>
                <a:gd name="connsiteY350" fmla="*/ 8692 h 10126"/>
                <a:gd name="connsiteX351" fmla="*/ 4473 w 10000"/>
                <a:gd name="connsiteY351" fmla="*/ 8728 h 10126"/>
                <a:gd name="connsiteX352" fmla="*/ 4467 w 10000"/>
                <a:gd name="connsiteY352" fmla="*/ 8771 h 10126"/>
                <a:gd name="connsiteX353" fmla="*/ 4460 w 10000"/>
                <a:gd name="connsiteY353" fmla="*/ 8819 h 10126"/>
                <a:gd name="connsiteX354" fmla="*/ 4454 w 10000"/>
                <a:gd name="connsiteY354" fmla="*/ 8861 h 10126"/>
                <a:gd name="connsiteX355" fmla="*/ 4460 w 10000"/>
                <a:gd name="connsiteY355" fmla="*/ 8878 h 10126"/>
                <a:gd name="connsiteX356" fmla="*/ 4467 w 10000"/>
                <a:gd name="connsiteY356" fmla="*/ 8890 h 10126"/>
                <a:gd name="connsiteX357" fmla="*/ 4479 w 10000"/>
                <a:gd name="connsiteY357" fmla="*/ 8902 h 10126"/>
                <a:gd name="connsiteX358" fmla="*/ 4504 w 10000"/>
                <a:gd name="connsiteY358" fmla="*/ 8914 h 10126"/>
                <a:gd name="connsiteX359" fmla="*/ 4542 w 10000"/>
                <a:gd name="connsiteY359" fmla="*/ 8938 h 10126"/>
                <a:gd name="connsiteX360" fmla="*/ 4580 w 10000"/>
                <a:gd name="connsiteY360" fmla="*/ 8944 h 10126"/>
                <a:gd name="connsiteX361" fmla="*/ 4580 w 10000"/>
                <a:gd name="connsiteY361" fmla="*/ 9162 h 10126"/>
                <a:gd name="connsiteX362" fmla="*/ 4529 w 10000"/>
                <a:gd name="connsiteY362" fmla="*/ 9247 h 10126"/>
                <a:gd name="connsiteX363" fmla="*/ 4492 w 10000"/>
                <a:gd name="connsiteY363" fmla="*/ 9337 h 10126"/>
                <a:gd name="connsiteX364" fmla="*/ 4460 w 10000"/>
                <a:gd name="connsiteY364" fmla="*/ 9372 h 10126"/>
                <a:gd name="connsiteX365" fmla="*/ 4429 w 10000"/>
                <a:gd name="connsiteY365" fmla="*/ 9397 h 10126"/>
                <a:gd name="connsiteX366" fmla="*/ 4404 w 10000"/>
                <a:gd name="connsiteY366" fmla="*/ 9409 h 10126"/>
                <a:gd name="connsiteX367" fmla="*/ 4385 w 10000"/>
                <a:gd name="connsiteY367" fmla="*/ 9415 h 10126"/>
                <a:gd name="connsiteX368" fmla="*/ 4360 w 10000"/>
                <a:gd name="connsiteY368" fmla="*/ 9421 h 10126"/>
                <a:gd name="connsiteX369" fmla="*/ 4329 w 10000"/>
                <a:gd name="connsiteY369" fmla="*/ 9421 h 10126"/>
                <a:gd name="connsiteX370" fmla="*/ 4329 w 10000"/>
                <a:gd name="connsiteY370" fmla="*/ 9469 h 10126"/>
                <a:gd name="connsiteX371" fmla="*/ 4335 w 10000"/>
                <a:gd name="connsiteY371" fmla="*/ 9529 h 10126"/>
                <a:gd name="connsiteX372" fmla="*/ 4348 w 10000"/>
                <a:gd name="connsiteY372" fmla="*/ 9559 h 10126"/>
                <a:gd name="connsiteX373" fmla="*/ 4354 w 10000"/>
                <a:gd name="connsiteY373" fmla="*/ 9583 h 10126"/>
                <a:gd name="connsiteX374" fmla="*/ 4360 w 10000"/>
                <a:gd name="connsiteY374" fmla="*/ 9602 h 10126"/>
                <a:gd name="connsiteX375" fmla="*/ 4373 w 10000"/>
                <a:gd name="connsiteY375" fmla="*/ 9608 h 10126"/>
                <a:gd name="connsiteX376" fmla="*/ 4210 w 10000"/>
                <a:gd name="connsiteY376" fmla="*/ 9734 h 10126"/>
                <a:gd name="connsiteX377" fmla="*/ 4072 w 10000"/>
                <a:gd name="connsiteY377" fmla="*/ 9838 h 10126"/>
                <a:gd name="connsiteX378" fmla="*/ 4009 w 10000"/>
                <a:gd name="connsiteY378" fmla="*/ 9897 h 10126"/>
                <a:gd name="connsiteX379" fmla="*/ 3952 w 10000"/>
                <a:gd name="connsiteY379" fmla="*/ 9963 h 10126"/>
                <a:gd name="connsiteX380" fmla="*/ 3890 w 10000"/>
                <a:gd name="connsiteY380" fmla="*/ 10042 h 10126"/>
                <a:gd name="connsiteX381" fmla="*/ 3833 w 10000"/>
                <a:gd name="connsiteY381" fmla="*/ 10126 h 10126"/>
                <a:gd name="connsiteX382" fmla="*/ 3733 w 10000"/>
                <a:gd name="connsiteY382" fmla="*/ 10084 h 10126"/>
                <a:gd name="connsiteX383" fmla="*/ 3664 w 10000"/>
                <a:gd name="connsiteY383" fmla="*/ 10042 h 10126"/>
                <a:gd name="connsiteX384" fmla="*/ 3607 w 10000"/>
                <a:gd name="connsiteY384" fmla="*/ 9999 h 10126"/>
                <a:gd name="connsiteX385" fmla="*/ 3563 w 10000"/>
                <a:gd name="connsiteY385" fmla="*/ 9951 h 10126"/>
                <a:gd name="connsiteX386" fmla="*/ 3532 w 10000"/>
                <a:gd name="connsiteY386" fmla="*/ 9891 h 10126"/>
                <a:gd name="connsiteX387" fmla="*/ 3513 w 10000"/>
                <a:gd name="connsiteY387" fmla="*/ 9832 h 10126"/>
                <a:gd name="connsiteX388" fmla="*/ 3482 w 10000"/>
                <a:gd name="connsiteY388" fmla="*/ 9758 h 10126"/>
                <a:gd name="connsiteX389" fmla="*/ 3457 w 10000"/>
                <a:gd name="connsiteY389" fmla="*/ 9686 h 10126"/>
                <a:gd name="connsiteX390" fmla="*/ 3400 w 10000"/>
                <a:gd name="connsiteY390" fmla="*/ 9547 h 10126"/>
                <a:gd name="connsiteX391" fmla="*/ 3325 w 10000"/>
                <a:gd name="connsiteY391" fmla="*/ 9415 h 10126"/>
                <a:gd name="connsiteX392" fmla="*/ 3237 w 10000"/>
                <a:gd name="connsiteY392" fmla="*/ 9277 h 10126"/>
                <a:gd name="connsiteX393" fmla="*/ 3143 w 10000"/>
                <a:gd name="connsiteY393" fmla="*/ 9132 h 10126"/>
                <a:gd name="connsiteX394" fmla="*/ 3049 w 10000"/>
                <a:gd name="connsiteY394" fmla="*/ 8999 h 10126"/>
                <a:gd name="connsiteX395" fmla="*/ 2967 w 10000"/>
                <a:gd name="connsiteY395" fmla="*/ 8867 h 10126"/>
                <a:gd name="connsiteX396" fmla="*/ 2892 w 10000"/>
                <a:gd name="connsiteY396" fmla="*/ 8747 h 10126"/>
                <a:gd name="connsiteX397" fmla="*/ 2829 w 10000"/>
                <a:gd name="connsiteY397" fmla="*/ 8644 h 10126"/>
                <a:gd name="connsiteX398" fmla="*/ 2773 w 10000"/>
                <a:gd name="connsiteY398" fmla="*/ 8529 h 10126"/>
                <a:gd name="connsiteX399" fmla="*/ 2735 w 10000"/>
                <a:gd name="connsiteY399" fmla="*/ 8427 h 10126"/>
                <a:gd name="connsiteX400" fmla="*/ 2698 w 10000"/>
                <a:gd name="connsiteY400" fmla="*/ 8319 h 10126"/>
                <a:gd name="connsiteX401" fmla="*/ 2666 w 10000"/>
                <a:gd name="connsiteY401" fmla="*/ 8210 h 10126"/>
                <a:gd name="connsiteX402" fmla="*/ 2629 w 10000"/>
                <a:gd name="connsiteY402" fmla="*/ 8101 h 10126"/>
                <a:gd name="connsiteX403" fmla="*/ 2597 w 10000"/>
                <a:gd name="connsiteY403" fmla="*/ 7993 h 10126"/>
                <a:gd name="connsiteX404" fmla="*/ 2553 w 10000"/>
                <a:gd name="connsiteY404" fmla="*/ 7872 h 10126"/>
                <a:gd name="connsiteX405" fmla="*/ 2497 w 10000"/>
                <a:gd name="connsiteY405" fmla="*/ 7753 h 10126"/>
                <a:gd name="connsiteX406" fmla="*/ 2359 w 10000"/>
                <a:gd name="connsiteY406" fmla="*/ 7559 h 10126"/>
                <a:gd name="connsiteX407" fmla="*/ 2208 w 10000"/>
                <a:gd name="connsiteY407" fmla="*/ 7378 h 10126"/>
                <a:gd name="connsiteX408" fmla="*/ 2139 w 10000"/>
                <a:gd name="connsiteY408" fmla="*/ 7295 h 10126"/>
                <a:gd name="connsiteX409" fmla="*/ 2070 w 10000"/>
                <a:gd name="connsiteY409" fmla="*/ 7198 h 10126"/>
                <a:gd name="connsiteX410" fmla="*/ 2008 w 10000"/>
                <a:gd name="connsiteY410" fmla="*/ 7108 h 10126"/>
                <a:gd name="connsiteX411" fmla="*/ 1957 w 10000"/>
                <a:gd name="connsiteY411" fmla="*/ 7011 h 10126"/>
                <a:gd name="connsiteX412" fmla="*/ 1888 w 10000"/>
                <a:gd name="connsiteY412" fmla="*/ 6776 h 10126"/>
                <a:gd name="connsiteX413" fmla="*/ 1832 w 10000"/>
                <a:gd name="connsiteY413" fmla="*/ 6559 h 10126"/>
                <a:gd name="connsiteX414" fmla="*/ 1782 w 10000"/>
                <a:gd name="connsiteY414" fmla="*/ 6349 h 10126"/>
                <a:gd name="connsiteX415" fmla="*/ 1757 w 10000"/>
                <a:gd name="connsiteY415" fmla="*/ 6137 h 10126"/>
                <a:gd name="connsiteX416" fmla="*/ 1725 w 10000"/>
                <a:gd name="connsiteY416" fmla="*/ 5932 h 10126"/>
                <a:gd name="connsiteX417" fmla="*/ 1713 w 10000"/>
                <a:gd name="connsiteY417" fmla="*/ 5716 h 10126"/>
                <a:gd name="connsiteX418" fmla="*/ 1706 w 10000"/>
                <a:gd name="connsiteY418" fmla="*/ 5493 h 10126"/>
                <a:gd name="connsiteX419" fmla="*/ 1706 w 10000"/>
                <a:gd name="connsiteY419" fmla="*/ 5270 h 10126"/>
                <a:gd name="connsiteX420" fmla="*/ 1681 w 10000"/>
                <a:gd name="connsiteY420" fmla="*/ 5264 h 10126"/>
                <a:gd name="connsiteX421" fmla="*/ 1650 w 10000"/>
                <a:gd name="connsiteY421" fmla="*/ 5258 h 10126"/>
                <a:gd name="connsiteX422" fmla="*/ 1625 w 10000"/>
                <a:gd name="connsiteY422" fmla="*/ 5252 h 10126"/>
                <a:gd name="connsiteX423" fmla="*/ 1606 w 10000"/>
                <a:gd name="connsiteY423" fmla="*/ 5228 h 10126"/>
                <a:gd name="connsiteX424" fmla="*/ 1581 w 10000"/>
                <a:gd name="connsiteY424" fmla="*/ 5216 h 10126"/>
                <a:gd name="connsiteX425" fmla="*/ 1568 w 10000"/>
                <a:gd name="connsiteY425" fmla="*/ 5198 h 10126"/>
                <a:gd name="connsiteX426" fmla="*/ 1550 w 10000"/>
                <a:gd name="connsiteY426" fmla="*/ 5174 h 10126"/>
                <a:gd name="connsiteX427" fmla="*/ 1543 w 10000"/>
                <a:gd name="connsiteY427" fmla="*/ 5150 h 10126"/>
                <a:gd name="connsiteX428" fmla="*/ 1518 w 10000"/>
                <a:gd name="connsiteY428" fmla="*/ 5101 h 10126"/>
                <a:gd name="connsiteX429" fmla="*/ 1506 w 10000"/>
                <a:gd name="connsiteY429" fmla="*/ 5047 h 10126"/>
                <a:gd name="connsiteX430" fmla="*/ 1499 w 10000"/>
                <a:gd name="connsiteY430" fmla="*/ 4987 h 10126"/>
                <a:gd name="connsiteX431" fmla="*/ 1499 w 10000"/>
                <a:gd name="connsiteY431" fmla="*/ 4933 h 10126"/>
                <a:gd name="connsiteX432" fmla="*/ 1443 w 10000"/>
                <a:gd name="connsiteY432" fmla="*/ 4969 h 10126"/>
                <a:gd name="connsiteX433" fmla="*/ 1405 w 10000"/>
                <a:gd name="connsiteY433" fmla="*/ 5011 h 10126"/>
                <a:gd name="connsiteX434" fmla="*/ 1361 w 10000"/>
                <a:gd name="connsiteY434" fmla="*/ 5053 h 10126"/>
                <a:gd name="connsiteX435" fmla="*/ 1317 w 10000"/>
                <a:gd name="connsiteY435" fmla="*/ 5101 h 10126"/>
                <a:gd name="connsiteX436" fmla="*/ 1261 w 10000"/>
                <a:gd name="connsiteY436" fmla="*/ 5198 h 10126"/>
                <a:gd name="connsiteX437" fmla="*/ 1205 w 10000"/>
                <a:gd name="connsiteY437" fmla="*/ 5300 h 10126"/>
                <a:gd name="connsiteX438" fmla="*/ 1167 w 10000"/>
                <a:gd name="connsiteY438" fmla="*/ 5343 h 10126"/>
                <a:gd name="connsiteX439" fmla="*/ 1142 w 10000"/>
                <a:gd name="connsiteY439" fmla="*/ 5384 h 10126"/>
                <a:gd name="connsiteX440" fmla="*/ 1104 w 10000"/>
                <a:gd name="connsiteY440" fmla="*/ 5426 h 10126"/>
                <a:gd name="connsiteX441" fmla="*/ 1073 w 10000"/>
                <a:gd name="connsiteY441" fmla="*/ 5456 h 10126"/>
                <a:gd name="connsiteX442" fmla="*/ 1029 w 10000"/>
                <a:gd name="connsiteY442" fmla="*/ 5487 h 10126"/>
                <a:gd name="connsiteX443" fmla="*/ 985 w 10000"/>
                <a:gd name="connsiteY443" fmla="*/ 5505 h 10126"/>
                <a:gd name="connsiteX444" fmla="*/ 928 w 10000"/>
                <a:gd name="connsiteY444" fmla="*/ 5517 h 10126"/>
                <a:gd name="connsiteX445" fmla="*/ 872 w 10000"/>
                <a:gd name="connsiteY445" fmla="*/ 5523 h 10126"/>
                <a:gd name="connsiteX446" fmla="*/ 841 w 10000"/>
                <a:gd name="connsiteY446" fmla="*/ 5517 h 10126"/>
                <a:gd name="connsiteX447" fmla="*/ 797 w 10000"/>
                <a:gd name="connsiteY447" fmla="*/ 5505 h 10126"/>
                <a:gd name="connsiteX448" fmla="*/ 753 w 10000"/>
                <a:gd name="connsiteY448" fmla="*/ 5487 h 10126"/>
                <a:gd name="connsiteX449" fmla="*/ 709 w 10000"/>
                <a:gd name="connsiteY449" fmla="*/ 5456 h 10126"/>
                <a:gd name="connsiteX450" fmla="*/ 659 w 10000"/>
                <a:gd name="connsiteY450" fmla="*/ 5420 h 10126"/>
                <a:gd name="connsiteX451" fmla="*/ 609 w 10000"/>
                <a:gd name="connsiteY451" fmla="*/ 5384 h 10126"/>
                <a:gd name="connsiteX452" fmla="*/ 565 w 10000"/>
                <a:gd name="connsiteY452" fmla="*/ 5343 h 10126"/>
                <a:gd name="connsiteX453" fmla="*/ 514 w 10000"/>
                <a:gd name="connsiteY453" fmla="*/ 5294 h 10126"/>
                <a:gd name="connsiteX454" fmla="*/ 471 w 10000"/>
                <a:gd name="connsiteY454" fmla="*/ 5246 h 10126"/>
                <a:gd name="connsiteX455" fmla="*/ 433 w 10000"/>
                <a:gd name="connsiteY455" fmla="*/ 5192 h 10126"/>
                <a:gd name="connsiteX456" fmla="*/ 389 w 10000"/>
                <a:gd name="connsiteY456" fmla="*/ 5138 h 10126"/>
                <a:gd name="connsiteX457" fmla="*/ 358 w 10000"/>
                <a:gd name="connsiteY457" fmla="*/ 5083 h 10126"/>
                <a:gd name="connsiteX458" fmla="*/ 326 w 10000"/>
                <a:gd name="connsiteY458" fmla="*/ 5035 h 10126"/>
                <a:gd name="connsiteX459" fmla="*/ 307 w 10000"/>
                <a:gd name="connsiteY459" fmla="*/ 4987 h 10126"/>
                <a:gd name="connsiteX460" fmla="*/ 295 w 10000"/>
                <a:gd name="connsiteY460" fmla="*/ 4939 h 10126"/>
                <a:gd name="connsiteX461" fmla="*/ 289 w 10000"/>
                <a:gd name="connsiteY461" fmla="*/ 4890 h 10126"/>
                <a:gd name="connsiteX462" fmla="*/ 320 w 10000"/>
                <a:gd name="connsiteY462" fmla="*/ 4872 h 10126"/>
                <a:gd name="connsiteX463" fmla="*/ 395 w 10000"/>
                <a:gd name="connsiteY463" fmla="*/ 4837 h 10126"/>
                <a:gd name="connsiteX464" fmla="*/ 483 w 10000"/>
                <a:gd name="connsiteY464" fmla="*/ 4801 h 10126"/>
                <a:gd name="connsiteX465" fmla="*/ 533 w 10000"/>
                <a:gd name="connsiteY465" fmla="*/ 4783 h 10126"/>
                <a:gd name="connsiteX466" fmla="*/ 483 w 10000"/>
                <a:gd name="connsiteY466" fmla="*/ 4783 h 10126"/>
                <a:gd name="connsiteX467" fmla="*/ 420 w 10000"/>
                <a:gd name="connsiteY467" fmla="*/ 4777 h 10126"/>
                <a:gd name="connsiteX468" fmla="*/ 370 w 10000"/>
                <a:gd name="connsiteY468" fmla="*/ 4765 h 10126"/>
                <a:gd name="connsiteX469" fmla="*/ 320 w 10000"/>
                <a:gd name="connsiteY469" fmla="*/ 4759 h 10126"/>
                <a:gd name="connsiteX470" fmla="*/ 276 w 10000"/>
                <a:gd name="connsiteY470" fmla="*/ 4740 h 10126"/>
                <a:gd name="connsiteX471" fmla="*/ 232 w 10000"/>
                <a:gd name="connsiteY471" fmla="*/ 4728 h 10126"/>
                <a:gd name="connsiteX472" fmla="*/ 188 w 10000"/>
                <a:gd name="connsiteY472" fmla="*/ 4710 h 10126"/>
                <a:gd name="connsiteX473" fmla="*/ 157 w 10000"/>
                <a:gd name="connsiteY473" fmla="*/ 4685 h 10126"/>
                <a:gd name="connsiteX474" fmla="*/ 132 w 10000"/>
                <a:gd name="connsiteY474" fmla="*/ 4661 h 10126"/>
                <a:gd name="connsiteX475" fmla="*/ 100 w 10000"/>
                <a:gd name="connsiteY475" fmla="*/ 4637 h 10126"/>
                <a:gd name="connsiteX476" fmla="*/ 75 w 10000"/>
                <a:gd name="connsiteY476" fmla="*/ 4607 h 10126"/>
                <a:gd name="connsiteX477" fmla="*/ 50 w 10000"/>
                <a:gd name="connsiteY477" fmla="*/ 4583 h 10126"/>
                <a:gd name="connsiteX478" fmla="*/ 19 w 10000"/>
                <a:gd name="connsiteY478" fmla="*/ 4511 h 10126"/>
                <a:gd name="connsiteX479" fmla="*/ 0 w 10000"/>
                <a:gd name="connsiteY479" fmla="*/ 4444 h 10126"/>
                <a:gd name="connsiteX480" fmla="*/ 63 w 10000"/>
                <a:gd name="connsiteY480" fmla="*/ 4396 h 10126"/>
                <a:gd name="connsiteX481" fmla="*/ 132 w 10000"/>
                <a:gd name="connsiteY481" fmla="*/ 4360 h 10126"/>
                <a:gd name="connsiteX482" fmla="*/ 201 w 10000"/>
                <a:gd name="connsiteY482" fmla="*/ 4331 h 10126"/>
                <a:gd name="connsiteX483" fmla="*/ 276 w 10000"/>
                <a:gd name="connsiteY483" fmla="*/ 4307 h 10126"/>
                <a:gd name="connsiteX484" fmla="*/ 420 w 10000"/>
                <a:gd name="connsiteY484" fmla="*/ 4277 h 10126"/>
                <a:gd name="connsiteX485" fmla="*/ 565 w 10000"/>
                <a:gd name="connsiteY485" fmla="*/ 4252 h 10126"/>
                <a:gd name="connsiteX486" fmla="*/ 640 w 10000"/>
                <a:gd name="connsiteY486" fmla="*/ 4240 h 10126"/>
                <a:gd name="connsiteX487" fmla="*/ 709 w 10000"/>
                <a:gd name="connsiteY487" fmla="*/ 4216 h 10126"/>
                <a:gd name="connsiteX488" fmla="*/ 772 w 10000"/>
                <a:gd name="connsiteY488" fmla="*/ 4198 h 10126"/>
                <a:gd name="connsiteX489" fmla="*/ 834 w 10000"/>
                <a:gd name="connsiteY489" fmla="*/ 4168 h 10126"/>
                <a:gd name="connsiteX490" fmla="*/ 891 w 10000"/>
                <a:gd name="connsiteY490" fmla="*/ 4138 h 10126"/>
                <a:gd name="connsiteX491" fmla="*/ 947 w 10000"/>
                <a:gd name="connsiteY491" fmla="*/ 4090 h 10126"/>
                <a:gd name="connsiteX492" fmla="*/ 997 w 10000"/>
                <a:gd name="connsiteY492" fmla="*/ 4035 h 10126"/>
                <a:gd name="connsiteX493" fmla="*/ 1035 w 10000"/>
                <a:gd name="connsiteY493" fmla="*/ 3968 h 10126"/>
                <a:gd name="connsiteX494" fmla="*/ 1010 w 10000"/>
                <a:gd name="connsiteY494" fmla="*/ 3956 h 10126"/>
                <a:gd name="connsiteX495" fmla="*/ 985 w 10000"/>
                <a:gd name="connsiteY495" fmla="*/ 3938 h 10126"/>
                <a:gd name="connsiteX496" fmla="*/ 947 w 10000"/>
                <a:gd name="connsiteY496" fmla="*/ 3914 h 10126"/>
                <a:gd name="connsiteX497" fmla="*/ 910 w 10000"/>
                <a:gd name="connsiteY497" fmla="*/ 3878 h 10126"/>
                <a:gd name="connsiteX498" fmla="*/ 822 w 10000"/>
                <a:gd name="connsiteY498" fmla="*/ 3806 h 10126"/>
                <a:gd name="connsiteX499" fmla="*/ 740 w 10000"/>
                <a:gd name="connsiteY499" fmla="*/ 3722 h 10126"/>
                <a:gd name="connsiteX500" fmla="*/ 665 w 10000"/>
                <a:gd name="connsiteY500" fmla="*/ 3631 h 10126"/>
                <a:gd name="connsiteX501" fmla="*/ 596 w 10000"/>
                <a:gd name="connsiteY501" fmla="*/ 3535 h 10126"/>
                <a:gd name="connsiteX502" fmla="*/ 577 w 10000"/>
                <a:gd name="connsiteY502" fmla="*/ 3493 h 10126"/>
                <a:gd name="connsiteX503" fmla="*/ 558 w 10000"/>
                <a:gd name="connsiteY503" fmla="*/ 3451 h 10126"/>
                <a:gd name="connsiteX504" fmla="*/ 540 w 10000"/>
                <a:gd name="connsiteY504" fmla="*/ 3408 h 10126"/>
                <a:gd name="connsiteX505" fmla="*/ 533 w 10000"/>
                <a:gd name="connsiteY505" fmla="*/ 3372 h 10126"/>
                <a:gd name="connsiteX506" fmla="*/ 508 w 10000"/>
                <a:gd name="connsiteY506" fmla="*/ 3366 h 10126"/>
                <a:gd name="connsiteX507" fmla="*/ 483 w 10000"/>
                <a:gd name="connsiteY507" fmla="*/ 3360 h 10126"/>
                <a:gd name="connsiteX508" fmla="*/ 458 w 10000"/>
                <a:gd name="connsiteY508" fmla="*/ 3348 h 10126"/>
                <a:gd name="connsiteX509" fmla="*/ 439 w 10000"/>
                <a:gd name="connsiteY509" fmla="*/ 3325 h 10126"/>
                <a:gd name="connsiteX510" fmla="*/ 402 w 10000"/>
                <a:gd name="connsiteY510" fmla="*/ 3282 h 10126"/>
                <a:gd name="connsiteX511" fmla="*/ 370 w 10000"/>
                <a:gd name="connsiteY511" fmla="*/ 3222 h 10126"/>
                <a:gd name="connsiteX512" fmla="*/ 370 w 10000"/>
                <a:gd name="connsiteY512" fmla="*/ 3077 h 10126"/>
                <a:gd name="connsiteX513" fmla="*/ 458 w 10000"/>
                <a:gd name="connsiteY513" fmla="*/ 3071 h 10126"/>
                <a:gd name="connsiteX514" fmla="*/ 540 w 10000"/>
                <a:gd name="connsiteY514" fmla="*/ 3065 h 10126"/>
                <a:gd name="connsiteX515" fmla="*/ 615 w 10000"/>
                <a:gd name="connsiteY515" fmla="*/ 3053 h 10126"/>
                <a:gd name="connsiteX516" fmla="*/ 684 w 10000"/>
                <a:gd name="connsiteY516" fmla="*/ 3029 h 10126"/>
                <a:gd name="connsiteX517" fmla="*/ 747 w 10000"/>
                <a:gd name="connsiteY517" fmla="*/ 3011 h 10126"/>
                <a:gd name="connsiteX518" fmla="*/ 809 w 10000"/>
                <a:gd name="connsiteY518" fmla="*/ 2980 h 10126"/>
                <a:gd name="connsiteX519" fmla="*/ 866 w 10000"/>
                <a:gd name="connsiteY519" fmla="*/ 2950 h 10126"/>
                <a:gd name="connsiteX520" fmla="*/ 922 w 10000"/>
                <a:gd name="connsiteY520" fmla="*/ 2914 h 10126"/>
                <a:gd name="connsiteX521" fmla="*/ 966 w 10000"/>
                <a:gd name="connsiteY521" fmla="*/ 2872 h 10126"/>
                <a:gd name="connsiteX522" fmla="*/ 1016 w 10000"/>
                <a:gd name="connsiteY522" fmla="*/ 2831 h 10126"/>
                <a:gd name="connsiteX523" fmla="*/ 1060 w 10000"/>
                <a:gd name="connsiteY523" fmla="*/ 2789 h 10126"/>
                <a:gd name="connsiteX524" fmla="*/ 1098 w 10000"/>
                <a:gd name="connsiteY524" fmla="*/ 2740 h 10126"/>
                <a:gd name="connsiteX525" fmla="*/ 1167 w 10000"/>
                <a:gd name="connsiteY525" fmla="*/ 2644 h 10126"/>
                <a:gd name="connsiteX526" fmla="*/ 1236 w 10000"/>
                <a:gd name="connsiteY526" fmla="*/ 2534 h 10126"/>
                <a:gd name="connsiteX527" fmla="*/ 1355 w 10000"/>
                <a:gd name="connsiteY527" fmla="*/ 2318 h 10126"/>
                <a:gd name="connsiteX528" fmla="*/ 1474 w 10000"/>
                <a:gd name="connsiteY528" fmla="*/ 2101 h 10126"/>
                <a:gd name="connsiteX529" fmla="*/ 1543 w 10000"/>
                <a:gd name="connsiteY529" fmla="*/ 2005 h 10126"/>
                <a:gd name="connsiteX530" fmla="*/ 1612 w 10000"/>
                <a:gd name="connsiteY530" fmla="*/ 1920 h 10126"/>
                <a:gd name="connsiteX531" fmla="*/ 1650 w 10000"/>
                <a:gd name="connsiteY531" fmla="*/ 1871 h 10126"/>
                <a:gd name="connsiteX532" fmla="*/ 1694 w 10000"/>
                <a:gd name="connsiteY532" fmla="*/ 1835 h 10126"/>
                <a:gd name="connsiteX533" fmla="*/ 1738 w 10000"/>
                <a:gd name="connsiteY533" fmla="*/ 1806 h 10126"/>
                <a:gd name="connsiteX534" fmla="*/ 1788 w 10000"/>
                <a:gd name="connsiteY534" fmla="*/ 1776 h 10126"/>
                <a:gd name="connsiteX535" fmla="*/ 1750 w 10000"/>
                <a:gd name="connsiteY535" fmla="*/ 1703 h 10126"/>
                <a:gd name="connsiteX536" fmla="*/ 1719 w 10000"/>
                <a:gd name="connsiteY536" fmla="*/ 1637 h 10126"/>
                <a:gd name="connsiteX537" fmla="*/ 1713 w 10000"/>
                <a:gd name="connsiteY537" fmla="*/ 1607 h 10126"/>
                <a:gd name="connsiteX538" fmla="*/ 1706 w 10000"/>
                <a:gd name="connsiteY538" fmla="*/ 1577 h 10126"/>
                <a:gd name="connsiteX539" fmla="*/ 1706 w 10000"/>
                <a:gd name="connsiteY539" fmla="*/ 1541 h 10126"/>
                <a:gd name="connsiteX540" fmla="*/ 1706 w 10000"/>
                <a:gd name="connsiteY540" fmla="*/ 1511 h 10126"/>
                <a:gd name="connsiteX541" fmla="*/ 1713 w 10000"/>
                <a:gd name="connsiteY541" fmla="*/ 1480 h 10126"/>
                <a:gd name="connsiteX542" fmla="*/ 1719 w 10000"/>
                <a:gd name="connsiteY542" fmla="*/ 1450 h 10126"/>
                <a:gd name="connsiteX543" fmla="*/ 1731 w 10000"/>
                <a:gd name="connsiteY543" fmla="*/ 1426 h 10126"/>
                <a:gd name="connsiteX544" fmla="*/ 1757 w 10000"/>
                <a:gd name="connsiteY544" fmla="*/ 1402 h 10126"/>
                <a:gd name="connsiteX545" fmla="*/ 1775 w 10000"/>
                <a:gd name="connsiteY545" fmla="*/ 1384 h 10126"/>
                <a:gd name="connsiteX546" fmla="*/ 1801 w 10000"/>
                <a:gd name="connsiteY546" fmla="*/ 1366 h 10126"/>
                <a:gd name="connsiteX547" fmla="*/ 1838 w 10000"/>
                <a:gd name="connsiteY547" fmla="*/ 1348 h 10126"/>
                <a:gd name="connsiteX548" fmla="*/ 1870 w 10000"/>
                <a:gd name="connsiteY548" fmla="*/ 1330 h 10126"/>
                <a:gd name="connsiteX549" fmla="*/ 1788 w 10000"/>
                <a:gd name="connsiteY549" fmla="*/ 1240 h 10126"/>
                <a:gd name="connsiteX550" fmla="*/ 1688 w 10000"/>
                <a:gd name="connsiteY550" fmla="*/ 1168 h 10126"/>
                <a:gd name="connsiteX551" fmla="*/ 1550 w 10000"/>
                <a:gd name="connsiteY551" fmla="*/ 1046 h 10126"/>
                <a:gd name="connsiteX552" fmla="*/ 1487 w 10000"/>
                <a:gd name="connsiteY552" fmla="*/ 986 h 10126"/>
                <a:gd name="connsiteX553" fmla="*/ 1383 w 10000"/>
                <a:gd name="connsiteY553" fmla="*/ 868 h 10126"/>
                <a:gd name="connsiteX554" fmla="*/ 1426 w 10000"/>
                <a:gd name="connsiteY554" fmla="*/ 764 h 10126"/>
                <a:gd name="connsiteX555" fmla="*/ 1603 w 10000"/>
                <a:gd name="connsiteY555" fmla="*/ 650 h 10126"/>
                <a:gd name="connsiteX556" fmla="*/ 1708 w 10000"/>
                <a:gd name="connsiteY556" fmla="*/ 605 h 10126"/>
                <a:gd name="connsiteX557" fmla="*/ 1673 w 10000"/>
                <a:gd name="connsiteY557" fmla="*/ 540 h 10126"/>
                <a:gd name="connsiteX558" fmla="*/ 1606 w 10000"/>
                <a:gd name="connsiteY558" fmla="*/ 463 h 10126"/>
                <a:gd name="connsiteX559" fmla="*/ 1539 w 10000"/>
                <a:gd name="connsiteY559" fmla="*/ 431 h 10126"/>
                <a:gd name="connsiteX560" fmla="*/ 1539 w 10000"/>
                <a:gd name="connsiteY560" fmla="*/ 366 h 10126"/>
                <a:gd name="connsiteX561" fmla="*/ 1473 w 10000"/>
                <a:gd name="connsiteY561" fmla="*/ 296 h 10126"/>
                <a:gd name="connsiteX562" fmla="*/ 1341 w 10000"/>
                <a:gd name="connsiteY562" fmla="*/ 236 h 10126"/>
                <a:gd name="connsiteX563" fmla="*/ 1490 w 10000"/>
                <a:gd name="connsiteY563" fmla="*/ 123 h 10126"/>
                <a:gd name="connsiteX564" fmla="*/ 1654 w 10000"/>
                <a:gd name="connsiteY564" fmla="*/ 0 h 10126"/>
                <a:gd name="connsiteX565" fmla="*/ 1895 w 10000"/>
                <a:gd name="connsiteY565" fmla="*/ 61 h 10126"/>
                <a:gd name="connsiteX566" fmla="*/ 2151 w 10000"/>
                <a:gd name="connsiteY566" fmla="*/ 94 h 10126"/>
                <a:gd name="connsiteX567" fmla="*/ 2280 w 10000"/>
                <a:gd name="connsiteY567" fmla="*/ 123 h 10126"/>
                <a:gd name="connsiteX568" fmla="*/ 2537 w 10000"/>
                <a:gd name="connsiteY568" fmla="*/ 248 h 10126"/>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603 w 10000"/>
                <a:gd name="connsiteY555" fmla="*/ 706 h 10182"/>
                <a:gd name="connsiteX556" fmla="*/ 1708 w 10000"/>
                <a:gd name="connsiteY556" fmla="*/ 661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473 w 10000"/>
                <a:gd name="connsiteY561" fmla="*/ 352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603 w 10000"/>
                <a:gd name="connsiteY555" fmla="*/ 706 h 10182"/>
                <a:gd name="connsiteX556" fmla="*/ 1708 w 10000"/>
                <a:gd name="connsiteY556" fmla="*/ 661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473 w 10000"/>
                <a:gd name="connsiteY561" fmla="*/ 352 h 10182"/>
                <a:gd name="connsiteX562" fmla="*/ 1372 w 10000"/>
                <a:gd name="connsiteY562" fmla="*/ 387 h 10182"/>
                <a:gd name="connsiteX563" fmla="*/ 1341 w 10000"/>
                <a:gd name="connsiteY563" fmla="*/ 292 h 10182"/>
                <a:gd name="connsiteX564" fmla="*/ 1490 w 10000"/>
                <a:gd name="connsiteY564" fmla="*/ 179 h 10182"/>
                <a:gd name="connsiteX565" fmla="*/ 1654 w 10000"/>
                <a:gd name="connsiteY565" fmla="*/ 56 h 10182"/>
                <a:gd name="connsiteX566" fmla="*/ 1689 w 10000"/>
                <a:gd name="connsiteY566" fmla="*/ 0 h 10182"/>
                <a:gd name="connsiteX567" fmla="*/ 2151 w 10000"/>
                <a:gd name="connsiteY567" fmla="*/ 150 h 10182"/>
                <a:gd name="connsiteX568" fmla="*/ 2280 w 10000"/>
                <a:gd name="connsiteY568" fmla="*/ 179 h 10182"/>
                <a:gd name="connsiteX569" fmla="*/ 2537 w 10000"/>
                <a:gd name="connsiteY569"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603 w 10000"/>
                <a:gd name="connsiteY555" fmla="*/ 706 h 10182"/>
                <a:gd name="connsiteX556" fmla="*/ 1708 w 10000"/>
                <a:gd name="connsiteY556" fmla="*/ 661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552 w 10000"/>
                <a:gd name="connsiteY561" fmla="*/ 399 h 10182"/>
                <a:gd name="connsiteX562" fmla="*/ 1372 w 10000"/>
                <a:gd name="connsiteY562" fmla="*/ 387 h 10182"/>
                <a:gd name="connsiteX563" fmla="*/ 1341 w 10000"/>
                <a:gd name="connsiteY563" fmla="*/ 292 h 10182"/>
                <a:gd name="connsiteX564" fmla="*/ 1490 w 10000"/>
                <a:gd name="connsiteY564" fmla="*/ 179 h 10182"/>
                <a:gd name="connsiteX565" fmla="*/ 1654 w 10000"/>
                <a:gd name="connsiteY565" fmla="*/ 56 h 10182"/>
                <a:gd name="connsiteX566" fmla="*/ 1689 w 10000"/>
                <a:gd name="connsiteY566" fmla="*/ 0 h 10182"/>
                <a:gd name="connsiteX567" fmla="*/ 2151 w 10000"/>
                <a:gd name="connsiteY567" fmla="*/ 150 h 10182"/>
                <a:gd name="connsiteX568" fmla="*/ 2280 w 10000"/>
                <a:gd name="connsiteY568" fmla="*/ 179 h 10182"/>
                <a:gd name="connsiteX569" fmla="*/ 2537 w 10000"/>
                <a:gd name="connsiteY569"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603 w 10000"/>
                <a:gd name="connsiteY555" fmla="*/ 706 h 10182"/>
                <a:gd name="connsiteX556" fmla="*/ 1708 w 10000"/>
                <a:gd name="connsiteY556" fmla="*/ 661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433 w 10000"/>
                <a:gd name="connsiteY555" fmla="*/ 715 h 10182"/>
                <a:gd name="connsiteX556" fmla="*/ 1708 w 10000"/>
                <a:gd name="connsiteY556" fmla="*/ 661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433 w 10000"/>
                <a:gd name="connsiteY555" fmla="*/ 715 h 10182"/>
                <a:gd name="connsiteX556" fmla="*/ 1549 w 10000"/>
                <a:gd name="connsiteY556" fmla="*/ 589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673 w 10000"/>
                <a:gd name="connsiteY557" fmla="*/ 596 h 10182"/>
                <a:gd name="connsiteX558" fmla="*/ 1606 w 10000"/>
                <a:gd name="connsiteY558" fmla="*/ 519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606 w 10000"/>
                <a:gd name="connsiteY558" fmla="*/ 519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538 w 10000"/>
                <a:gd name="connsiteY558" fmla="*/ 528 h 10182"/>
                <a:gd name="connsiteX559" fmla="*/ 1539 w 10000"/>
                <a:gd name="connsiteY559" fmla="*/ 487 h 10182"/>
                <a:gd name="connsiteX560" fmla="*/ 1539 w 10000"/>
                <a:gd name="connsiteY560" fmla="*/ 422 h 10182"/>
                <a:gd name="connsiteX561" fmla="*/ 1372 w 10000"/>
                <a:gd name="connsiteY561" fmla="*/ 387 h 10182"/>
                <a:gd name="connsiteX562" fmla="*/ 1341 w 10000"/>
                <a:gd name="connsiteY562" fmla="*/ 292 h 10182"/>
                <a:gd name="connsiteX563" fmla="*/ 1490 w 10000"/>
                <a:gd name="connsiteY563" fmla="*/ 179 h 10182"/>
                <a:gd name="connsiteX564" fmla="*/ 1654 w 10000"/>
                <a:gd name="connsiteY564" fmla="*/ 56 h 10182"/>
                <a:gd name="connsiteX565" fmla="*/ 1689 w 10000"/>
                <a:gd name="connsiteY565" fmla="*/ 0 h 10182"/>
                <a:gd name="connsiteX566" fmla="*/ 2151 w 10000"/>
                <a:gd name="connsiteY566" fmla="*/ 150 h 10182"/>
                <a:gd name="connsiteX567" fmla="*/ 2280 w 10000"/>
                <a:gd name="connsiteY567" fmla="*/ 179 h 10182"/>
                <a:gd name="connsiteX568" fmla="*/ 2537 w 10000"/>
                <a:gd name="connsiteY568"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538 w 10000"/>
                <a:gd name="connsiteY558" fmla="*/ 528 h 10182"/>
                <a:gd name="connsiteX559" fmla="*/ 1539 w 10000"/>
                <a:gd name="connsiteY559" fmla="*/ 422 h 10182"/>
                <a:gd name="connsiteX560" fmla="*/ 1372 w 10000"/>
                <a:gd name="connsiteY560" fmla="*/ 387 h 10182"/>
                <a:gd name="connsiteX561" fmla="*/ 1341 w 10000"/>
                <a:gd name="connsiteY561" fmla="*/ 292 h 10182"/>
                <a:gd name="connsiteX562" fmla="*/ 1490 w 10000"/>
                <a:gd name="connsiteY562" fmla="*/ 179 h 10182"/>
                <a:gd name="connsiteX563" fmla="*/ 1654 w 10000"/>
                <a:gd name="connsiteY563" fmla="*/ 56 h 10182"/>
                <a:gd name="connsiteX564" fmla="*/ 1689 w 10000"/>
                <a:gd name="connsiteY564" fmla="*/ 0 h 10182"/>
                <a:gd name="connsiteX565" fmla="*/ 2151 w 10000"/>
                <a:gd name="connsiteY565" fmla="*/ 150 h 10182"/>
                <a:gd name="connsiteX566" fmla="*/ 2280 w 10000"/>
                <a:gd name="connsiteY566" fmla="*/ 179 h 10182"/>
                <a:gd name="connsiteX567" fmla="*/ 2537 w 10000"/>
                <a:gd name="connsiteY567"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539 w 10000"/>
                <a:gd name="connsiteY558" fmla="*/ 422 h 10182"/>
                <a:gd name="connsiteX559" fmla="*/ 1372 w 10000"/>
                <a:gd name="connsiteY559" fmla="*/ 387 h 10182"/>
                <a:gd name="connsiteX560" fmla="*/ 1341 w 10000"/>
                <a:gd name="connsiteY560" fmla="*/ 292 h 10182"/>
                <a:gd name="connsiteX561" fmla="*/ 1490 w 10000"/>
                <a:gd name="connsiteY561" fmla="*/ 179 h 10182"/>
                <a:gd name="connsiteX562" fmla="*/ 1654 w 10000"/>
                <a:gd name="connsiteY562" fmla="*/ 56 h 10182"/>
                <a:gd name="connsiteX563" fmla="*/ 1689 w 10000"/>
                <a:gd name="connsiteY563" fmla="*/ 0 h 10182"/>
                <a:gd name="connsiteX564" fmla="*/ 2151 w 10000"/>
                <a:gd name="connsiteY564" fmla="*/ 150 h 10182"/>
                <a:gd name="connsiteX565" fmla="*/ 2280 w 10000"/>
                <a:gd name="connsiteY565" fmla="*/ 179 h 10182"/>
                <a:gd name="connsiteX566" fmla="*/ 2537 w 10000"/>
                <a:gd name="connsiteY566"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604 w 10000"/>
                <a:gd name="connsiteY558" fmla="*/ 500 h 10182"/>
                <a:gd name="connsiteX559" fmla="*/ 1372 w 10000"/>
                <a:gd name="connsiteY559" fmla="*/ 387 h 10182"/>
                <a:gd name="connsiteX560" fmla="*/ 1341 w 10000"/>
                <a:gd name="connsiteY560" fmla="*/ 292 h 10182"/>
                <a:gd name="connsiteX561" fmla="*/ 1490 w 10000"/>
                <a:gd name="connsiteY561" fmla="*/ 179 h 10182"/>
                <a:gd name="connsiteX562" fmla="*/ 1654 w 10000"/>
                <a:gd name="connsiteY562" fmla="*/ 56 h 10182"/>
                <a:gd name="connsiteX563" fmla="*/ 1689 w 10000"/>
                <a:gd name="connsiteY563" fmla="*/ 0 h 10182"/>
                <a:gd name="connsiteX564" fmla="*/ 2151 w 10000"/>
                <a:gd name="connsiteY564" fmla="*/ 150 h 10182"/>
                <a:gd name="connsiteX565" fmla="*/ 2280 w 10000"/>
                <a:gd name="connsiteY565" fmla="*/ 179 h 10182"/>
                <a:gd name="connsiteX566" fmla="*/ 2537 w 10000"/>
                <a:gd name="connsiteY566" fmla="*/ 304 h 10182"/>
                <a:gd name="connsiteX0" fmla="*/ 2525 w 10000"/>
                <a:gd name="connsiteY0" fmla="*/ 281 h 10182"/>
                <a:gd name="connsiteX1" fmla="*/ 2880 w 10000"/>
                <a:gd name="connsiteY1" fmla="*/ 171 h 10182"/>
                <a:gd name="connsiteX2" fmla="*/ 3155 w 10000"/>
                <a:gd name="connsiteY2" fmla="*/ 248 h 10182"/>
                <a:gd name="connsiteX3" fmla="*/ 3286 w 10000"/>
                <a:gd name="connsiteY3" fmla="*/ 537 h 10182"/>
                <a:gd name="connsiteX4" fmla="*/ 3309 w 10000"/>
                <a:gd name="connsiteY4" fmla="*/ 669 h 10182"/>
                <a:gd name="connsiteX5" fmla="*/ 3173 w 10000"/>
                <a:gd name="connsiteY5" fmla="*/ 787 h 10182"/>
                <a:gd name="connsiteX6" fmla="*/ 3113 w 10000"/>
                <a:gd name="connsiteY6" fmla="*/ 855 h 10182"/>
                <a:gd name="connsiteX7" fmla="*/ 3203 w 10000"/>
                <a:gd name="connsiteY7" fmla="*/ 914 h 10182"/>
                <a:gd name="connsiteX8" fmla="*/ 3314 w 10000"/>
                <a:gd name="connsiteY8" fmla="*/ 996 h 10182"/>
                <a:gd name="connsiteX9" fmla="*/ 3412 w 10000"/>
                <a:gd name="connsiteY9" fmla="*/ 1102 h 10182"/>
                <a:gd name="connsiteX10" fmla="*/ 3429 w 10000"/>
                <a:gd name="connsiteY10" fmla="*/ 1204 h 10182"/>
                <a:gd name="connsiteX11" fmla="*/ 3389 w 10000"/>
                <a:gd name="connsiteY11" fmla="*/ 1271 h 10182"/>
                <a:gd name="connsiteX12" fmla="*/ 3348 w 10000"/>
                <a:gd name="connsiteY12" fmla="*/ 1294 h 10182"/>
                <a:gd name="connsiteX13" fmla="*/ 3043 w 10000"/>
                <a:gd name="connsiteY13" fmla="*/ 1422 h 10182"/>
                <a:gd name="connsiteX14" fmla="*/ 3074 w 10000"/>
                <a:gd name="connsiteY14" fmla="*/ 1500 h 10182"/>
                <a:gd name="connsiteX15" fmla="*/ 3118 w 10000"/>
                <a:gd name="connsiteY15" fmla="*/ 1567 h 10182"/>
                <a:gd name="connsiteX16" fmla="*/ 3168 w 10000"/>
                <a:gd name="connsiteY16" fmla="*/ 1627 h 10182"/>
                <a:gd name="connsiteX17" fmla="*/ 3225 w 10000"/>
                <a:gd name="connsiteY17" fmla="*/ 1669 h 10182"/>
                <a:gd name="connsiteX18" fmla="*/ 3281 w 10000"/>
                <a:gd name="connsiteY18" fmla="*/ 1711 h 10182"/>
                <a:gd name="connsiteX19" fmla="*/ 3350 w 10000"/>
                <a:gd name="connsiteY19" fmla="*/ 1741 h 10182"/>
                <a:gd name="connsiteX20" fmla="*/ 3413 w 10000"/>
                <a:gd name="connsiteY20" fmla="*/ 1771 h 10182"/>
                <a:gd name="connsiteX21" fmla="*/ 3488 w 10000"/>
                <a:gd name="connsiteY21" fmla="*/ 1796 h 10182"/>
                <a:gd name="connsiteX22" fmla="*/ 3626 w 10000"/>
                <a:gd name="connsiteY22" fmla="*/ 1850 h 10182"/>
                <a:gd name="connsiteX23" fmla="*/ 3764 w 10000"/>
                <a:gd name="connsiteY23" fmla="*/ 1903 h 10182"/>
                <a:gd name="connsiteX24" fmla="*/ 3827 w 10000"/>
                <a:gd name="connsiteY24" fmla="*/ 1940 h 10182"/>
                <a:gd name="connsiteX25" fmla="*/ 3890 w 10000"/>
                <a:gd name="connsiteY25" fmla="*/ 1988 h 10182"/>
                <a:gd name="connsiteX26" fmla="*/ 3946 w 10000"/>
                <a:gd name="connsiteY26" fmla="*/ 2037 h 10182"/>
                <a:gd name="connsiteX27" fmla="*/ 4003 w 10000"/>
                <a:gd name="connsiteY27" fmla="*/ 2091 h 10182"/>
                <a:gd name="connsiteX28" fmla="*/ 3959 w 10000"/>
                <a:gd name="connsiteY28" fmla="*/ 2652 h 10182"/>
                <a:gd name="connsiteX29" fmla="*/ 4034 w 10000"/>
                <a:gd name="connsiteY29" fmla="*/ 2706 h 10182"/>
                <a:gd name="connsiteX30" fmla="*/ 4141 w 10000"/>
                <a:gd name="connsiteY30" fmla="*/ 2772 h 10182"/>
                <a:gd name="connsiteX31" fmla="*/ 4260 w 10000"/>
                <a:gd name="connsiteY31" fmla="*/ 2832 h 10182"/>
                <a:gd name="connsiteX32" fmla="*/ 4398 w 10000"/>
                <a:gd name="connsiteY32" fmla="*/ 2887 h 10182"/>
                <a:gd name="connsiteX33" fmla="*/ 4536 w 10000"/>
                <a:gd name="connsiteY33" fmla="*/ 2940 h 10182"/>
                <a:gd name="connsiteX34" fmla="*/ 4668 w 10000"/>
                <a:gd name="connsiteY34" fmla="*/ 2982 h 10182"/>
                <a:gd name="connsiteX35" fmla="*/ 4724 w 10000"/>
                <a:gd name="connsiteY35" fmla="*/ 3000 h 10182"/>
                <a:gd name="connsiteX36" fmla="*/ 4780 w 10000"/>
                <a:gd name="connsiteY36" fmla="*/ 3012 h 10182"/>
                <a:gd name="connsiteX37" fmla="*/ 4831 w 10000"/>
                <a:gd name="connsiteY37" fmla="*/ 3018 h 10182"/>
                <a:gd name="connsiteX38" fmla="*/ 4875 w 10000"/>
                <a:gd name="connsiteY38" fmla="*/ 3018 h 10182"/>
                <a:gd name="connsiteX39" fmla="*/ 4887 w 10000"/>
                <a:gd name="connsiteY39" fmla="*/ 3061 h 10182"/>
                <a:gd name="connsiteX40" fmla="*/ 4918 w 10000"/>
                <a:gd name="connsiteY40" fmla="*/ 3097 h 10182"/>
                <a:gd name="connsiteX41" fmla="*/ 4950 w 10000"/>
                <a:gd name="connsiteY41" fmla="*/ 3115 h 10182"/>
                <a:gd name="connsiteX42" fmla="*/ 4987 w 10000"/>
                <a:gd name="connsiteY42" fmla="*/ 3127 h 10182"/>
                <a:gd name="connsiteX43" fmla="*/ 5019 w 10000"/>
                <a:gd name="connsiteY43" fmla="*/ 3139 h 10182"/>
                <a:gd name="connsiteX44" fmla="*/ 5063 w 10000"/>
                <a:gd name="connsiteY44" fmla="*/ 3139 h 10182"/>
                <a:gd name="connsiteX45" fmla="*/ 5107 w 10000"/>
                <a:gd name="connsiteY45" fmla="*/ 3133 h 10182"/>
                <a:gd name="connsiteX46" fmla="*/ 5157 w 10000"/>
                <a:gd name="connsiteY46" fmla="*/ 3127 h 10182"/>
                <a:gd name="connsiteX47" fmla="*/ 5245 w 10000"/>
                <a:gd name="connsiteY47" fmla="*/ 3109 h 10182"/>
                <a:gd name="connsiteX48" fmla="*/ 5345 w 10000"/>
                <a:gd name="connsiteY48" fmla="*/ 3085 h 10182"/>
                <a:gd name="connsiteX49" fmla="*/ 5383 w 10000"/>
                <a:gd name="connsiteY49" fmla="*/ 3085 h 10182"/>
                <a:gd name="connsiteX50" fmla="*/ 5427 w 10000"/>
                <a:gd name="connsiteY50" fmla="*/ 3079 h 10182"/>
                <a:gd name="connsiteX51" fmla="*/ 5464 w 10000"/>
                <a:gd name="connsiteY51" fmla="*/ 3085 h 10182"/>
                <a:gd name="connsiteX52" fmla="*/ 5502 w 10000"/>
                <a:gd name="connsiteY52" fmla="*/ 3091 h 10182"/>
                <a:gd name="connsiteX53" fmla="*/ 5558 w 10000"/>
                <a:gd name="connsiteY53" fmla="*/ 3127 h 10182"/>
                <a:gd name="connsiteX54" fmla="*/ 5596 w 10000"/>
                <a:gd name="connsiteY54" fmla="*/ 3157 h 10182"/>
                <a:gd name="connsiteX55" fmla="*/ 5634 w 10000"/>
                <a:gd name="connsiteY55" fmla="*/ 3199 h 10182"/>
                <a:gd name="connsiteX56" fmla="*/ 5665 w 10000"/>
                <a:gd name="connsiteY56" fmla="*/ 3235 h 10182"/>
                <a:gd name="connsiteX57" fmla="*/ 5696 w 10000"/>
                <a:gd name="connsiteY57" fmla="*/ 3272 h 10182"/>
                <a:gd name="connsiteX58" fmla="*/ 5734 w 10000"/>
                <a:gd name="connsiteY58" fmla="*/ 3308 h 10182"/>
                <a:gd name="connsiteX59" fmla="*/ 5759 w 10000"/>
                <a:gd name="connsiteY59" fmla="*/ 3326 h 10182"/>
                <a:gd name="connsiteX60" fmla="*/ 5778 w 10000"/>
                <a:gd name="connsiteY60" fmla="*/ 3338 h 10182"/>
                <a:gd name="connsiteX61" fmla="*/ 5803 w 10000"/>
                <a:gd name="connsiteY61" fmla="*/ 3350 h 10182"/>
                <a:gd name="connsiteX62" fmla="*/ 5834 w 10000"/>
                <a:gd name="connsiteY62" fmla="*/ 3356 h 10182"/>
                <a:gd name="connsiteX63" fmla="*/ 5935 w 10000"/>
                <a:gd name="connsiteY63" fmla="*/ 3375 h 10182"/>
                <a:gd name="connsiteX64" fmla="*/ 6073 w 10000"/>
                <a:gd name="connsiteY64" fmla="*/ 3410 h 10182"/>
                <a:gd name="connsiteX65" fmla="*/ 6230 w 10000"/>
                <a:gd name="connsiteY65" fmla="*/ 3446 h 10182"/>
                <a:gd name="connsiteX66" fmla="*/ 6405 w 10000"/>
                <a:gd name="connsiteY66" fmla="*/ 3489 h 10182"/>
                <a:gd name="connsiteX67" fmla="*/ 6568 w 10000"/>
                <a:gd name="connsiteY67" fmla="*/ 3519 h 10182"/>
                <a:gd name="connsiteX68" fmla="*/ 6719 w 10000"/>
                <a:gd name="connsiteY68" fmla="*/ 3543 h 10182"/>
                <a:gd name="connsiteX69" fmla="*/ 6788 w 10000"/>
                <a:gd name="connsiteY69" fmla="*/ 3549 h 10182"/>
                <a:gd name="connsiteX70" fmla="*/ 6838 w 10000"/>
                <a:gd name="connsiteY70" fmla="*/ 3555 h 10182"/>
                <a:gd name="connsiteX71" fmla="*/ 6888 w 10000"/>
                <a:gd name="connsiteY71" fmla="*/ 3549 h 10182"/>
                <a:gd name="connsiteX72" fmla="*/ 6913 w 10000"/>
                <a:gd name="connsiteY72" fmla="*/ 3537 h 10182"/>
                <a:gd name="connsiteX73" fmla="*/ 6888 w 10000"/>
                <a:gd name="connsiteY73" fmla="*/ 3495 h 10182"/>
                <a:gd name="connsiteX74" fmla="*/ 6857 w 10000"/>
                <a:gd name="connsiteY74" fmla="*/ 3446 h 10182"/>
                <a:gd name="connsiteX75" fmla="*/ 6838 w 10000"/>
                <a:gd name="connsiteY75" fmla="*/ 3398 h 10182"/>
                <a:gd name="connsiteX76" fmla="*/ 6826 w 10000"/>
                <a:gd name="connsiteY76" fmla="*/ 3344 h 10182"/>
                <a:gd name="connsiteX77" fmla="*/ 6794 w 10000"/>
                <a:gd name="connsiteY77" fmla="*/ 3253 h 10182"/>
                <a:gd name="connsiteX78" fmla="*/ 6788 w 10000"/>
                <a:gd name="connsiteY78" fmla="*/ 3205 h 10182"/>
                <a:gd name="connsiteX79" fmla="*/ 6788 w 10000"/>
                <a:gd name="connsiteY79" fmla="*/ 3018 h 10182"/>
                <a:gd name="connsiteX80" fmla="*/ 6788 w 10000"/>
                <a:gd name="connsiteY80" fmla="*/ 2832 h 10182"/>
                <a:gd name="connsiteX81" fmla="*/ 6995 w 10000"/>
                <a:gd name="connsiteY81" fmla="*/ 2832 h 10182"/>
                <a:gd name="connsiteX82" fmla="*/ 7033 w 10000"/>
                <a:gd name="connsiteY82" fmla="*/ 2898 h 10182"/>
                <a:gd name="connsiteX83" fmla="*/ 7058 w 10000"/>
                <a:gd name="connsiteY83" fmla="*/ 2940 h 10182"/>
                <a:gd name="connsiteX84" fmla="*/ 7095 w 10000"/>
                <a:gd name="connsiteY84" fmla="*/ 2976 h 10182"/>
                <a:gd name="connsiteX85" fmla="*/ 7127 w 10000"/>
                <a:gd name="connsiteY85" fmla="*/ 3018 h 10182"/>
                <a:gd name="connsiteX86" fmla="*/ 7120 w 10000"/>
                <a:gd name="connsiteY86" fmla="*/ 3115 h 10182"/>
                <a:gd name="connsiteX87" fmla="*/ 7102 w 10000"/>
                <a:gd name="connsiteY87" fmla="*/ 3175 h 10182"/>
                <a:gd name="connsiteX88" fmla="*/ 7089 w 10000"/>
                <a:gd name="connsiteY88" fmla="*/ 3223 h 10182"/>
                <a:gd name="connsiteX89" fmla="*/ 7077 w 10000"/>
                <a:gd name="connsiteY89" fmla="*/ 3278 h 10182"/>
                <a:gd name="connsiteX90" fmla="*/ 7208 w 10000"/>
                <a:gd name="connsiteY90" fmla="*/ 3314 h 10182"/>
                <a:gd name="connsiteX91" fmla="*/ 7334 w 10000"/>
                <a:gd name="connsiteY91" fmla="*/ 3350 h 10182"/>
                <a:gd name="connsiteX92" fmla="*/ 7396 w 10000"/>
                <a:gd name="connsiteY92" fmla="*/ 3369 h 10182"/>
                <a:gd name="connsiteX93" fmla="*/ 7459 w 10000"/>
                <a:gd name="connsiteY93" fmla="*/ 3381 h 10182"/>
                <a:gd name="connsiteX94" fmla="*/ 7522 w 10000"/>
                <a:gd name="connsiteY94" fmla="*/ 3387 h 10182"/>
                <a:gd name="connsiteX95" fmla="*/ 7585 w 10000"/>
                <a:gd name="connsiteY95" fmla="*/ 3392 h 10182"/>
                <a:gd name="connsiteX96" fmla="*/ 7591 w 10000"/>
                <a:gd name="connsiteY96" fmla="*/ 3416 h 10182"/>
                <a:gd name="connsiteX97" fmla="*/ 7604 w 10000"/>
                <a:gd name="connsiteY97" fmla="*/ 3440 h 10182"/>
                <a:gd name="connsiteX98" fmla="*/ 7622 w 10000"/>
                <a:gd name="connsiteY98" fmla="*/ 3458 h 10182"/>
                <a:gd name="connsiteX99" fmla="*/ 7654 w 10000"/>
                <a:gd name="connsiteY99" fmla="*/ 3476 h 10182"/>
                <a:gd name="connsiteX100" fmla="*/ 7704 w 10000"/>
                <a:gd name="connsiteY100" fmla="*/ 3495 h 10182"/>
                <a:gd name="connsiteX101" fmla="*/ 7748 w 10000"/>
                <a:gd name="connsiteY101" fmla="*/ 3501 h 10182"/>
                <a:gd name="connsiteX102" fmla="*/ 7798 w 10000"/>
                <a:gd name="connsiteY102" fmla="*/ 3501 h 10182"/>
                <a:gd name="connsiteX103" fmla="*/ 7836 w 10000"/>
                <a:gd name="connsiteY103" fmla="*/ 3489 h 10182"/>
                <a:gd name="connsiteX104" fmla="*/ 7880 w 10000"/>
                <a:gd name="connsiteY104" fmla="*/ 3470 h 10182"/>
                <a:gd name="connsiteX105" fmla="*/ 7911 w 10000"/>
                <a:gd name="connsiteY105" fmla="*/ 3452 h 10182"/>
                <a:gd name="connsiteX106" fmla="*/ 7949 w 10000"/>
                <a:gd name="connsiteY106" fmla="*/ 3428 h 10182"/>
                <a:gd name="connsiteX107" fmla="*/ 7980 w 10000"/>
                <a:gd name="connsiteY107" fmla="*/ 3398 h 10182"/>
                <a:gd name="connsiteX108" fmla="*/ 8011 w 10000"/>
                <a:gd name="connsiteY108" fmla="*/ 3369 h 10182"/>
                <a:gd name="connsiteX109" fmla="*/ 8036 w 10000"/>
                <a:gd name="connsiteY109" fmla="*/ 3338 h 10182"/>
                <a:gd name="connsiteX110" fmla="*/ 8087 w 10000"/>
                <a:gd name="connsiteY110" fmla="*/ 3259 h 10182"/>
                <a:gd name="connsiteX111" fmla="*/ 8118 w 10000"/>
                <a:gd name="connsiteY111" fmla="*/ 3187 h 10182"/>
                <a:gd name="connsiteX112" fmla="*/ 8149 w 10000"/>
                <a:gd name="connsiteY112" fmla="*/ 3121 h 10182"/>
                <a:gd name="connsiteX113" fmla="*/ 8168 w 10000"/>
                <a:gd name="connsiteY113" fmla="*/ 3055 h 10182"/>
                <a:gd name="connsiteX114" fmla="*/ 8231 w 10000"/>
                <a:gd name="connsiteY114" fmla="*/ 2988 h 10182"/>
                <a:gd name="connsiteX115" fmla="*/ 8294 w 10000"/>
                <a:gd name="connsiteY115" fmla="*/ 2922 h 10182"/>
                <a:gd name="connsiteX116" fmla="*/ 8363 w 10000"/>
                <a:gd name="connsiteY116" fmla="*/ 2869 h 10182"/>
                <a:gd name="connsiteX117" fmla="*/ 8432 w 10000"/>
                <a:gd name="connsiteY117" fmla="*/ 2808 h 10182"/>
                <a:gd name="connsiteX118" fmla="*/ 8507 w 10000"/>
                <a:gd name="connsiteY118" fmla="*/ 2760 h 10182"/>
                <a:gd name="connsiteX119" fmla="*/ 8576 w 10000"/>
                <a:gd name="connsiteY119" fmla="*/ 2712 h 10182"/>
                <a:gd name="connsiteX120" fmla="*/ 8651 w 10000"/>
                <a:gd name="connsiteY120" fmla="*/ 2670 h 10182"/>
                <a:gd name="connsiteX121" fmla="*/ 8726 w 10000"/>
                <a:gd name="connsiteY121" fmla="*/ 2626 h 10182"/>
                <a:gd name="connsiteX122" fmla="*/ 8808 w 10000"/>
                <a:gd name="connsiteY122" fmla="*/ 2584 h 10182"/>
                <a:gd name="connsiteX123" fmla="*/ 8890 w 10000"/>
                <a:gd name="connsiteY123" fmla="*/ 2548 h 10182"/>
                <a:gd name="connsiteX124" fmla="*/ 8971 w 10000"/>
                <a:gd name="connsiteY124" fmla="*/ 2518 h 10182"/>
                <a:gd name="connsiteX125" fmla="*/ 9059 w 10000"/>
                <a:gd name="connsiteY125" fmla="*/ 2488 h 10182"/>
                <a:gd name="connsiteX126" fmla="*/ 9235 w 10000"/>
                <a:gd name="connsiteY126" fmla="*/ 2434 h 10182"/>
                <a:gd name="connsiteX127" fmla="*/ 9417 w 10000"/>
                <a:gd name="connsiteY127" fmla="*/ 2391 h 10182"/>
                <a:gd name="connsiteX128" fmla="*/ 9454 w 10000"/>
                <a:gd name="connsiteY128" fmla="*/ 2440 h 10182"/>
                <a:gd name="connsiteX129" fmla="*/ 9504 w 10000"/>
                <a:gd name="connsiteY129" fmla="*/ 2500 h 10182"/>
                <a:gd name="connsiteX130" fmla="*/ 9573 w 10000"/>
                <a:gd name="connsiteY130" fmla="*/ 2566 h 10182"/>
                <a:gd name="connsiteX131" fmla="*/ 9642 w 10000"/>
                <a:gd name="connsiteY131" fmla="*/ 2639 h 10182"/>
                <a:gd name="connsiteX132" fmla="*/ 9718 w 10000"/>
                <a:gd name="connsiteY132" fmla="*/ 2700 h 10182"/>
                <a:gd name="connsiteX133" fmla="*/ 9799 w 10000"/>
                <a:gd name="connsiteY133" fmla="*/ 2748 h 10182"/>
                <a:gd name="connsiteX134" fmla="*/ 9837 w 10000"/>
                <a:gd name="connsiteY134" fmla="*/ 2772 h 10182"/>
                <a:gd name="connsiteX135" fmla="*/ 9875 w 10000"/>
                <a:gd name="connsiteY135" fmla="*/ 2784 h 10182"/>
                <a:gd name="connsiteX136" fmla="*/ 9918 w 10000"/>
                <a:gd name="connsiteY136" fmla="*/ 2796 h 10182"/>
                <a:gd name="connsiteX137" fmla="*/ 9956 w 10000"/>
                <a:gd name="connsiteY137" fmla="*/ 2796 h 10182"/>
                <a:gd name="connsiteX138" fmla="*/ 10000 w 10000"/>
                <a:gd name="connsiteY138" fmla="*/ 2724 h 10182"/>
                <a:gd name="connsiteX139" fmla="*/ 9975 w 10000"/>
                <a:gd name="connsiteY139" fmla="*/ 2851 h 10182"/>
                <a:gd name="connsiteX140" fmla="*/ 9944 w 10000"/>
                <a:gd name="connsiteY140" fmla="*/ 2994 h 10182"/>
                <a:gd name="connsiteX141" fmla="*/ 9931 w 10000"/>
                <a:gd name="connsiteY141" fmla="*/ 3061 h 10182"/>
                <a:gd name="connsiteX142" fmla="*/ 9906 w 10000"/>
                <a:gd name="connsiteY142" fmla="*/ 3121 h 10182"/>
                <a:gd name="connsiteX143" fmla="*/ 9887 w 10000"/>
                <a:gd name="connsiteY143" fmla="*/ 3145 h 10182"/>
                <a:gd name="connsiteX144" fmla="*/ 9875 w 10000"/>
                <a:gd name="connsiteY144" fmla="*/ 3169 h 10182"/>
                <a:gd name="connsiteX145" fmla="*/ 9856 w 10000"/>
                <a:gd name="connsiteY145" fmla="*/ 3187 h 10182"/>
                <a:gd name="connsiteX146" fmla="*/ 9837 w 10000"/>
                <a:gd name="connsiteY146" fmla="*/ 3205 h 10182"/>
                <a:gd name="connsiteX147" fmla="*/ 9749 w 10000"/>
                <a:gd name="connsiteY147" fmla="*/ 3223 h 10182"/>
                <a:gd name="connsiteX148" fmla="*/ 9605 w 10000"/>
                <a:gd name="connsiteY148" fmla="*/ 3272 h 10182"/>
                <a:gd name="connsiteX149" fmla="*/ 9536 w 10000"/>
                <a:gd name="connsiteY149" fmla="*/ 3314 h 10182"/>
                <a:gd name="connsiteX150" fmla="*/ 9479 w 10000"/>
                <a:gd name="connsiteY150" fmla="*/ 3350 h 10182"/>
                <a:gd name="connsiteX151" fmla="*/ 9448 w 10000"/>
                <a:gd name="connsiteY151" fmla="*/ 3369 h 10182"/>
                <a:gd name="connsiteX152" fmla="*/ 9435 w 10000"/>
                <a:gd name="connsiteY152" fmla="*/ 3387 h 10182"/>
                <a:gd name="connsiteX153" fmla="*/ 9423 w 10000"/>
                <a:gd name="connsiteY153" fmla="*/ 3410 h 10182"/>
                <a:gd name="connsiteX154" fmla="*/ 9417 w 10000"/>
                <a:gd name="connsiteY154" fmla="*/ 3428 h 10182"/>
                <a:gd name="connsiteX155" fmla="*/ 9423 w 10000"/>
                <a:gd name="connsiteY155" fmla="*/ 3639 h 10182"/>
                <a:gd name="connsiteX156" fmla="*/ 9417 w 10000"/>
                <a:gd name="connsiteY156" fmla="*/ 3880 h 10182"/>
                <a:gd name="connsiteX157" fmla="*/ 9398 w 10000"/>
                <a:gd name="connsiteY157" fmla="*/ 3940 h 10182"/>
                <a:gd name="connsiteX158" fmla="*/ 9391 w 10000"/>
                <a:gd name="connsiteY158" fmla="*/ 4006 h 10182"/>
                <a:gd name="connsiteX159" fmla="*/ 9379 w 10000"/>
                <a:gd name="connsiteY159" fmla="*/ 4060 h 10182"/>
                <a:gd name="connsiteX160" fmla="*/ 9366 w 10000"/>
                <a:gd name="connsiteY160" fmla="*/ 4115 h 10182"/>
                <a:gd name="connsiteX161" fmla="*/ 9348 w 10000"/>
                <a:gd name="connsiteY161" fmla="*/ 4164 h 10182"/>
                <a:gd name="connsiteX162" fmla="*/ 9316 w 10000"/>
                <a:gd name="connsiteY162" fmla="*/ 4212 h 10182"/>
                <a:gd name="connsiteX163" fmla="*/ 9285 w 10000"/>
                <a:gd name="connsiteY163" fmla="*/ 4248 h 10182"/>
                <a:gd name="connsiteX164" fmla="*/ 9247 w 10000"/>
                <a:gd name="connsiteY164" fmla="*/ 4278 h 10182"/>
                <a:gd name="connsiteX165" fmla="*/ 9228 w 10000"/>
                <a:gd name="connsiteY165" fmla="*/ 4296 h 10182"/>
                <a:gd name="connsiteX166" fmla="*/ 9184 w 10000"/>
                <a:gd name="connsiteY166" fmla="*/ 4302 h 10182"/>
                <a:gd name="connsiteX167" fmla="*/ 9141 w 10000"/>
                <a:gd name="connsiteY167" fmla="*/ 4308 h 10182"/>
                <a:gd name="connsiteX168" fmla="*/ 9090 w 10000"/>
                <a:gd name="connsiteY168" fmla="*/ 4314 h 10182"/>
                <a:gd name="connsiteX169" fmla="*/ 9040 w 10000"/>
                <a:gd name="connsiteY169" fmla="*/ 4320 h 10182"/>
                <a:gd name="connsiteX170" fmla="*/ 8996 w 10000"/>
                <a:gd name="connsiteY170" fmla="*/ 4339 h 10182"/>
                <a:gd name="connsiteX171" fmla="*/ 8977 w 10000"/>
                <a:gd name="connsiteY171" fmla="*/ 4345 h 10182"/>
                <a:gd name="connsiteX172" fmla="*/ 8965 w 10000"/>
                <a:gd name="connsiteY172" fmla="*/ 4363 h 10182"/>
                <a:gd name="connsiteX173" fmla="*/ 8959 w 10000"/>
                <a:gd name="connsiteY173" fmla="*/ 4375 h 10182"/>
                <a:gd name="connsiteX174" fmla="*/ 8959 w 10000"/>
                <a:gd name="connsiteY174" fmla="*/ 4393 h 10182"/>
                <a:gd name="connsiteX175" fmla="*/ 8952 w 10000"/>
                <a:gd name="connsiteY175" fmla="*/ 4464 h 10182"/>
                <a:gd name="connsiteX176" fmla="*/ 8952 w 10000"/>
                <a:gd name="connsiteY176" fmla="*/ 4549 h 10182"/>
                <a:gd name="connsiteX177" fmla="*/ 8940 w 10000"/>
                <a:gd name="connsiteY177" fmla="*/ 4639 h 10182"/>
                <a:gd name="connsiteX178" fmla="*/ 8927 w 10000"/>
                <a:gd name="connsiteY178" fmla="*/ 4723 h 10182"/>
                <a:gd name="connsiteX179" fmla="*/ 8908 w 10000"/>
                <a:gd name="connsiteY179" fmla="*/ 4809 h 10182"/>
                <a:gd name="connsiteX180" fmla="*/ 8890 w 10000"/>
                <a:gd name="connsiteY180" fmla="*/ 4887 h 10182"/>
                <a:gd name="connsiteX181" fmla="*/ 8864 w 10000"/>
                <a:gd name="connsiteY181" fmla="*/ 4958 h 10182"/>
                <a:gd name="connsiteX182" fmla="*/ 8833 w 10000"/>
                <a:gd name="connsiteY182" fmla="*/ 5025 h 10182"/>
                <a:gd name="connsiteX183" fmla="*/ 8538 w 10000"/>
                <a:gd name="connsiteY183" fmla="*/ 4536 h 10182"/>
                <a:gd name="connsiteX184" fmla="*/ 8526 w 10000"/>
                <a:gd name="connsiteY184" fmla="*/ 4561 h 10182"/>
                <a:gd name="connsiteX185" fmla="*/ 8494 w 10000"/>
                <a:gd name="connsiteY185" fmla="*/ 4615 h 10182"/>
                <a:gd name="connsiteX186" fmla="*/ 8463 w 10000"/>
                <a:gd name="connsiteY186" fmla="*/ 4645 h 10182"/>
                <a:gd name="connsiteX187" fmla="*/ 8438 w 10000"/>
                <a:gd name="connsiteY187" fmla="*/ 4669 h 10182"/>
                <a:gd name="connsiteX188" fmla="*/ 8407 w 10000"/>
                <a:gd name="connsiteY188" fmla="*/ 4687 h 10182"/>
                <a:gd name="connsiteX189" fmla="*/ 8375 w 10000"/>
                <a:gd name="connsiteY189" fmla="*/ 4693 h 10182"/>
                <a:gd name="connsiteX190" fmla="*/ 8338 w 10000"/>
                <a:gd name="connsiteY190" fmla="*/ 4687 h 10182"/>
                <a:gd name="connsiteX191" fmla="*/ 8312 w 10000"/>
                <a:gd name="connsiteY191" fmla="*/ 4681 h 10182"/>
                <a:gd name="connsiteX192" fmla="*/ 8287 w 10000"/>
                <a:gd name="connsiteY192" fmla="*/ 4663 h 10182"/>
                <a:gd name="connsiteX193" fmla="*/ 8256 w 10000"/>
                <a:gd name="connsiteY193" fmla="*/ 4645 h 10182"/>
                <a:gd name="connsiteX194" fmla="*/ 8237 w 10000"/>
                <a:gd name="connsiteY194" fmla="*/ 4615 h 10182"/>
                <a:gd name="connsiteX195" fmla="*/ 8225 w 10000"/>
                <a:gd name="connsiteY195" fmla="*/ 4591 h 10182"/>
                <a:gd name="connsiteX196" fmla="*/ 8206 w 10000"/>
                <a:gd name="connsiteY196" fmla="*/ 4567 h 10182"/>
                <a:gd name="connsiteX197" fmla="*/ 8206 w 10000"/>
                <a:gd name="connsiteY197" fmla="*/ 4536 h 10182"/>
                <a:gd name="connsiteX198" fmla="*/ 8206 w 10000"/>
                <a:gd name="connsiteY198" fmla="*/ 4500 h 10182"/>
                <a:gd name="connsiteX199" fmla="*/ 8225 w 10000"/>
                <a:gd name="connsiteY199" fmla="*/ 4464 h 10182"/>
                <a:gd name="connsiteX200" fmla="*/ 8237 w 10000"/>
                <a:gd name="connsiteY200" fmla="*/ 4428 h 10182"/>
                <a:gd name="connsiteX201" fmla="*/ 8250 w 10000"/>
                <a:gd name="connsiteY201" fmla="*/ 4393 h 10182"/>
                <a:gd name="connsiteX202" fmla="*/ 8300 w 10000"/>
                <a:gd name="connsiteY202" fmla="*/ 4326 h 10182"/>
                <a:gd name="connsiteX203" fmla="*/ 8356 w 10000"/>
                <a:gd name="connsiteY203" fmla="*/ 4260 h 10182"/>
                <a:gd name="connsiteX204" fmla="*/ 8407 w 10000"/>
                <a:gd name="connsiteY204" fmla="*/ 4200 h 10182"/>
                <a:gd name="connsiteX205" fmla="*/ 8457 w 10000"/>
                <a:gd name="connsiteY205" fmla="*/ 4134 h 10182"/>
                <a:gd name="connsiteX206" fmla="*/ 8469 w 10000"/>
                <a:gd name="connsiteY206" fmla="*/ 4097 h 10182"/>
                <a:gd name="connsiteX207" fmla="*/ 8482 w 10000"/>
                <a:gd name="connsiteY207" fmla="*/ 4066 h 10182"/>
                <a:gd name="connsiteX208" fmla="*/ 8501 w 10000"/>
                <a:gd name="connsiteY208" fmla="*/ 4024 h 10182"/>
                <a:gd name="connsiteX209" fmla="*/ 8501 w 10000"/>
                <a:gd name="connsiteY209" fmla="*/ 3988 h 10182"/>
                <a:gd name="connsiteX210" fmla="*/ 7748 w 10000"/>
                <a:gd name="connsiteY210" fmla="*/ 3988 h 10182"/>
                <a:gd name="connsiteX211" fmla="*/ 7723 w 10000"/>
                <a:gd name="connsiteY211" fmla="*/ 3982 h 10182"/>
                <a:gd name="connsiteX212" fmla="*/ 7685 w 10000"/>
                <a:gd name="connsiteY212" fmla="*/ 3964 h 10182"/>
                <a:gd name="connsiteX213" fmla="*/ 7660 w 10000"/>
                <a:gd name="connsiteY213" fmla="*/ 3928 h 10182"/>
                <a:gd name="connsiteX214" fmla="*/ 7635 w 10000"/>
                <a:gd name="connsiteY214" fmla="*/ 3892 h 10182"/>
                <a:gd name="connsiteX215" fmla="*/ 7616 w 10000"/>
                <a:gd name="connsiteY215" fmla="*/ 3844 h 10182"/>
                <a:gd name="connsiteX216" fmla="*/ 7597 w 10000"/>
                <a:gd name="connsiteY216" fmla="*/ 3796 h 10182"/>
                <a:gd name="connsiteX217" fmla="*/ 7591 w 10000"/>
                <a:gd name="connsiteY217" fmla="*/ 3742 h 10182"/>
                <a:gd name="connsiteX218" fmla="*/ 7585 w 10000"/>
                <a:gd name="connsiteY218" fmla="*/ 3687 h 10182"/>
                <a:gd name="connsiteX219" fmla="*/ 7547 w 10000"/>
                <a:gd name="connsiteY219" fmla="*/ 3687 h 10182"/>
                <a:gd name="connsiteX220" fmla="*/ 7516 w 10000"/>
                <a:gd name="connsiteY220" fmla="*/ 3681 h 10182"/>
                <a:gd name="connsiteX221" fmla="*/ 7478 w 10000"/>
                <a:gd name="connsiteY221" fmla="*/ 3675 h 10182"/>
                <a:gd name="connsiteX222" fmla="*/ 7447 w 10000"/>
                <a:gd name="connsiteY222" fmla="*/ 3663 h 10182"/>
                <a:gd name="connsiteX223" fmla="*/ 7415 w 10000"/>
                <a:gd name="connsiteY223" fmla="*/ 3645 h 10182"/>
                <a:gd name="connsiteX224" fmla="*/ 7396 w 10000"/>
                <a:gd name="connsiteY224" fmla="*/ 3627 h 10182"/>
                <a:gd name="connsiteX225" fmla="*/ 7384 w 10000"/>
                <a:gd name="connsiteY225" fmla="*/ 3597 h 10182"/>
                <a:gd name="connsiteX226" fmla="*/ 7378 w 10000"/>
                <a:gd name="connsiteY226" fmla="*/ 3573 h 10182"/>
                <a:gd name="connsiteX227" fmla="*/ 7321 w 10000"/>
                <a:gd name="connsiteY227" fmla="*/ 3573 h 10182"/>
                <a:gd name="connsiteX228" fmla="*/ 7271 w 10000"/>
                <a:gd name="connsiteY228" fmla="*/ 3573 h 10182"/>
                <a:gd name="connsiteX229" fmla="*/ 7221 w 10000"/>
                <a:gd name="connsiteY229" fmla="*/ 3573 h 10182"/>
                <a:gd name="connsiteX230" fmla="*/ 7171 w 10000"/>
                <a:gd name="connsiteY230" fmla="*/ 3573 h 10182"/>
                <a:gd name="connsiteX231" fmla="*/ 7127 w 10000"/>
                <a:gd name="connsiteY231" fmla="*/ 3579 h 10182"/>
                <a:gd name="connsiteX232" fmla="*/ 7095 w 10000"/>
                <a:gd name="connsiteY232" fmla="*/ 3585 h 10182"/>
                <a:gd name="connsiteX233" fmla="*/ 7051 w 10000"/>
                <a:gd name="connsiteY233" fmla="*/ 3603 h 10182"/>
                <a:gd name="connsiteX234" fmla="*/ 7008 w 10000"/>
                <a:gd name="connsiteY234" fmla="*/ 3627 h 10182"/>
                <a:gd name="connsiteX235" fmla="*/ 6976 w 10000"/>
                <a:gd name="connsiteY235" fmla="*/ 3657 h 10182"/>
                <a:gd name="connsiteX236" fmla="*/ 6939 w 10000"/>
                <a:gd name="connsiteY236" fmla="*/ 3687 h 10182"/>
                <a:gd name="connsiteX237" fmla="*/ 6920 w 10000"/>
                <a:gd name="connsiteY237" fmla="*/ 3724 h 10182"/>
                <a:gd name="connsiteX238" fmla="*/ 6913 w 10000"/>
                <a:gd name="connsiteY238" fmla="*/ 3760 h 10182"/>
                <a:gd name="connsiteX239" fmla="*/ 6926 w 10000"/>
                <a:gd name="connsiteY239" fmla="*/ 3784 h 10182"/>
                <a:gd name="connsiteX240" fmla="*/ 6964 w 10000"/>
                <a:gd name="connsiteY240" fmla="*/ 3814 h 10182"/>
                <a:gd name="connsiteX241" fmla="*/ 7008 w 10000"/>
                <a:gd name="connsiteY241" fmla="*/ 3850 h 10182"/>
                <a:gd name="connsiteX242" fmla="*/ 7070 w 10000"/>
                <a:gd name="connsiteY242" fmla="*/ 3886 h 10182"/>
                <a:gd name="connsiteX243" fmla="*/ 7133 w 10000"/>
                <a:gd name="connsiteY243" fmla="*/ 3922 h 10182"/>
                <a:gd name="connsiteX244" fmla="*/ 7196 w 10000"/>
                <a:gd name="connsiteY244" fmla="*/ 3952 h 10182"/>
                <a:gd name="connsiteX245" fmla="*/ 7252 w 10000"/>
                <a:gd name="connsiteY245" fmla="*/ 3976 h 10182"/>
                <a:gd name="connsiteX246" fmla="*/ 7290 w 10000"/>
                <a:gd name="connsiteY246" fmla="*/ 3988 h 10182"/>
                <a:gd name="connsiteX247" fmla="*/ 7208 w 10000"/>
                <a:gd name="connsiteY247" fmla="*/ 4048 h 10182"/>
                <a:gd name="connsiteX248" fmla="*/ 7114 w 10000"/>
                <a:gd name="connsiteY248" fmla="*/ 4122 h 10182"/>
                <a:gd name="connsiteX249" fmla="*/ 7070 w 10000"/>
                <a:gd name="connsiteY249" fmla="*/ 4158 h 10182"/>
                <a:gd name="connsiteX250" fmla="*/ 7033 w 10000"/>
                <a:gd name="connsiteY250" fmla="*/ 4200 h 10182"/>
                <a:gd name="connsiteX251" fmla="*/ 7020 w 10000"/>
                <a:gd name="connsiteY251" fmla="*/ 4218 h 10182"/>
                <a:gd name="connsiteX252" fmla="*/ 7008 w 10000"/>
                <a:gd name="connsiteY252" fmla="*/ 4236 h 10182"/>
                <a:gd name="connsiteX253" fmla="*/ 7001 w 10000"/>
                <a:gd name="connsiteY253" fmla="*/ 4260 h 10182"/>
                <a:gd name="connsiteX254" fmla="*/ 6995 w 10000"/>
                <a:gd name="connsiteY254" fmla="*/ 4278 h 10182"/>
                <a:gd name="connsiteX255" fmla="*/ 7001 w 10000"/>
                <a:gd name="connsiteY255" fmla="*/ 4308 h 10182"/>
                <a:gd name="connsiteX256" fmla="*/ 7008 w 10000"/>
                <a:gd name="connsiteY256" fmla="*/ 4326 h 10182"/>
                <a:gd name="connsiteX257" fmla="*/ 7026 w 10000"/>
                <a:gd name="connsiteY257" fmla="*/ 4351 h 10182"/>
                <a:gd name="connsiteX258" fmla="*/ 7039 w 10000"/>
                <a:gd name="connsiteY258" fmla="*/ 4375 h 10182"/>
                <a:gd name="connsiteX259" fmla="*/ 7089 w 10000"/>
                <a:gd name="connsiteY259" fmla="*/ 4422 h 10182"/>
                <a:gd name="connsiteX260" fmla="*/ 7146 w 10000"/>
                <a:gd name="connsiteY260" fmla="*/ 4470 h 10182"/>
                <a:gd name="connsiteX261" fmla="*/ 7208 w 10000"/>
                <a:gd name="connsiteY261" fmla="*/ 4512 h 10182"/>
                <a:gd name="connsiteX262" fmla="*/ 7277 w 10000"/>
                <a:gd name="connsiteY262" fmla="*/ 4549 h 10182"/>
                <a:gd name="connsiteX263" fmla="*/ 7315 w 10000"/>
                <a:gd name="connsiteY263" fmla="*/ 4561 h 10182"/>
                <a:gd name="connsiteX264" fmla="*/ 7346 w 10000"/>
                <a:gd name="connsiteY264" fmla="*/ 4567 h 10182"/>
                <a:gd name="connsiteX265" fmla="*/ 7384 w 10000"/>
                <a:gd name="connsiteY265" fmla="*/ 4573 h 10182"/>
                <a:gd name="connsiteX266" fmla="*/ 7415 w 10000"/>
                <a:gd name="connsiteY266" fmla="*/ 4579 h 10182"/>
                <a:gd name="connsiteX267" fmla="*/ 7585 w 10000"/>
                <a:gd name="connsiteY267" fmla="*/ 5206 h 10182"/>
                <a:gd name="connsiteX268" fmla="*/ 7491 w 10000"/>
                <a:gd name="connsiteY268" fmla="*/ 5206 h 10182"/>
                <a:gd name="connsiteX269" fmla="*/ 7403 w 10000"/>
                <a:gd name="connsiteY269" fmla="*/ 5206 h 10182"/>
                <a:gd name="connsiteX270" fmla="*/ 7321 w 10000"/>
                <a:gd name="connsiteY270" fmla="*/ 5206 h 10182"/>
                <a:gd name="connsiteX271" fmla="*/ 7252 w 10000"/>
                <a:gd name="connsiteY271" fmla="*/ 5206 h 10182"/>
                <a:gd name="connsiteX272" fmla="*/ 7208 w 10000"/>
                <a:gd name="connsiteY272" fmla="*/ 5200 h 10182"/>
                <a:gd name="connsiteX273" fmla="*/ 7164 w 10000"/>
                <a:gd name="connsiteY273" fmla="*/ 5169 h 10182"/>
                <a:gd name="connsiteX274" fmla="*/ 7133 w 10000"/>
                <a:gd name="connsiteY274" fmla="*/ 5157 h 10182"/>
                <a:gd name="connsiteX275" fmla="*/ 7102 w 10000"/>
                <a:gd name="connsiteY275" fmla="*/ 5145 h 10182"/>
                <a:gd name="connsiteX276" fmla="*/ 7070 w 10000"/>
                <a:gd name="connsiteY276" fmla="*/ 5139 h 10182"/>
                <a:gd name="connsiteX277" fmla="*/ 7039 w 10000"/>
                <a:gd name="connsiteY277" fmla="*/ 5133 h 10182"/>
                <a:gd name="connsiteX278" fmla="*/ 7008 w 10000"/>
                <a:gd name="connsiteY278" fmla="*/ 5145 h 10182"/>
                <a:gd name="connsiteX279" fmla="*/ 6957 w 10000"/>
                <a:gd name="connsiteY279" fmla="*/ 5175 h 10182"/>
                <a:gd name="connsiteX280" fmla="*/ 6895 w 10000"/>
                <a:gd name="connsiteY280" fmla="*/ 5218 h 10182"/>
                <a:gd name="connsiteX281" fmla="*/ 6819 w 10000"/>
                <a:gd name="connsiteY281" fmla="*/ 5266 h 10182"/>
                <a:gd name="connsiteX282" fmla="*/ 6744 w 10000"/>
                <a:gd name="connsiteY282" fmla="*/ 5326 h 10182"/>
                <a:gd name="connsiteX283" fmla="*/ 6681 w 10000"/>
                <a:gd name="connsiteY283" fmla="*/ 5374 h 10182"/>
                <a:gd name="connsiteX284" fmla="*/ 6637 w 10000"/>
                <a:gd name="connsiteY284" fmla="*/ 5410 h 10182"/>
                <a:gd name="connsiteX285" fmla="*/ 6625 w 10000"/>
                <a:gd name="connsiteY285" fmla="*/ 5434 h 10182"/>
                <a:gd name="connsiteX286" fmla="*/ 6750 w 10000"/>
                <a:gd name="connsiteY286" fmla="*/ 5506 h 10182"/>
                <a:gd name="connsiteX287" fmla="*/ 6744 w 10000"/>
                <a:gd name="connsiteY287" fmla="*/ 5543 h 10182"/>
                <a:gd name="connsiteX288" fmla="*/ 6725 w 10000"/>
                <a:gd name="connsiteY288" fmla="*/ 5585 h 10182"/>
                <a:gd name="connsiteX289" fmla="*/ 6706 w 10000"/>
                <a:gd name="connsiteY289" fmla="*/ 5616 h 10182"/>
                <a:gd name="connsiteX290" fmla="*/ 6688 w 10000"/>
                <a:gd name="connsiteY290" fmla="*/ 5658 h 10182"/>
                <a:gd name="connsiteX291" fmla="*/ 6637 w 10000"/>
                <a:gd name="connsiteY291" fmla="*/ 5712 h 10182"/>
                <a:gd name="connsiteX292" fmla="*/ 6581 w 10000"/>
                <a:gd name="connsiteY292" fmla="*/ 5766 h 10182"/>
                <a:gd name="connsiteX293" fmla="*/ 6518 w 10000"/>
                <a:gd name="connsiteY293" fmla="*/ 5814 h 10182"/>
                <a:gd name="connsiteX294" fmla="*/ 6443 w 10000"/>
                <a:gd name="connsiteY294" fmla="*/ 5857 h 10182"/>
                <a:gd name="connsiteX295" fmla="*/ 6374 w 10000"/>
                <a:gd name="connsiteY295" fmla="*/ 5893 h 10182"/>
                <a:gd name="connsiteX296" fmla="*/ 6299 w 10000"/>
                <a:gd name="connsiteY296" fmla="*/ 5928 h 10182"/>
                <a:gd name="connsiteX297" fmla="*/ 6223 w 10000"/>
                <a:gd name="connsiteY297" fmla="*/ 5976 h 10182"/>
                <a:gd name="connsiteX298" fmla="*/ 6154 w 10000"/>
                <a:gd name="connsiteY298" fmla="*/ 6012 h 10182"/>
                <a:gd name="connsiteX299" fmla="*/ 6092 w 10000"/>
                <a:gd name="connsiteY299" fmla="*/ 6055 h 10182"/>
                <a:gd name="connsiteX300" fmla="*/ 6035 w 10000"/>
                <a:gd name="connsiteY300" fmla="*/ 6103 h 10182"/>
                <a:gd name="connsiteX301" fmla="*/ 6004 w 10000"/>
                <a:gd name="connsiteY301" fmla="*/ 6127 h 10182"/>
                <a:gd name="connsiteX302" fmla="*/ 5985 w 10000"/>
                <a:gd name="connsiteY302" fmla="*/ 6151 h 10182"/>
                <a:gd name="connsiteX303" fmla="*/ 5966 w 10000"/>
                <a:gd name="connsiteY303" fmla="*/ 6181 h 10182"/>
                <a:gd name="connsiteX304" fmla="*/ 5947 w 10000"/>
                <a:gd name="connsiteY304" fmla="*/ 6211 h 10182"/>
                <a:gd name="connsiteX305" fmla="*/ 5935 w 10000"/>
                <a:gd name="connsiteY305" fmla="*/ 6249 h 10182"/>
                <a:gd name="connsiteX306" fmla="*/ 5922 w 10000"/>
                <a:gd name="connsiteY306" fmla="*/ 6279 h 10182"/>
                <a:gd name="connsiteX307" fmla="*/ 5916 w 10000"/>
                <a:gd name="connsiteY307" fmla="*/ 6321 h 10182"/>
                <a:gd name="connsiteX308" fmla="*/ 5916 w 10000"/>
                <a:gd name="connsiteY308" fmla="*/ 6363 h 10182"/>
                <a:gd name="connsiteX309" fmla="*/ 5859 w 10000"/>
                <a:gd name="connsiteY309" fmla="*/ 6381 h 10182"/>
                <a:gd name="connsiteX310" fmla="*/ 5809 w 10000"/>
                <a:gd name="connsiteY310" fmla="*/ 6399 h 10182"/>
                <a:gd name="connsiteX311" fmla="*/ 5765 w 10000"/>
                <a:gd name="connsiteY311" fmla="*/ 6422 h 10182"/>
                <a:gd name="connsiteX312" fmla="*/ 5721 w 10000"/>
                <a:gd name="connsiteY312" fmla="*/ 6446 h 10182"/>
                <a:gd name="connsiteX313" fmla="*/ 5634 w 10000"/>
                <a:gd name="connsiteY313" fmla="*/ 6507 h 10182"/>
                <a:gd name="connsiteX314" fmla="*/ 5558 w 10000"/>
                <a:gd name="connsiteY314" fmla="*/ 6579 h 10182"/>
                <a:gd name="connsiteX315" fmla="*/ 5420 w 10000"/>
                <a:gd name="connsiteY315" fmla="*/ 6742 h 10182"/>
                <a:gd name="connsiteX316" fmla="*/ 5289 w 10000"/>
                <a:gd name="connsiteY316" fmla="*/ 6916 h 10182"/>
                <a:gd name="connsiteX317" fmla="*/ 5220 w 10000"/>
                <a:gd name="connsiteY317" fmla="*/ 7007 h 10182"/>
                <a:gd name="connsiteX318" fmla="*/ 5151 w 10000"/>
                <a:gd name="connsiteY318" fmla="*/ 7085 h 10182"/>
                <a:gd name="connsiteX319" fmla="*/ 5075 w 10000"/>
                <a:gd name="connsiteY319" fmla="*/ 7158 h 10182"/>
                <a:gd name="connsiteX320" fmla="*/ 4994 w 10000"/>
                <a:gd name="connsiteY320" fmla="*/ 7224 h 10182"/>
                <a:gd name="connsiteX321" fmla="*/ 4944 w 10000"/>
                <a:gd name="connsiteY321" fmla="*/ 7254 h 10182"/>
                <a:gd name="connsiteX322" fmla="*/ 4893 w 10000"/>
                <a:gd name="connsiteY322" fmla="*/ 7278 h 10182"/>
                <a:gd name="connsiteX323" fmla="*/ 4849 w 10000"/>
                <a:gd name="connsiteY323" fmla="*/ 7302 h 10182"/>
                <a:gd name="connsiteX324" fmla="*/ 4793 w 10000"/>
                <a:gd name="connsiteY324" fmla="*/ 7327 h 10182"/>
                <a:gd name="connsiteX325" fmla="*/ 4730 w 10000"/>
                <a:gd name="connsiteY325" fmla="*/ 7345 h 10182"/>
                <a:gd name="connsiteX326" fmla="*/ 4674 w 10000"/>
                <a:gd name="connsiteY326" fmla="*/ 7357 h 10182"/>
                <a:gd name="connsiteX327" fmla="*/ 4605 w 10000"/>
                <a:gd name="connsiteY327" fmla="*/ 7363 h 10182"/>
                <a:gd name="connsiteX328" fmla="*/ 4536 w 10000"/>
                <a:gd name="connsiteY328" fmla="*/ 7363 h 10182"/>
                <a:gd name="connsiteX329" fmla="*/ 4536 w 10000"/>
                <a:gd name="connsiteY329" fmla="*/ 7416 h 10182"/>
                <a:gd name="connsiteX330" fmla="*/ 4536 w 10000"/>
                <a:gd name="connsiteY330" fmla="*/ 7470 h 10182"/>
                <a:gd name="connsiteX331" fmla="*/ 4536 w 10000"/>
                <a:gd name="connsiteY331" fmla="*/ 7512 h 10182"/>
                <a:gd name="connsiteX332" fmla="*/ 4536 w 10000"/>
                <a:gd name="connsiteY332" fmla="*/ 7549 h 10182"/>
                <a:gd name="connsiteX333" fmla="*/ 4536 w 10000"/>
                <a:gd name="connsiteY333" fmla="*/ 7615 h 10182"/>
                <a:gd name="connsiteX334" fmla="*/ 4536 w 10000"/>
                <a:gd name="connsiteY334" fmla="*/ 7718 h 10182"/>
                <a:gd name="connsiteX335" fmla="*/ 4536 w 10000"/>
                <a:gd name="connsiteY335" fmla="*/ 7827 h 10182"/>
                <a:gd name="connsiteX336" fmla="*/ 4548 w 10000"/>
                <a:gd name="connsiteY336" fmla="*/ 7940 h 10182"/>
                <a:gd name="connsiteX337" fmla="*/ 4561 w 10000"/>
                <a:gd name="connsiteY337" fmla="*/ 8001 h 10182"/>
                <a:gd name="connsiteX338" fmla="*/ 4573 w 10000"/>
                <a:gd name="connsiteY338" fmla="*/ 8055 h 10182"/>
                <a:gd name="connsiteX339" fmla="*/ 4586 w 10000"/>
                <a:gd name="connsiteY339" fmla="*/ 8103 h 10182"/>
                <a:gd name="connsiteX340" fmla="*/ 4611 w 10000"/>
                <a:gd name="connsiteY340" fmla="*/ 8145 h 10182"/>
                <a:gd name="connsiteX341" fmla="*/ 4636 w 10000"/>
                <a:gd name="connsiteY341" fmla="*/ 8188 h 10182"/>
                <a:gd name="connsiteX342" fmla="*/ 4668 w 10000"/>
                <a:gd name="connsiteY342" fmla="*/ 8218 h 10182"/>
                <a:gd name="connsiteX343" fmla="*/ 4705 w 10000"/>
                <a:gd name="connsiteY343" fmla="*/ 8242 h 10182"/>
                <a:gd name="connsiteX344" fmla="*/ 4749 w 10000"/>
                <a:gd name="connsiteY344" fmla="*/ 8254 h 10182"/>
                <a:gd name="connsiteX345" fmla="*/ 4711 w 10000"/>
                <a:gd name="connsiteY345" fmla="*/ 8350 h 10182"/>
                <a:gd name="connsiteX346" fmla="*/ 4668 w 10000"/>
                <a:gd name="connsiteY346" fmla="*/ 8435 h 10182"/>
                <a:gd name="connsiteX347" fmla="*/ 4617 w 10000"/>
                <a:gd name="connsiteY347" fmla="*/ 8513 h 10182"/>
                <a:gd name="connsiteX348" fmla="*/ 4573 w 10000"/>
                <a:gd name="connsiteY348" fmla="*/ 8585 h 10182"/>
                <a:gd name="connsiteX349" fmla="*/ 4523 w 10000"/>
                <a:gd name="connsiteY349" fmla="*/ 8670 h 10182"/>
                <a:gd name="connsiteX350" fmla="*/ 4492 w 10000"/>
                <a:gd name="connsiteY350" fmla="*/ 8748 h 10182"/>
                <a:gd name="connsiteX351" fmla="*/ 4473 w 10000"/>
                <a:gd name="connsiteY351" fmla="*/ 8784 h 10182"/>
                <a:gd name="connsiteX352" fmla="*/ 4467 w 10000"/>
                <a:gd name="connsiteY352" fmla="*/ 8827 h 10182"/>
                <a:gd name="connsiteX353" fmla="*/ 4460 w 10000"/>
                <a:gd name="connsiteY353" fmla="*/ 8875 h 10182"/>
                <a:gd name="connsiteX354" fmla="*/ 4454 w 10000"/>
                <a:gd name="connsiteY354" fmla="*/ 8917 h 10182"/>
                <a:gd name="connsiteX355" fmla="*/ 4460 w 10000"/>
                <a:gd name="connsiteY355" fmla="*/ 8934 h 10182"/>
                <a:gd name="connsiteX356" fmla="*/ 4467 w 10000"/>
                <a:gd name="connsiteY356" fmla="*/ 8946 h 10182"/>
                <a:gd name="connsiteX357" fmla="*/ 4479 w 10000"/>
                <a:gd name="connsiteY357" fmla="*/ 8958 h 10182"/>
                <a:gd name="connsiteX358" fmla="*/ 4504 w 10000"/>
                <a:gd name="connsiteY358" fmla="*/ 8970 h 10182"/>
                <a:gd name="connsiteX359" fmla="*/ 4542 w 10000"/>
                <a:gd name="connsiteY359" fmla="*/ 8994 h 10182"/>
                <a:gd name="connsiteX360" fmla="*/ 4580 w 10000"/>
                <a:gd name="connsiteY360" fmla="*/ 9000 h 10182"/>
                <a:gd name="connsiteX361" fmla="*/ 4580 w 10000"/>
                <a:gd name="connsiteY361" fmla="*/ 9218 h 10182"/>
                <a:gd name="connsiteX362" fmla="*/ 4529 w 10000"/>
                <a:gd name="connsiteY362" fmla="*/ 9303 h 10182"/>
                <a:gd name="connsiteX363" fmla="*/ 4492 w 10000"/>
                <a:gd name="connsiteY363" fmla="*/ 9393 h 10182"/>
                <a:gd name="connsiteX364" fmla="*/ 4460 w 10000"/>
                <a:gd name="connsiteY364" fmla="*/ 9428 h 10182"/>
                <a:gd name="connsiteX365" fmla="*/ 4429 w 10000"/>
                <a:gd name="connsiteY365" fmla="*/ 9453 h 10182"/>
                <a:gd name="connsiteX366" fmla="*/ 4404 w 10000"/>
                <a:gd name="connsiteY366" fmla="*/ 9465 h 10182"/>
                <a:gd name="connsiteX367" fmla="*/ 4385 w 10000"/>
                <a:gd name="connsiteY367" fmla="*/ 9471 h 10182"/>
                <a:gd name="connsiteX368" fmla="*/ 4360 w 10000"/>
                <a:gd name="connsiteY368" fmla="*/ 9477 h 10182"/>
                <a:gd name="connsiteX369" fmla="*/ 4329 w 10000"/>
                <a:gd name="connsiteY369" fmla="*/ 9477 h 10182"/>
                <a:gd name="connsiteX370" fmla="*/ 4329 w 10000"/>
                <a:gd name="connsiteY370" fmla="*/ 9525 h 10182"/>
                <a:gd name="connsiteX371" fmla="*/ 4335 w 10000"/>
                <a:gd name="connsiteY371" fmla="*/ 9585 h 10182"/>
                <a:gd name="connsiteX372" fmla="*/ 4348 w 10000"/>
                <a:gd name="connsiteY372" fmla="*/ 9615 h 10182"/>
                <a:gd name="connsiteX373" fmla="*/ 4354 w 10000"/>
                <a:gd name="connsiteY373" fmla="*/ 9639 h 10182"/>
                <a:gd name="connsiteX374" fmla="*/ 4360 w 10000"/>
                <a:gd name="connsiteY374" fmla="*/ 9658 h 10182"/>
                <a:gd name="connsiteX375" fmla="*/ 4373 w 10000"/>
                <a:gd name="connsiteY375" fmla="*/ 9664 h 10182"/>
                <a:gd name="connsiteX376" fmla="*/ 4210 w 10000"/>
                <a:gd name="connsiteY376" fmla="*/ 9790 h 10182"/>
                <a:gd name="connsiteX377" fmla="*/ 4072 w 10000"/>
                <a:gd name="connsiteY377" fmla="*/ 9894 h 10182"/>
                <a:gd name="connsiteX378" fmla="*/ 4009 w 10000"/>
                <a:gd name="connsiteY378" fmla="*/ 9953 h 10182"/>
                <a:gd name="connsiteX379" fmla="*/ 3952 w 10000"/>
                <a:gd name="connsiteY379" fmla="*/ 10019 h 10182"/>
                <a:gd name="connsiteX380" fmla="*/ 3890 w 10000"/>
                <a:gd name="connsiteY380" fmla="*/ 10098 h 10182"/>
                <a:gd name="connsiteX381" fmla="*/ 3833 w 10000"/>
                <a:gd name="connsiteY381" fmla="*/ 10182 h 10182"/>
                <a:gd name="connsiteX382" fmla="*/ 3733 w 10000"/>
                <a:gd name="connsiteY382" fmla="*/ 10140 h 10182"/>
                <a:gd name="connsiteX383" fmla="*/ 3664 w 10000"/>
                <a:gd name="connsiteY383" fmla="*/ 10098 h 10182"/>
                <a:gd name="connsiteX384" fmla="*/ 3607 w 10000"/>
                <a:gd name="connsiteY384" fmla="*/ 10055 h 10182"/>
                <a:gd name="connsiteX385" fmla="*/ 3563 w 10000"/>
                <a:gd name="connsiteY385" fmla="*/ 10007 h 10182"/>
                <a:gd name="connsiteX386" fmla="*/ 3532 w 10000"/>
                <a:gd name="connsiteY386" fmla="*/ 9947 h 10182"/>
                <a:gd name="connsiteX387" fmla="*/ 3513 w 10000"/>
                <a:gd name="connsiteY387" fmla="*/ 9888 h 10182"/>
                <a:gd name="connsiteX388" fmla="*/ 3482 w 10000"/>
                <a:gd name="connsiteY388" fmla="*/ 9814 h 10182"/>
                <a:gd name="connsiteX389" fmla="*/ 3457 w 10000"/>
                <a:gd name="connsiteY389" fmla="*/ 9742 h 10182"/>
                <a:gd name="connsiteX390" fmla="*/ 3400 w 10000"/>
                <a:gd name="connsiteY390" fmla="*/ 9603 h 10182"/>
                <a:gd name="connsiteX391" fmla="*/ 3325 w 10000"/>
                <a:gd name="connsiteY391" fmla="*/ 9471 h 10182"/>
                <a:gd name="connsiteX392" fmla="*/ 3237 w 10000"/>
                <a:gd name="connsiteY392" fmla="*/ 9333 h 10182"/>
                <a:gd name="connsiteX393" fmla="*/ 3143 w 10000"/>
                <a:gd name="connsiteY393" fmla="*/ 9188 h 10182"/>
                <a:gd name="connsiteX394" fmla="*/ 3049 w 10000"/>
                <a:gd name="connsiteY394" fmla="*/ 9055 h 10182"/>
                <a:gd name="connsiteX395" fmla="*/ 2967 w 10000"/>
                <a:gd name="connsiteY395" fmla="*/ 8923 h 10182"/>
                <a:gd name="connsiteX396" fmla="*/ 2892 w 10000"/>
                <a:gd name="connsiteY396" fmla="*/ 8803 h 10182"/>
                <a:gd name="connsiteX397" fmla="*/ 2829 w 10000"/>
                <a:gd name="connsiteY397" fmla="*/ 8700 h 10182"/>
                <a:gd name="connsiteX398" fmla="*/ 2773 w 10000"/>
                <a:gd name="connsiteY398" fmla="*/ 8585 h 10182"/>
                <a:gd name="connsiteX399" fmla="*/ 2735 w 10000"/>
                <a:gd name="connsiteY399" fmla="*/ 8483 h 10182"/>
                <a:gd name="connsiteX400" fmla="*/ 2698 w 10000"/>
                <a:gd name="connsiteY400" fmla="*/ 8375 h 10182"/>
                <a:gd name="connsiteX401" fmla="*/ 2666 w 10000"/>
                <a:gd name="connsiteY401" fmla="*/ 8266 h 10182"/>
                <a:gd name="connsiteX402" fmla="*/ 2629 w 10000"/>
                <a:gd name="connsiteY402" fmla="*/ 8157 h 10182"/>
                <a:gd name="connsiteX403" fmla="*/ 2597 w 10000"/>
                <a:gd name="connsiteY403" fmla="*/ 8049 h 10182"/>
                <a:gd name="connsiteX404" fmla="*/ 2553 w 10000"/>
                <a:gd name="connsiteY404" fmla="*/ 7928 h 10182"/>
                <a:gd name="connsiteX405" fmla="*/ 2497 w 10000"/>
                <a:gd name="connsiteY405" fmla="*/ 7809 h 10182"/>
                <a:gd name="connsiteX406" fmla="*/ 2359 w 10000"/>
                <a:gd name="connsiteY406" fmla="*/ 7615 h 10182"/>
                <a:gd name="connsiteX407" fmla="*/ 2208 w 10000"/>
                <a:gd name="connsiteY407" fmla="*/ 7434 h 10182"/>
                <a:gd name="connsiteX408" fmla="*/ 2139 w 10000"/>
                <a:gd name="connsiteY408" fmla="*/ 7351 h 10182"/>
                <a:gd name="connsiteX409" fmla="*/ 2070 w 10000"/>
                <a:gd name="connsiteY409" fmla="*/ 7254 h 10182"/>
                <a:gd name="connsiteX410" fmla="*/ 2008 w 10000"/>
                <a:gd name="connsiteY410" fmla="*/ 7164 h 10182"/>
                <a:gd name="connsiteX411" fmla="*/ 1957 w 10000"/>
                <a:gd name="connsiteY411" fmla="*/ 7067 h 10182"/>
                <a:gd name="connsiteX412" fmla="*/ 1888 w 10000"/>
                <a:gd name="connsiteY412" fmla="*/ 6832 h 10182"/>
                <a:gd name="connsiteX413" fmla="*/ 1832 w 10000"/>
                <a:gd name="connsiteY413" fmla="*/ 6615 h 10182"/>
                <a:gd name="connsiteX414" fmla="*/ 1782 w 10000"/>
                <a:gd name="connsiteY414" fmla="*/ 6405 h 10182"/>
                <a:gd name="connsiteX415" fmla="*/ 1757 w 10000"/>
                <a:gd name="connsiteY415" fmla="*/ 6193 h 10182"/>
                <a:gd name="connsiteX416" fmla="*/ 1725 w 10000"/>
                <a:gd name="connsiteY416" fmla="*/ 5988 h 10182"/>
                <a:gd name="connsiteX417" fmla="*/ 1713 w 10000"/>
                <a:gd name="connsiteY417" fmla="*/ 5772 h 10182"/>
                <a:gd name="connsiteX418" fmla="*/ 1706 w 10000"/>
                <a:gd name="connsiteY418" fmla="*/ 5549 h 10182"/>
                <a:gd name="connsiteX419" fmla="*/ 1706 w 10000"/>
                <a:gd name="connsiteY419" fmla="*/ 5326 h 10182"/>
                <a:gd name="connsiteX420" fmla="*/ 1681 w 10000"/>
                <a:gd name="connsiteY420" fmla="*/ 5320 h 10182"/>
                <a:gd name="connsiteX421" fmla="*/ 1650 w 10000"/>
                <a:gd name="connsiteY421" fmla="*/ 5314 h 10182"/>
                <a:gd name="connsiteX422" fmla="*/ 1625 w 10000"/>
                <a:gd name="connsiteY422" fmla="*/ 5308 h 10182"/>
                <a:gd name="connsiteX423" fmla="*/ 1606 w 10000"/>
                <a:gd name="connsiteY423" fmla="*/ 5284 h 10182"/>
                <a:gd name="connsiteX424" fmla="*/ 1581 w 10000"/>
                <a:gd name="connsiteY424" fmla="*/ 5272 h 10182"/>
                <a:gd name="connsiteX425" fmla="*/ 1568 w 10000"/>
                <a:gd name="connsiteY425" fmla="*/ 5254 h 10182"/>
                <a:gd name="connsiteX426" fmla="*/ 1550 w 10000"/>
                <a:gd name="connsiteY426" fmla="*/ 5230 h 10182"/>
                <a:gd name="connsiteX427" fmla="*/ 1543 w 10000"/>
                <a:gd name="connsiteY427" fmla="*/ 5206 h 10182"/>
                <a:gd name="connsiteX428" fmla="*/ 1518 w 10000"/>
                <a:gd name="connsiteY428" fmla="*/ 5157 h 10182"/>
                <a:gd name="connsiteX429" fmla="*/ 1506 w 10000"/>
                <a:gd name="connsiteY429" fmla="*/ 5103 h 10182"/>
                <a:gd name="connsiteX430" fmla="*/ 1499 w 10000"/>
                <a:gd name="connsiteY430" fmla="*/ 5043 h 10182"/>
                <a:gd name="connsiteX431" fmla="*/ 1499 w 10000"/>
                <a:gd name="connsiteY431" fmla="*/ 4989 h 10182"/>
                <a:gd name="connsiteX432" fmla="*/ 1443 w 10000"/>
                <a:gd name="connsiteY432" fmla="*/ 5025 h 10182"/>
                <a:gd name="connsiteX433" fmla="*/ 1405 w 10000"/>
                <a:gd name="connsiteY433" fmla="*/ 5067 h 10182"/>
                <a:gd name="connsiteX434" fmla="*/ 1361 w 10000"/>
                <a:gd name="connsiteY434" fmla="*/ 5109 h 10182"/>
                <a:gd name="connsiteX435" fmla="*/ 1317 w 10000"/>
                <a:gd name="connsiteY435" fmla="*/ 5157 h 10182"/>
                <a:gd name="connsiteX436" fmla="*/ 1261 w 10000"/>
                <a:gd name="connsiteY436" fmla="*/ 5254 h 10182"/>
                <a:gd name="connsiteX437" fmla="*/ 1205 w 10000"/>
                <a:gd name="connsiteY437" fmla="*/ 5356 h 10182"/>
                <a:gd name="connsiteX438" fmla="*/ 1167 w 10000"/>
                <a:gd name="connsiteY438" fmla="*/ 5399 h 10182"/>
                <a:gd name="connsiteX439" fmla="*/ 1142 w 10000"/>
                <a:gd name="connsiteY439" fmla="*/ 5440 h 10182"/>
                <a:gd name="connsiteX440" fmla="*/ 1104 w 10000"/>
                <a:gd name="connsiteY440" fmla="*/ 5482 h 10182"/>
                <a:gd name="connsiteX441" fmla="*/ 1073 w 10000"/>
                <a:gd name="connsiteY441" fmla="*/ 5512 h 10182"/>
                <a:gd name="connsiteX442" fmla="*/ 1029 w 10000"/>
                <a:gd name="connsiteY442" fmla="*/ 5543 h 10182"/>
                <a:gd name="connsiteX443" fmla="*/ 985 w 10000"/>
                <a:gd name="connsiteY443" fmla="*/ 5561 h 10182"/>
                <a:gd name="connsiteX444" fmla="*/ 928 w 10000"/>
                <a:gd name="connsiteY444" fmla="*/ 5573 h 10182"/>
                <a:gd name="connsiteX445" fmla="*/ 872 w 10000"/>
                <a:gd name="connsiteY445" fmla="*/ 5579 h 10182"/>
                <a:gd name="connsiteX446" fmla="*/ 841 w 10000"/>
                <a:gd name="connsiteY446" fmla="*/ 5573 h 10182"/>
                <a:gd name="connsiteX447" fmla="*/ 797 w 10000"/>
                <a:gd name="connsiteY447" fmla="*/ 5561 h 10182"/>
                <a:gd name="connsiteX448" fmla="*/ 753 w 10000"/>
                <a:gd name="connsiteY448" fmla="*/ 5543 h 10182"/>
                <a:gd name="connsiteX449" fmla="*/ 709 w 10000"/>
                <a:gd name="connsiteY449" fmla="*/ 5512 h 10182"/>
                <a:gd name="connsiteX450" fmla="*/ 659 w 10000"/>
                <a:gd name="connsiteY450" fmla="*/ 5476 h 10182"/>
                <a:gd name="connsiteX451" fmla="*/ 609 w 10000"/>
                <a:gd name="connsiteY451" fmla="*/ 5440 h 10182"/>
                <a:gd name="connsiteX452" fmla="*/ 565 w 10000"/>
                <a:gd name="connsiteY452" fmla="*/ 5399 h 10182"/>
                <a:gd name="connsiteX453" fmla="*/ 514 w 10000"/>
                <a:gd name="connsiteY453" fmla="*/ 5350 h 10182"/>
                <a:gd name="connsiteX454" fmla="*/ 471 w 10000"/>
                <a:gd name="connsiteY454" fmla="*/ 5302 h 10182"/>
                <a:gd name="connsiteX455" fmla="*/ 433 w 10000"/>
                <a:gd name="connsiteY455" fmla="*/ 5248 h 10182"/>
                <a:gd name="connsiteX456" fmla="*/ 389 w 10000"/>
                <a:gd name="connsiteY456" fmla="*/ 5194 h 10182"/>
                <a:gd name="connsiteX457" fmla="*/ 358 w 10000"/>
                <a:gd name="connsiteY457" fmla="*/ 5139 h 10182"/>
                <a:gd name="connsiteX458" fmla="*/ 326 w 10000"/>
                <a:gd name="connsiteY458" fmla="*/ 5091 h 10182"/>
                <a:gd name="connsiteX459" fmla="*/ 307 w 10000"/>
                <a:gd name="connsiteY459" fmla="*/ 5043 h 10182"/>
                <a:gd name="connsiteX460" fmla="*/ 295 w 10000"/>
                <a:gd name="connsiteY460" fmla="*/ 4995 h 10182"/>
                <a:gd name="connsiteX461" fmla="*/ 289 w 10000"/>
                <a:gd name="connsiteY461" fmla="*/ 4946 h 10182"/>
                <a:gd name="connsiteX462" fmla="*/ 320 w 10000"/>
                <a:gd name="connsiteY462" fmla="*/ 4928 h 10182"/>
                <a:gd name="connsiteX463" fmla="*/ 395 w 10000"/>
                <a:gd name="connsiteY463" fmla="*/ 4893 h 10182"/>
                <a:gd name="connsiteX464" fmla="*/ 483 w 10000"/>
                <a:gd name="connsiteY464" fmla="*/ 4857 h 10182"/>
                <a:gd name="connsiteX465" fmla="*/ 533 w 10000"/>
                <a:gd name="connsiteY465" fmla="*/ 4839 h 10182"/>
                <a:gd name="connsiteX466" fmla="*/ 483 w 10000"/>
                <a:gd name="connsiteY466" fmla="*/ 4839 h 10182"/>
                <a:gd name="connsiteX467" fmla="*/ 420 w 10000"/>
                <a:gd name="connsiteY467" fmla="*/ 4833 h 10182"/>
                <a:gd name="connsiteX468" fmla="*/ 370 w 10000"/>
                <a:gd name="connsiteY468" fmla="*/ 4821 h 10182"/>
                <a:gd name="connsiteX469" fmla="*/ 320 w 10000"/>
                <a:gd name="connsiteY469" fmla="*/ 4815 h 10182"/>
                <a:gd name="connsiteX470" fmla="*/ 276 w 10000"/>
                <a:gd name="connsiteY470" fmla="*/ 4796 h 10182"/>
                <a:gd name="connsiteX471" fmla="*/ 232 w 10000"/>
                <a:gd name="connsiteY471" fmla="*/ 4784 h 10182"/>
                <a:gd name="connsiteX472" fmla="*/ 188 w 10000"/>
                <a:gd name="connsiteY472" fmla="*/ 4766 h 10182"/>
                <a:gd name="connsiteX473" fmla="*/ 157 w 10000"/>
                <a:gd name="connsiteY473" fmla="*/ 4741 h 10182"/>
                <a:gd name="connsiteX474" fmla="*/ 132 w 10000"/>
                <a:gd name="connsiteY474" fmla="*/ 4717 h 10182"/>
                <a:gd name="connsiteX475" fmla="*/ 100 w 10000"/>
                <a:gd name="connsiteY475" fmla="*/ 4693 h 10182"/>
                <a:gd name="connsiteX476" fmla="*/ 75 w 10000"/>
                <a:gd name="connsiteY476" fmla="*/ 4663 h 10182"/>
                <a:gd name="connsiteX477" fmla="*/ 50 w 10000"/>
                <a:gd name="connsiteY477" fmla="*/ 4639 h 10182"/>
                <a:gd name="connsiteX478" fmla="*/ 19 w 10000"/>
                <a:gd name="connsiteY478" fmla="*/ 4567 h 10182"/>
                <a:gd name="connsiteX479" fmla="*/ 0 w 10000"/>
                <a:gd name="connsiteY479" fmla="*/ 4500 h 10182"/>
                <a:gd name="connsiteX480" fmla="*/ 63 w 10000"/>
                <a:gd name="connsiteY480" fmla="*/ 4452 h 10182"/>
                <a:gd name="connsiteX481" fmla="*/ 132 w 10000"/>
                <a:gd name="connsiteY481" fmla="*/ 4416 h 10182"/>
                <a:gd name="connsiteX482" fmla="*/ 201 w 10000"/>
                <a:gd name="connsiteY482" fmla="*/ 4387 h 10182"/>
                <a:gd name="connsiteX483" fmla="*/ 276 w 10000"/>
                <a:gd name="connsiteY483" fmla="*/ 4363 h 10182"/>
                <a:gd name="connsiteX484" fmla="*/ 420 w 10000"/>
                <a:gd name="connsiteY484" fmla="*/ 4333 h 10182"/>
                <a:gd name="connsiteX485" fmla="*/ 565 w 10000"/>
                <a:gd name="connsiteY485" fmla="*/ 4308 h 10182"/>
                <a:gd name="connsiteX486" fmla="*/ 640 w 10000"/>
                <a:gd name="connsiteY486" fmla="*/ 4296 h 10182"/>
                <a:gd name="connsiteX487" fmla="*/ 709 w 10000"/>
                <a:gd name="connsiteY487" fmla="*/ 4272 h 10182"/>
                <a:gd name="connsiteX488" fmla="*/ 772 w 10000"/>
                <a:gd name="connsiteY488" fmla="*/ 4254 h 10182"/>
                <a:gd name="connsiteX489" fmla="*/ 834 w 10000"/>
                <a:gd name="connsiteY489" fmla="*/ 4224 h 10182"/>
                <a:gd name="connsiteX490" fmla="*/ 891 w 10000"/>
                <a:gd name="connsiteY490" fmla="*/ 4194 h 10182"/>
                <a:gd name="connsiteX491" fmla="*/ 947 w 10000"/>
                <a:gd name="connsiteY491" fmla="*/ 4146 h 10182"/>
                <a:gd name="connsiteX492" fmla="*/ 997 w 10000"/>
                <a:gd name="connsiteY492" fmla="*/ 4091 h 10182"/>
                <a:gd name="connsiteX493" fmla="*/ 1035 w 10000"/>
                <a:gd name="connsiteY493" fmla="*/ 4024 h 10182"/>
                <a:gd name="connsiteX494" fmla="*/ 1010 w 10000"/>
                <a:gd name="connsiteY494" fmla="*/ 4012 h 10182"/>
                <a:gd name="connsiteX495" fmla="*/ 985 w 10000"/>
                <a:gd name="connsiteY495" fmla="*/ 3994 h 10182"/>
                <a:gd name="connsiteX496" fmla="*/ 947 w 10000"/>
                <a:gd name="connsiteY496" fmla="*/ 3970 h 10182"/>
                <a:gd name="connsiteX497" fmla="*/ 910 w 10000"/>
                <a:gd name="connsiteY497" fmla="*/ 3934 h 10182"/>
                <a:gd name="connsiteX498" fmla="*/ 822 w 10000"/>
                <a:gd name="connsiteY498" fmla="*/ 3862 h 10182"/>
                <a:gd name="connsiteX499" fmla="*/ 740 w 10000"/>
                <a:gd name="connsiteY499" fmla="*/ 3778 h 10182"/>
                <a:gd name="connsiteX500" fmla="*/ 665 w 10000"/>
                <a:gd name="connsiteY500" fmla="*/ 3687 h 10182"/>
                <a:gd name="connsiteX501" fmla="*/ 596 w 10000"/>
                <a:gd name="connsiteY501" fmla="*/ 3591 h 10182"/>
                <a:gd name="connsiteX502" fmla="*/ 577 w 10000"/>
                <a:gd name="connsiteY502" fmla="*/ 3549 h 10182"/>
                <a:gd name="connsiteX503" fmla="*/ 558 w 10000"/>
                <a:gd name="connsiteY503" fmla="*/ 3507 h 10182"/>
                <a:gd name="connsiteX504" fmla="*/ 540 w 10000"/>
                <a:gd name="connsiteY504" fmla="*/ 3464 h 10182"/>
                <a:gd name="connsiteX505" fmla="*/ 533 w 10000"/>
                <a:gd name="connsiteY505" fmla="*/ 3428 h 10182"/>
                <a:gd name="connsiteX506" fmla="*/ 508 w 10000"/>
                <a:gd name="connsiteY506" fmla="*/ 3422 h 10182"/>
                <a:gd name="connsiteX507" fmla="*/ 483 w 10000"/>
                <a:gd name="connsiteY507" fmla="*/ 3416 h 10182"/>
                <a:gd name="connsiteX508" fmla="*/ 458 w 10000"/>
                <a:gd name="connsiteY508" fmla="*/ 3404 h 10182"/>
                <a:gd name="connsiteX509" fmla="*/ 439 w 10000"/>
                <a:gd name="connsiteY509" fmla="*/ 3381 h 10182"/>
                <a:gd name="connsiteX510" fmla="*/ 402 w 10000"/>
                <a:gd name="connsiteY510" fmla="*/ 3338 h 10182"/>
                <a:gd name="connsiteX511" fmla="*/ 370 w 10000"/>
                <a:gd name="connsiteY511" fmla="*/ 3278 h 10182"/>
                <a:gd name="connsiteX512" fmla="*/ 370 w 10000"/>
                <a:gd name="connsiteY512" fmla="*/ 3133 h 10182"/>
                <a:gd name="connsiteX513" fmla="*/ 458 w 10000"/>
                <a:gd name="connsiteY513" fmla="*/ 3127 h 10182"/>
                <a:gd name="connsiteX514" fmla="*/ 540 w 10000"/>
                <a:gd name="connsiteY514" fmla="*/ 3121 h 10182"/>
                <a:gd name="connsiteX515" fmla="*/ 615 w 10000"/>
                <a:gd name="connsiteY515" fmla="*/ 3109 h 10182"/>
                <a:gd name="connsiteX516" fmla="*/ 684 w 10000"/>
                <a:gd name="connsiteY516" fmla="*/ 3085 h 10182"/>
                <a:gd name="connsiteX517" fmla="*/ 747 w 10000"/>
                <a:gd name="connsiteY517" fmla="*/ 3067 h 10182"/>
                <a:gd name="connsiteX518" fmla="*/ 809 w 10000"/>
                <a:gd name="connsiteY518" fmla="*/ 3036 h 10182"/>
                <a:gd name="connsiteX519" fmla="*/ 866 w 10000"/>
                <a:gd name="connsiteY519" fmla="*/ 3006 h 10182"/>
                <a:gd name="connsiteX520" fmla="*/ 922 w 10000"/>
                <a:gd name="connsiteY520" fmla="*/ 2970 h 10182"/>
                <a:gd name="connsiteX521" fmla="*/ 966 w 10000"/>
                <a:gd name="connsiteY521" fmla="*/ 2928 h 10182"/>
                <a:gd name="connsiteX522" fmla="*/ 1016 w 10000"/>
                <a:gd name="connsiteY522" fmla="*/ 2887 h 10182"/>
                <a:gd name="connsiteX523" fmla="*/ 1060 w 10000"/>
                <a:gd name="connsiteY523" fmla="*/ 2845 h 10182"/>
                <a:gd name="connsiteX524" fmla="*/ 1098 w 10000"/>
                <a:gd name="connsiteY524" fmla="*/ 2796 h 10182"/>
                <a:gd name="connsiteX525" fmla="*/ 1167 w 10000"/>
                <a:gd name="connsiteY525" fmla="*/ 2700 h 10182"/>
                <a:gd name="connsiteX526" fmla="*/ 1236 w 10000"/>
                <a:gd name="connsiteY526" fmla="*/ 2590 h 10182"/>
                <a:gd name="connsiteX527" fmla="*/ 1355 w 10000"/>
                <a:gd name="connsiteY527" fmla="*/ 2374 h 10182"/>
                <a:gd name="connsiteX528" fmla="*/ 1474 w 10000"/>
                <a:gd name="connsiteY528" fmla="*/ 2157 h 10182"/>
                <a:gd name="connsiteX529" fmla="*/ 1543 w 10000"/>
                <a:gd name="connsiteY529" fmla="*/ 2061 h 10182"/>
                <a:gd name="connsiteX530" fmla="*/ 1612 w 10000"/>
                <a:gd name="connsiteY530" fmla="*/ 1976 h 10182"/>
                <a:gd name="connsiteX531" fmla="*/ 1650 w 10000"/>
                <a:gd name="connsiteY531" fmla="*/ 1927 h 10182"/>
                <a:gd name="connsiteX532" fmla="*/ 1694 w 10000"/>
                <a:gd name="connsiteY532" fmla="*/ 1891 h 10182"/>
                <a:gd name="connsiteX533" fmla="*/ 1738 w 10000"/>
                <a:gd name="connsiteY533" fmla="*/ 1862 h 10182"/>
                <a:gd name="connsiteX534" fmla="*/ 1788 w 10000"/>
                <a:gd name="connsiteY534" fmla="*/ 1832 h 10182"/>
                <a:gd name="connsiteX535" fmla="*/ 1750 w 10000"/>
                <a:gd name="connsiteY535" fmla="*/ 1759 h 10182"/>
                <a:gd name="connsiteX536" fmla="*/ 1719 w 10000"/>
                <a:gd name="connsiteY536" fmla="*/ 1693 h 10182"/>
                <a:gd name="connsiteX537" fmla="*/ 1713 w 10000"/>
                <a:gd name="connsiteY537" fmla="*/ 1663 h 10182"/>
                <a:gd name="connsiteX538" fmla="*/ 1706 w 10000"/>
                <a:gd name="connsiteY538" fmla="*/ 1633 h 10182"/>
                <a:gd name="connsiteX539" fmla="*/ 1706 w 10000"/>
                <a:gd name="connsiteY539" fmla="*/ 1597 h 10182"/>
                <a:gd name="connsiteX540" fmla="*/ 1706 w 10000"/>
                <a:gd name="connsiteY540" fmla="*/ 1567 h 10182"/>
                <a:gd name="connsiteX541" fmla="*/ 1713 w 10000"/>
                <a:gd name="connsiteY541" fmla="*/ 1536 h 10182"/>
                <a:gd name="connsiteX542" fmla="*/ 1719 w 10000"/>
                <a:gd name="connsiteY542" fmla="*/ 1506 h 10182"/>
                <a:gd name="connsiteX543" fmla="*/ 1731 w 10000"/>
                <a:gd name="connsiteY543" fmla="*/ 1482 h 10182"/>
                <a:gd name="connsiteX544" fmla="*/ 1757 w 10000"/>
                <a:gd name="connsiteY544" fmla="*/ 1458 h 10182"/>
                <a:gd name="connsiteX545" fmla="*/ 1775 w 10000"/>
                <a:gd name="connsiteY545" fmla="*/ 1440 h 10182"/>
                <a:gd name="connsiteX546" fmla="*/ 1801 w 10000"/>
                <a:gd name="connsiteY546" fmla="*/ 1422 h 10182"/>
                <a:gd name="connsiteX547" fmla="*/ 1838 w 10000"/>
                <a:gd name="connsiteY547" fmla="*/ 1404 h 10182"/>
                <a:gd name="connsiteX548" fmla="*/ 1870 w 10000"/>
                <a:gd name="connsiteY548" fmla="*/ 1386 h 10182"/>
                <a:gd name="connsiteX549" fmla="*/ 1788 w 10000"/>
                <a:gd name="connsiteY549" fmla="*/ 1296 h 10182"/>
                <a:gd name="connsiteX550" fmla="*/ 1688 w 10000"/>
                <a:gd name="connsiteY550" fmla="*/ 1224 h 10182"/>
                <a:gd name="connsiteX551" fmla="*/ 1550 w 10000"/>
                <a:gd name="connsiteY551" fmla="*/ 1102 h 10182"/>
                <a:gd name="connsiteX552" fmla="*/ 1487 w 10000"/>
                <a:gd name="connsiteY552" fmla="*/ 1042 h 10182"/>
                <a:gd name="connsiteX553" fmla="*/ 1383 w 10000"/>
                <a:gd name="connsiteY553" fmla="*/ 924 h 10182"/>
                <a:gd name="connsiteX554" fmla="*/ 1426 w 10000"/>
                <a:gd name="connsiteY554" fmla="*/ 820 h 10182"/>
                <a:gd name="connsiteX555" fmla="*/ 1512 w 10000"/>
                <a:gd name="connsiteY555" fmla="*/ 742 h 10182"/>
                <a:gd name="connsiteX556" fmla="*/ 1549 w 10000"/>
                <a:gd name="connsiteY556" fmla="*/ 589 h 10182"/>
                <a:gd name="connsiteX557" fmla="*/ 1571 w 10000"/>
                <a:gd name="connsiteY557" fmla="*/ 524 h 10182"/>
                <a:gd name="connsiteX558" fmla="*/ 1555 w 10000"/>
                <a:gd name="connsiteY558" fmla="*/ 500 h 10182"/>
                <a:gd name="connsiteX559" fmla="*/ 1372 w 10000"/>
                <a:gd name="connsiteY559" fmla="*/ 387 h 10182"/>
                <a:gd name="connsiteX560" fmla="*/ 1341 w 10000"/>
                <a:gd name="connsiteY560" fmla="*/ 292 h 10182"/>
                <a:gd name="connsiteX561" fmla="*/ 1490 w 10000"/>
                <a:gd name="connsiteY561" fmla="*/ 179 h 10182"/>
                <a:gd name="connsiteX562" fmla="*/ 1654 w 10000"/>
                <a:gd name="connsiteY562" fmla="*/ 56 h 10182"/>
                <a:gd name="connsiteX563" fmla="*/ 1689 w 10000"/>
                <a:gd name="connsiteY563" fmla="*/ 0 h 10182"/>
                <a:gd name="connsiteX564" fmla="*/ 2151 w 10000"/>
                <a:gd name="connsiteY564" fmla="*/ 150 h 10182"/>
                <a:gd name="connsiteX565" fmla="*/ 2280 w 10000"/>
                <a:gd name="connsiteY565" fmla="*/ 179 h 10182"/>
                <a:gd name="connsiteX566" fmla="*/ 2537 w 10000"/>
                <a:gd name="connsiteY566" fmla="*/ 304 h 1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Lst>
              <a:rect l="l" t="t" r="r" b="b"/>
              <a:pathLst>
                <a:path w="10000" h="10182">
                  <a:moveTo>
                    <a:pt x="2525" y="281"/>
                  </a:moveTo>
                  <a:cubicBezTo>
                    <a:pt x="2599" y="258"/>
                    <a:pt x="2775" y="177"/>
                    <a:pt x="2880" y="171"/>
                  </a:cubicBezTo>
                  <a:cubicBezTo>
                    <a:pt x="3006" y="133"/>
                    <a:pt x="3098" y="204"/>
                    <a:pt x="3155" y="248"/>
                  </a:cubicBezTo>
                  <a:cubicBezTo>
                    <a:pt x="3200" y="318"/>
                    <a:pt x="3296" y="466"/>
                    <a:pt x="3286" y="537"/>
                  </a:cubicBezTo>
                  <a:cubicBezTo>
                    <a:pt x="3266" y="574"/>
                    <a:pt x="3329" y="632"/>
                    <a:pt x="3309" y="669"/>
                  </a:cubicBezTo>
                  <a:cubicBezTo>
                    <a:pt x="3275" y="699"/>
                    <a:pt x="3207" y="757"/>
                    <a:pt x="3173" y="787"/>
                  </a:cubicBezTo>
                  <a:cubicBezTo>
                    <a:pt x="3153" y="810"/>
                    <a:pt x="3133" y="832"/>
                    <a:pt x="3113" y="855"/>
                  </a:cubicBezTo>
                  <a:cubicBezTo>
                    <a:pt x="3136" y="874"/>
                    <a:pt x="3170" y="891"/>
                    <a:pt x="3203" y="914"/>
                  </a:cubicBezTo>
                  <a:cubicBezTo>
                    <a:pt x="3237" y="938"/>
                    <a:pt x="3267" y="959"/>
                    <a:pt x="3314" y="996"/>
                  </a:cubicBezTo>
                  <a:cubicBezTo>
                    <a:pt x="3322" y="1016"/>
                    <a:pt x="3404" y="1082"/>
                    <a:pt x="3412" y="1102"/>
                  </a:cubicBezTo>
                  <a:cubicBezTo>
                    <a:pt x="3422" y="1124"/>
                    <a:pt x="3419" y="1182"/>
                    <a:pt x="3429" y="1204"/>
                  </a:cubicBezTo>
                  <a:cubicBezTo>
                    <a:pt x="3435" y="1226"/>
                    <a:pt x="3383" y="1249"/>
                    <a:pt x="3389" y="1271"/>
                  </a:cubicBezTo>
                  <a:cubicBezTo>
                    <a:pt x="3395" y="1290"/>
                    <a:pt x="3342" y="1275"/>
                    <a:pt x="3348" y="1294"/>
                  </a:cubicBezTo>
                  <a:lnTo>
                    <a:pt x="3043" y="1422"/>
                  </a:lnTo>
                  <a:cubicBezTo>
                    <a:pt x="3053" y="1448"/>
                    <a:pt x="3064" y="1474"/>
                    <a:pt x="3074" y="1500"/>
                  </a:cubicBezTo>
                  <a:cubicBezTo>
                    <a:pt x="3089" y="1522"/>
                    <a:pt x="3103" y="1544"/>
                    <a:pt x="3118" y="1567"/>
                  </a:cubicBezTo>
                  <a:cubicBezTo>
                    <a:pt x="3135" y="1587"/>
                    <a:pt x="3151" y="1607"/>
                    <a:pt x="3168" y="1627"/>
                  </a:cubicBezTo>
                  <a:lnTo>
                    <a:pt x="3225" y="1669"/>
                  </a:lnTo>
                  <a:cubicBezTo>
                    <a:pt x="3244" y="1683"/>
                    <a:pt x="3262" y="1697"/>
                    <a:pt x="3281" y="1711"/>
                  </a:cubicBezTo>
                  <a:lnTo>
                    <a:pt x="3350" y="1741"/>
                  </a:lnTo>
                  <a:lnTo>
                    <a:pt x="3413" y="1771"/>
                  </a:lnTo>
                  <a:cubicBezTo>
                    <a:pt x="3438" y="1779"/>
                    <a:pt x="3463" y="1788"/>
                    <a:pt x="3488" y="1796"/>
                  </a:cubicBezTo>
                  <a:lnTo>
                    <a:pt x="3626" y="1850"/>
                  </a:lnTo>
                  <a:lnTo>
                    <a:pt x="3764" y="1903"/>
                  </a:lnTo>
                  <a:cubicBezTo>
                    <a:pt x="3785" y="1915"/>
                    <a:pt x="3806" y="1928"/>
                    <a:pt x="3827" y="1940"/>
                  </a:cubicBezTo>
                  <a:lnTo>
                    <a:pt x="3890" y="1988"/>
                  </a:lnTo>
                  <a:cubicBezTo>
                    <a:pt x="3909" y="2005"/>
                    <a:pt x="3927" y="2021"/>
                    <a:pt x="3946" y="2037"/>
                  </a:cubicBezTo>
                  <a:lnTo>
                    <a:pt x="4003" y="2091"/>
                  </a:lnTo>
                  <a:cubicBezTo>
                    <a:pt x="3988" y="2278"/>
                    <a:pt x="3974" y="2464"/>
                    <a:pt x="3959" y="2652"/>
                  </a:cubicBezTo>
                  <a:lnTo>
                    <a:pt x="4034" y="2706"/>
                  </a:lnTo>
                  <a:lnTo>
                    <a:pt x="4141" y="2772"/>
                  </a:lnTo>
                  <a:lnTo>
                    <a:pt x="4260" y="2832"/>
                  </a:lnTo>
                  <a:lnTo>
                    <a:pt x="4398" y="2887"/>
                  </a:lnTo>
                  <a:lnTo>
                    <a:pt x="4536" y="2940"/>
                  </a:lnTo>
                  <a:lnTo>
                    <a:pt x="4668" y="2982"/>
                  </a:lnTo>
                  <a:lnTo>
                    <a:pt x="4724" y="3000"/>
                  </a:lnTo>
                  <a:lnTo>
                    <a:pt x="4780" y="3012"/>
                  </a:lnTo>
                  <a:lnTo>
                    <a:pt x="4831" y="3018"/>
                  </a:lnTo>
                  <a:lnTo>
                    <a:pt x="4875" y="3018"/>
                  </a:lnTo>
                  <a:cubicBezTo>
                    <a:pt x="4879" y="3032"/>
                    <a:pt x="4883" y="3047"/>
                    <a:pt x="4887" y="3061"/>
                  </a:cubicBezTo>
                  <a:cubicBezTo>
                    <a:pt x="4897" y="3073"/>
                    <a:pt x="4908" y="3085"/>
                    <a:pt x="4918" y="3097"/>
                  </a:cubicBezTo>
                  <a:cubicBezTo>
                    <a:pt x="4929" y="3103"/>
                    <a:pt x="4939" y="3109"/>
                    <a:pt x="4950" y="3115"/>
                  </a:cubicBezTo>
                  <a:lnTo>
                    <a:pt x="4987" y="3127"/>
                  </a:lnTo>
                  <a:cubicBezTo>
                    <a:pt x="4998" y="3131"/>
                    <a:pt x="5008" y="3135"/>
                    <a:pt x="5019" y="3139"/>
                  </a:cubicBezTo>
                  <a:lnTo>
                    <a:pt x="5063" y="3139"/>
                  </a:lnTo>
                  <a:lnTo>
                    <a:pt x="5107" y="3133"/>
                  </a:lnTo>
                  <a:lnTo>
                    <a:pt x="5157" y="3127"/>
                  </a:lnTo>
                  <a:lnTo>
                    <a:pt x="5245" y="3109"/>
                  </a:lnTo>
                  <a:lnTo>
                    <a:pt x="5345" y="3085"/>
                  </a:lnTo>
                  <a:lnTo>
                    <a:pt x="5383" y="3085"/>
                  </a:lnTo>
                  <a:lnTo>
                    <a:pt x="5427" y="3079"/>
                  </a:lnTo>
                  <a:lnTo>
                    <a:pt x="5464" y="3085"/>
                  </a:lnTo>
                  <a:lnTo>
                    <a:pt x="5502" y="3091"/>
                  </a:lnTo>
                  <a:cubicBezTo>
                    <a:pt x="5521" y="3103"/>
                    <a:pt x="5539" y="3115"/>
                    <a:pt x="5558" y="3127"/>
                  </a:cubicBezTo>
                  <a:cubicBezTo>
                    <a:pt x="5571" y="3137"/>
                    <a:pt x="5583" y="3147"/>
                    <a:pt x="5596" y="3157"/>
                  </a:cubicBezTo>
                  <a:cubicBezTo>
                    <a:pt x="5609" y="3171"/>
                    <a:pt x="5621" y="3185"/>
                    <a:pt x="5634" y="3199"/>
                  </a:cubicBezTo>
                  <a:cubicBezTo>
                    <a:pt x="5644" y="3211"/>
                    <a:pt x="5655" y="3223"/>
                    <a:pt x="5665" y="3235"/>
                  </a:cubicBezTo>
                  <a:cubicBezTo>
                    <a:pt x="5675" y="3247"/>
                    <a:pt x="5686" y="3259"/>
                    <a:pt x="5696" y="3272"/>
                  </a:cubicBezTo>
                  <a:cubicBezTo>
                    <a:pt x="5709" y="3284"/>
                    <a:pt x="5721" y="3296"/>
                    <a:pt x="5734" y="3308"/>
                  </a:cubicBezTo>
                  <a:cubicBezTo>
                    <a:pt x="5742" y="3314"/>
                    <a:pt x="5751" y="3320"/>
                    <a:pt x="5759" y="3326"/>
                  </a:cubicBezTo>
                  <a:cubicBezTo>
                    <a:pt x="5765" y="3330"/>
                    <a:pt x="5772" y="3334"/>
                    <a:pt x="5778" y="3338"/>
                  </a:cubicBezTo>
                  <a:cubicBezTo>
                    <a:pt x="5786" y="3342"/>
                    <a:pt x="5795" y="3346"/>
                    <a:pt x="5803" y="3350"/>
                  </a:cubicBezTo>
                  <a:lnTo>
                    <a:pt x="5834" y="3356"/>
                  </a:lnTo>
                  <a:cubicBezTo>
                    <a:pt x="5868" y="3362"/>
                    <a:pt x="5901" y="3369"/>
                    <a:pt x="5935" y="3375"/>
                  </a:cubicBezTo>
                  <a:lnTo>
                    <a:pt x="6073" y="3410"/>
                  </a:lnTo>
                  <a:lnTo>
                    <a:pt x="6230" y="3446"/>
                  </a:lnTo>
                  <a:lnTo>
                    <a:pt x="6405" y="3489"/>
                  </a:lnTo>
                  <a:lnTo>
                    <a:pt x="6568" y="3519"/>
                  </a:lnTo>
                  <a:lnTo>
                    <a:pt x="6719" y="3543"/>
                  </a:lnTo>
                  <a:lnTo>
                    <a:pt x="6788" y="3549"/>
                  </a:lnTo>
                  <a:lnTo>
                    <a:pt x="6838" y="3555"/>
                  </a:lnTo>
                  <a:lnTo>
                    <a:pt x="6888" y="3549"/>
                  </a:lnTo>
                  <a:cubicBezTo>
                    <a:pt x="6896" y="3545"/>
                    <a:pt x="6905" y="3541"/>
                    <a:pt x="6913" y="3537"/>
                  </a:cubicBezTo>
                  <a:cubicBezTo>
                    <a:pt x="6905" y="3523"/>
                    <a:pt x="6896" y="3509"/>
                    <a:pt x="6888" y="3495"/>
                  </a:cubicBezTo>
                  <a:cubicBezTo>
                    <a:pt x="6878" y="3478"/>
                    <a:pt x="6867" y="3462"/>
                    <a:pt x="6857" y="3446"/>
                  </a:cubicBezTo>
                  <a:cubicBezTo>
                    <a:pt x="6851" y="3430"/>
                    <a:pt x="6844" y="3414"/>
                    <a:pt x="6838" y="3398"/>
                  </a:cubicBezTo>
                  <a:lnTo>
                    <a:pt x="6826" y="3344"/>
                  </a:lnTo>
                  <a:cubicBezTo>
                    <a:pt x="6815" y="3314"/>
                    <a:pt x="6805" y="3284"/>
                    <a:pt x="6794" y="3253"/>
                  </a:cubicBezTo>
                  <a:lnTo>
                    <a:pt x="6788" y="3205"/>
                  </a:lnTo>
                  <a:lnTo>
                    <a:pt x="6788" y="3018"/>
                  </a:lnTo>
                  <a:lnTo>
                    <a:pt x="6788" y="2832"/>
                  </a:lnTo>
                  <a:lnTo>
                    <a:pt x="6995" y="2832"/>
                  </a:lnTo>
                  <a:cubicBezTo>
                    <a:pt x="7008" y="2855"/>
                    <a:pt x="7020" y="2876"/>
                    <a:pt x="7033" y="2898"/>
                  </a:cubicBezTo>
                  <a:cubicBezTo>
                    <a:pt x="7041" y="2912"/>
                    <a:pt x="7050" y="2926"/>
                    <a:pt x="7058" y="2940"/>
                  </a:cubicBezTo>
                  <a:cubicBezTo>
                    <a:pt x="7070" y="2952"/>
                    <a:pt x="7083" y="2964"/>
                    <a:pt x="7095" y="2976"/>
                  </a:cubicBezTo>
                  <a:cubicBezTo>
                    <a:pt x="7106" y="2990"/>
                    <a:pt x="7116" y="3004"/>
                    <a:pt x="7127" y="3018"/>
                  </a:cubicBezTo>
                  <a:cubicBezTo>
                    <a:pt x="7125" y="3050"/>
                    <a:pt x="7122" y="3083"/>
                    <a:pt x="7120" y="3115"/>
                  </a:cubicBezTo>
                  <a:lnTo>
                    <a:pt x="7102" y="3175"/>
                  </a:lnTo>
                  <a:cubicBezTo>
                    <a:pt x="7098" y="3191"/>
                    <a:pt x="7093" y="3207"/>
                    <a:pt x="7089" y="3223"/>
                  </a:cubicBezTo>
                  <a:cubicBezTo>
                    <a:pt x="7085" y="3241"/>
                    <a:pt x="7081" y="3260"/>
                    <a:pt x="7077" y="3278"/>
                  </a:cubicBezTo>
                  <a:lnTo>
                    <a:pt x="7208" y="3314"/>
                  </a:lnTo>
                  <a:lnTo>
                    <a:pt x="7334" y="3350"/>
                  </a:lnTo>
                  <a:cubicBezTo>
                    <a:pt x="7355" y="3356"/>
                    <a:pt x="7375" y="3363"/>
                    <a:pt x="7396" y="3369"/>
                  </a:cubicBezTo>
                  <a:lnTo>
                    <a:pt x="7459" y="3381"/>
                  </a:lnTo>
                  <a:lnTo>
                    <a:pt x="7522" y="3387"/>
                  </a:lnTo>
                  <a:cubicBezTo>
                    <a:pt x="7543" y="3389"/>
                    <a:pt x="7564" y="3390"/>
                    <a:pt x="7585" y="3392"/>
                  </a:cubicBezTo>
                  <a:lnTo>
                    <a:pt x="7591" y="3416"/>
                  </a:lnTo>
                  <a:cubicBezTo>
                    <a:pt x="7595" y="3424"/>
                    <a:pt x="7600" y="3432"/>
                    <a:pt x="7604" y="3440"/>
                  </a:cubicBezTo>
                  <a:lnTo>
                    <a:pt x="7622" y="3458"/>
                  </a:lnTo>
                  <a:cubicBezTo>
                    <a:pt x="7633" y="3464"/>
                    <a:pt x="7643" y="3470"/>
                    <a:pt x="7654" y="3476"/>
                  </a:cubicBezTo>
                  <a:cubicBezTo>
                    <a:pt x="7671" y="3482"/>
                    <a:pt x="7687" y="3489"/>
                    <a:pt x="7704" y="3495"/>
                  </a:cubicBezTo>
                  <a:lnTo>
                    <a:pt x="7748" y="3501"/>
                  </a:lnTo>
                  <a:lnTo>
                    <a:pt x="7798" y="3501"/>
                  </a:lnTo>
                  <a:lnTo>
                    <a:pt x="7836" y="3489"/>
                  </a:lnTo>
                  <a:cubicBezTo>
                    <a:pt x="7851" y="3483"/>
                    <a:pt x="7865" y="3476"/>
                    <a:pt x="7880" y="3470"/>
                  </a:cubicBezTo>
                  <a:cubicBezTo>
                    <a:pt x="7890" y="3464"/>
                    <a:pt x="7901" y="3458"/>
                    <a:pt x="7911" y="3452"/>
                  </a:cubicBezTo>
                  <a:cubicBezTo>
                    <a:pt x="7924" y="3444"/>
                    <a:pt x="7936" y="3436"/>
                    <a:pt x="7949" y="3428"/>
                  </a:cubicBezTo>
                  <a:cubicBezTo>
                    <a:pt x="7959" y="3418"/>
                    <a:pt x="7970" y="3408"/>
                    <a:pt x="7980" y="3398"/>
                  </a:cubicBezTo>
                  <a:cubicBezTo>
                    <a:pt x="7990" y="3388"/>
                    <a:pt x="8001" y="3379"/>
                    <a:pt x="8011" y="3369"/>
                  </a:cubicBezTo>
                  <a:cubicBezTo>
                    <a:pt x="8019" y="3358"/>
                    <a:pt x="8028" y="3348"/>
                    <a:pt x="8036" y="3338"/>
                  </a:cubicBezTo>
                  <a:cubicBezTo>
                    <a:pt x="8053" y="3312"/>
                    <a:pt x="8070" y="3285"/>
                    <a:pt x="8087" y="3259"/>
                  </a:cubicBezTo>
                  <a:cubicBezTo>
                    <a:pt x="8097" y="3235"/>
                    <a:pt x="8108" y="3211"/>
                    <a:pt x="8118" y="3187"/>
                  </a:cubicBezTo>
                  <a:cubicBezTo>
                    <a:pt x="8128" y="3165"/>
                    <a:pt x="8139" y="3143"/>
                    <a:pt x="8149" y="3121"/>
                  </a:cubicBezTo>
                  <a:cubicBezTo>
                    <a:pt x="8155" y="3099"/>
                    <a:pt x="8162" y="3077"/>
                    <a:pt x="8168" y="3055"/>
                  </a:cubicBezTo>
                  <a:cubicBezTo>
                    <a:pt x="8189" y="3033"/>
                    <a:pt x="8210" y="3010"/>
                    <a:pt x="8231" y="2988"/>
                  </a:cubicBezTo>
                  <a:lnTo>
                    <a:pt x="8294" y="2922"/>
                  </a:lnTo>
                  <a:cubicBezTo>
                    <a:pt x="8317" y="2904"/>
                    <a:pt x="8340" y="2887"/>
                    <a:pt x="8363" y="2869"/>
                  </a:cubicBezTo>
                  <a:cubicBezTo>
                    <a:pt x="8386" y="2849"/>
                    <a:pt x="8409" y="2828"/>
                    <a:pt x="8432" y="2808"/>
                  </a:cubicBezTo>
                  <a:lnTo>
                    <a:pt x="8507" y="2760"/>
                  </a:lnTo>
                  <a:lnTo>
                    <a:pt x="8576" y="2712"/>
                  </a:lnTo>
                  <a:lnTo>
                    <a:pt x="8651" y="2670"/>
                  </a:lnTo>
                  <a:cubicBezTo>
                    <a:pt x="8676" y="2656"/>
                    <a:pt x="8701" y="2641"/>
                    <a:pt x="8726" y="2626"/>
                  </a:cubicBezTo>
                  <a:lnTo>
                    <a:pt x="8808" y="2584"/>
                  </a:lnTo>
                  <a:lnTo>
                    <a:pt x="8890" y="2548"/>
                  </a:lnTo>
                  <a:lnTo>
                    <a:pt x="8971" y="2518"/>
                  </a:lnTo>
                  <a:lnTo>
                    <a:pt x="9059" y="2488"/>
                  </a:lnTo>
                  <a:lnTo>
                    <a:pt x="9235" y="2434"/>
                  </a:lnTo>
                  <a:lnTo>
                    <a:pt x="9417" y="2391"/>
                  </a:lnTo>
                  <a:lnTo>
                    <a:pt x="9454" y="2440"/>
                  </a:lnTo>
                  <a:cubicBezTo>
                    <a:pt x="9471" y="2460"/>
                    <a:pt x="9487" y="2480"/>
                    <a:pt x="9504" y="2500"/>
                  </a:cubicBezTo>
                  <a:lnTo>
                    <a:pt x="9573" y="2566"/>
                  </a:lnTo>
                  <a:cubicBezTo>
                    <a:pt x="9596" y="2590"/>
                    <a:pt x="9619" y="2615"/>
                    <a:pt x="9642" y="2639"/>
                  </a:cubicBezTo>
                  <a:cubicBezTo>
                    <a:pt x="9667" y="2660"/>
                    <a:pt x="9693" y="2680"/>
                    <a:pt x="9718" y="2700"/>
                  </a:cubicBezTo>
                  <a:lnTo>
                    <a:pt x="9799" y="2748"/>
                  </a:lnTo>
                  <a:cubicBezTo>
                    <a:pt x="9812" y="2756"/>
                    <a:pt x="9824" y="2764"/>
                    <a:pt x="9837" y="2772"/>
                  </a:cubicBezTo>
                  <a:lnTo>
                    <a:pt x="9875" y="2784"/>
                  </a:lnTo>
                  <a:lnTo>
                    <a:pt x="9918" y="2796"/>
                  </a:lnTo>
                  <a:lnTo>
                    <a:pt x="9956" y="2796"/>
                  </a:lnTo>
                  <a:cubicBezTo>
                    <a:pt x="9971" y="2772"/>
                    <a:pt x="9985" y="2748"/>
                    <a:pt x="10000" y="2724"/>
                  </a:cubicBezTo>
                  <a:cubicBezTo>
                    <a:pt x="9992" y="2766"/>
                    <a:pt x="9983" y="2808"/>
                    <a:pt x="9975" y="2851"/>
                  </a:cubicBezTo>
                  <a:cubicBezTo>
                    <a:pt x="9965" y="2899"/>
                    <a:pt x="9954" y="2946"/>
                    <a:pt x="9944" y="2994"/>
                  </a:cubicBezTo>
                  <a:cubicBezTo>
                    <a:pt x="9940" y="3016"/>
                    <a:pt x="9935" y="3038"/>
                    <a:pt x="9931" y="3061"/>
                  </a:cubicBezTo>
                  <a:cubicBezTo>
                    <a:pt x="9923" y="3081"/>
                    <a:pt x="9914" y="3101"/>
                    <a:pt x="9906" y="3121"/>
                  </a:cubicBezTo>
                  <a:cubicBezTo>
                    <a:pt x="9900" y="3129"/>
                    <a:pt x="9893" y="3137"/>
                    <a:pt x="9887" y="3145"/>
                  </a:cubicBezTo>
                  <a:lnTo>
                    <a:pt x="9875" y="3169"/>
                  </a:lnTo>
                  <a:cubicBezTo>
                    <a:pt x="9869" y="3175"/>
                    <a:pt x="9862" y="3181"/>
                    <a:pt x="9856" y="3187"/>
                  </a:cubicBezTo>
                  <a:cubicBezTo>
                    <a:pt x="9850" y="3193"/>
                    <a:pt x="9843" y="3199"/>
                    <a:pt x="9837" y="3205"/>
                  </a:cubicBezTo>
                  <a:lnTo>
                    <a:pt x="9749" y="3223"/>
                  </a:lnTo>
                  <a:lnTo>
                    <a:pt x="9605" y="3272"/>
                  </a:lnTo>
                  <a:lnTo>
                    <a:pt x="9536" y="3314"/>
                  </a:lnTo>
                  <a:lnTo>
                    <a:pt x="9479" y="3350"/>
                  </a:lnTo>
                  <a:cubicBezTo>
                    <a:pt x="9469" y="3356"/>
                    <a:pt x="9458" y="3362"/>
                    <a:pt x="9448" y="3369"/>
                  </a:cubicBezTo>
                  <a:cubicBezTo>
                    <a:pt x="9444" y="3375"/>
                    <a:pt x="9439" y="3381"/>
                    <a:pt x="9435" y="3387"/>
                  </a:cubicBezTo>
                  <a:cubicBezTo>
                    <a:pt x="9431" y="3395"/>
                    <a:pt x="9427" y="3402"/>
                    <a:pt x="9423" y="3410"/>
                  </a:cubicBezTo>
                  <a:lnTo>
                    <a:pt x="9417" y="3428"/>
                  </a:lnTo>
                  <a:cubicBezTo>
                    <a:pt x="9419" y="3498"/>
                    <a:pt x="9421" y="3569"/>
                    <a:pt x="9423" y="3639"/>
                  </a:cubicBezTo>
                  <a:cubicBezTo>
                    <a:pt x="9421" y="3719"/>
                    <a:pt x="9419" y="3800"/>
                    <a:pt x="9417" y="3880"/>
                  </a:cubicBezTo>
                  <a:cubicBezTo>
                    <a:pt x="9411" y="3900"/>
                    <a:pt x="9404" y="3920"/>
                    <a:pt x="9398" y="3940"/>
                  </a:cubicBezTo>
                  <a:cubicBezTo>
                    <a:pt x="9396" y="3962"/>
                    <a:pt x="9393" y="3984"/>
                    <a:pt x="9391" y="4006"/>
                  </a:cubicBezTo>
                  <a:lnTo>
                    <a:pt x="9379" y="4060"/>
                  </a:lnTo>
                  <a:cubicBezTo>
                    <a:pt x="9375" y="4078"/>
                    <a:pt x="9370" y="4097"/>
                    <a:pt x="9366" y="4115"/>
                  </a:cubicBezTo>
                  <a:cubicBezTo>
                    <a:pt x="9360" y="4131"/>
                    <a:pt x="9354" y="4148"/>
                    <a:pt x="9348" y="4164"/>
                  </a:cubicBezTo>
                  <a:cubicBezTo>
                    <a:pt x="9337" y="4180"/>
                    <a:pt x="9327" y="4196"/>
                    <a:pt x="9316" y="4212"/>
                  </a:cubicBezTo>
                  <a:cubicBezTo>
                    <a:pt x="9306" y="4224"/>
                    <a:pt x="9295" y="4236"/>
                    <a:pt x="9285" y="4248"/>
                  </a:cubicBezTo>
                  <a:cubicBezTo>
                    <a:pt x="9272" y="4258"/>
                    <a:pt x="9260" y="4268"/>
                    <a:pt x="9247" y="4278"/>
                  </a:cubicBezTo>
                  <a:cubicBezTo>
                    <a:pt x="9241" y="4284"/>
                    <a:pt x="9234" y="4290"/>
                    <a:pt x="9228" y="4296"/>
                  </a:cubicBezTo>
                  <a:lnTo>
                    <a:pt x="9184" y="4302"/>
                  </a:lnTo>
                  <a:lnTo>
                    <a:pt x="9141" y="4308"/>
                  </a:lnTo>
                  <a:lnTo>
                    <a:pt x="9090" y="4314"/>
                  </a:lnTo>
                  <a:lnTo>
                    <a:pt x="9040" y="4320"/>
                  </a:lnTo>
                  <a:cubicBezTo>
                    <a:pt x="9025" y="4326"/>
                    <a:pt x="9011" y="4333"/>
                    <a:pt x="8996" y="4339"/>
                  </a:cubicBezTo>
                  <a:cubicBezTo>
                    <a:pt x="8990" y="4341"/>
                    <a:pt x="8983" y="4343"/>
                    <a:pt x="8977" y="4345"/>
                  </a:cubicBezTo>
                  <a:lnTo>
                    <a:pt x="8965" y="4363"/>
                  </a:lnTo>
                  <a:lnTo>
                    <a:pt x="8959" y="4375"/>
                  </a:lnTo>
                  <a:lnTo>
                    <a:pt x="8959" y="4393"/>
                  </a:lnTo>
                  <a:cubicBezTo>
                    <a:pt x="8957" y="4417"/>
                    <a:pt x="8954" y="4440"/>
                    <a:pt x="8952" y="4464"/>
                  </a:cubicBezTo>
                  <a:lnTo>
                    <a:pt x="8952" y="4549"/>
                  </a:lnTo>
                  <a:lnTo>
                    <a:pt x="8940" y="4639"/>
                  </a:lnTo>
                  <a:cubicBezTo>
                    <a:pt x="8936" y="4667"/>
                    <a:pt x="8931" y="4695"/>
                    <a:pt x="8927" y="4723"/>
                  </a:cubicBezTo>
                  <a:cubicBezTo>
                    <a:pt x="8921" y="4751"/>
                    <a:pt x="8914" y="4780"/>
                    <a:pt x="8908" y="4809"/>
                  </a:cubicBezTo>
                  <a:lnTo>
                    <a:pt x="8890" y="4887"/>
                  </a:lnTo>
                  <a:cubicBezTo>
                    <a:pt x="8881" y="4911"/>
                    <a:pt x="8873" y="4934"/>
                    <a:pt x="8864" y="4958"/>
                  </a:cubicBezTo>
                  <a:cubicBezTo>
                    <a:pt x="8854" y="4981"/>
                    <a:pt x="8843" y="5003"/>
                    <a:pt x="8833" y="5025"/>
                  </a:cubicBezTo>
                  <a:lnTo>
                    <a:pt x="8538" y="4536"/>
                  </a:lnTo>
                  <a:cubicBezTo>
                    <a:pt x="8534" y="4544"/>
                    <a:pt x="8530" y="4553"/>
                    <a:pt x="8526" y="4561"/>
                  </a:cubicBezTo>
                  <a:cubicBezTo>
                    <a:pt x="8515" y="4579"/>
                    <a:pt x="8505" y="4597"/>
                    <a:pt x="8494" y="4615"/>
                  </a:cubicBezTo>
                  <a:cubicBezTo>
                    <a:pt x="8484" y="4625"/>
                    <a:pt x="8473" y="4635"/>
                    <a:pt x="8463" y="4645"/>
                  </a:cubicBezTo>
                  <a:cubicBezTo>
                    <a:pt x="8455" y="4653"/>
                    <a:pt x="8446" y="4661"/>
                    <a:pt x="8438" y="4669"/>
                  </a:cubicBezTo>
                  <a:cubicBezTo>
                    <a:pt x="8428" y="4675"/>
                    <a:pt x="8417" y="4681"/>
                    <a:pt x="8407" y="4687"/>
                  </a:cubicBezTo>
                  <a:lnTo>
                    <a:pt x="8375" y="4693"/>
                  </a:lnTo>
                  <a:lnTo>
                    <a:pt x="8338" y="4687"/>
                  </a:lnTo>
                  <a:lnTo>
                    <a:pt x="8312" y="4681"/>
                  </a:lnTo>
                  <a:cubicBezTo>
                    <a:pt x="8304" y="4675"/>
                    <a:pt x="8295" y="4669"/>
                    <a:pt x="8287" y="4663"/>
                  </a:cubicBezTo>
                  <a:cubicBezTo>
                    <a:pt x="8277" y="4657"/>
                    <a:pt x="8266" y="4651"/>
                    <a:pt x="8256" y="4645"/>
                  </a:cubicBezTo>
                  <a:cubicBezTo>
                    <a:pt x="8250" y="4635"/>
                    <a:pt x="8243" y="4625"/>
                    <a:pt x="8237" y="4615"/>
                  </a:cubicBezTo>
                  <a:lnTo>
                    <a:pt x="8225" y="4591"/>
                  </a:lnTo>
                  <a:cubicBezTo>
                    <a:pt x="8219" y="4583"/>
                    <a:pt x="8212" y="4575"/>
                    <a:pt x="8206" y="4567"/>
                  </a:cubicBezTo>
                  <a:lnTo>
                    <a:pt x="8206" y="4536"/>
                  </a:lnTo>
                  <a:lnTo>
                    <a:pt x="8206" y="4500"/>
                  </a:lnTo>
                  <a:cubicBezTo>
                    <a:pt x="8212" y="4488"/>
                    <a:pt x="8219" y="4476"/>
                    <a:pt x="8225" y="4464"/>
                  </a:cubicBezTo>
                  <a:lnTo>
                    <a:pt x="8237" y="4428"/>
                  </a:lnTo>
                  <a:cubicBezTo>
                    <a:pt x="8241" y="4416"/>
                    <a:pt x="8246" y="4405"/>
                    <a:pt x="8250" y="4393"/>
                  </a:cubicBezTo>
                  <a:cubicBezTo>
                    <a:pt x="8267" y="4371"/>
                    <a:pt x="8283" y="4349"/>
                    <a:pt x="8300" y="4326"/>
                  </a:cubicBezTo>
                  <a:cubicBezTo>
                    <a:pt x="8319" y="4304"/>
                    <a:pt x="8337" y="4282"/>
                    <a:pt x="8356" y="4260"/>
                  </a:cubicBezTo>
                  <a:lnTo>
                    <a:pt x="8407" y="4200"/>
                  </a:lnTo>
                  <a:cubicBezTo>
                    <a:pt x="8424" y="4178"/>
                    <a:pt x="8440" y="4156"/>
                    <a:pt x="8457" y="4134"/>
                  </a:cubicBezTo>
                  <a:cubicBezTo>
                    <a:pt x="8461" y="4122"/>
                    <a:pt x="8465" y="4109"/>
                    <a:pt x="8469" y="4097"/>
                  </a:cubicBezTo>
                  <a:cubicBezTo>
                    <a:pt x="8473" y="4087"/>
                    <a:pt x="8478" y="4076"/>
                    <a:pt x="8482" y="4066"/>
                  </a:cubicBezTo>
                  <a:cubicBezTo>
                    <a:pt x="8488" y="4052"/>
                    <a:pt x="8495" y="4038"/>
                    <a:pt x="8501" y="4024"/>
                  </a:cubicBezTo>
                  <a:lnTo>
                    <a:pt x="8501" y="3988"/>
                  </a:lnTo>
                  <a:lnTo>
                    <a:pt x="7748" y="3988"/>
                  </a:lnTo>
                  <a:cubicBezTo>
                    <a:pt x="7740" y="3986"/>
                    <a:pt x="7731" y="3984"/>
                    <a:pt x="7723" y="3982"/>
                  </a:cubicBezTo>
                  <a:cubicBezTo>
                    <a:pt x="7710" y="3976"/>
                    <a:pt x="7698" y="3970"/>
                    <a:pt x="7685" y="3964"/>
                  </a:cubicBezTo>
                  <a:cubicBezTo>
                    <a:pt x="7677" y="3952"/>
                    <a:pt x="7668" y="3940"/>
                    <a:pt x="7660" y="3928"/>
                  </a:cubicBezTo>
                  <a:cubicBezTo>
                    <a:pt x="7652" y="3916"/>
                    <a:pt x="7643" y="3904"/>
                    <a:pt x="7635" y="3892"/>
                  </a:cubicBezTo>
                  <a:cubicBezTo>
                    <a:pt x="7629" y="3876"/>
                    <a:pt x="7622" y="3860"/>
                    <a:pt x="7616" y="3844"/>
                  </a:cubicBezTo>
                  <a:cubicBezTo>
                    <a:pt x="7610" y="3828"/>
                    <a:pt x="7603" y="3812"/>
                    <a:pt x="7597" y="3796"/>
                  </a:cubicBezTo>
                  <a:lnTo>
                    <a:pt x="7591" y="3742"/>
                  </a:lnTo>
                  <a:cubicBezTo>
                    <a:pt x="7589" y="3724"/>
                    <a:pt x="7587" y="3705"/>
                    <a:pt x="7585" y="3687"/>
                  </a:cubicBezTo>
                  <a:lnTo>
                    <a:pt x="7547" y="3687"/>
                  </a:lnTo>
                  <a:lnTo>
                    <a:pt x="7516" y="3681"/>
                  </a:lnTo>
                  <a:lnTo>
                    <a:pt x="7478" y="3675"/>
                  </a:lnTo>
                  <a:cubicBezTo>
                    <a:pt x="7468" y="3671"/>
                    <a:pt x="7457" y="3667"/>
                    <a:pt x="7447" y="3663"/>
                  </a:cubicBezTo>
                  <a:cubicBezTo>
                    <a:pt x="7436" y="3657"/>
                    <a:pt x="7426" y="3651"/>
                    <a:pt x="7415" y="3645"/>
                  </a:cubicBezTo>
                  <a:cubicBezTo>
                    <a:pt x="7409" y="3639"/>
                    <a:pt x="7402" y="3633"/>
                    <a:pt x="7396" y="3627"/>
                  </a:cubicBezTo>
                  <a:lnTo>
                    <a:pt x="7384" y="3597"/>
                  </a:lnTo>
                  <a:lnTo>
                    <a:pt x="7378" y="3573"/>
                  </a:lnTo>
                  <a:lnTo>
                    <a:pt x="7321" y="3573"/>
                  </a:lnTo>
                  <a:lnTo>
                    <a:pt x="7271" y="3573"/>
                  </a:lnTo>
                  <a:lnTo>
                    <a:pt x="7221" y="3573"/>
                  </a:lnTo>
                  <a:lnTo>
                    <a:pt x="7171" y="3573"/>
                  </a:lnTo>
                  <a:lnTo>
                    <a:pt x="7127" y="3579"/>
                  </a:lnTo>
                  <a:lnTo>
                    <a:pt x="7095" y="3585"/>
                  </a:lnTo>
                  <a:lnTo>
                    <a:pt x="7051" y="3603"/>
                  </a:lnTo>
                  <a:cubicBezTo>
                    <a:pt x="7037" y="3611"/>
                    <a:pt x="7022" y="3619"/>
                    <a:pt x="7008" y="3627"/>
                  </a:cubicBezTo>
                  <a:cubicBezTo>
                    <a:pt x="6997" y="3637"/>
                    <a:pt x="6987" y="3647"/>
                    <a:pt x="6976" y="3657"/>
                  </a:cubicBezTo>
                  <a:cubicBezTo>
                    <a:pt x="6964" y="3667"/>
                    <a:pt x="6951" y="3677"/>
                    <a:pt x="6939" y="3687"/>
                  </a:cubicBezTo>
                  <a:cubicBezTo>
                    <a:pt x="6933" y="3700"/>
                    <a:pt x="6926" y="3712"/>
                    <a:pt x="6920" y="3724"/>
                  </a:cubicBezTo>
                  <a:cubicBezTo>
                    <a:pt x="6918" y="3736"/>
                    <a:pt x="6915" y="3748"/>
                    <a:pt x="6913" y="3760"/>
                  </a:cubicBezTo>
                  <a:cubicBezTo>
                    <a:pt x="6917" y="3768"/>
                    <a:pt x="6922" y="3776"/>
                    <a:pt x="6926" y="3784"/>
                  </a:cubicBezTo>
                  <a:cubicBezTo>
                    <a:pt x="6939" y="3794"/>
                    <a:pt x="6951" y="3804"/>
                    <a:pt x="6964" y="3814"/>
                  </a:cubicBezTo>
                  <a:cubicBezTo>
                    <a:pt x="6979" y="3826"/>
                    <a:pt x="6993" y="3838"/>
                    <a:pt x="7008" y="3850"/>
                  </a:cubicBezTo>
                  <a:lnTo>
                    <a:pt x="7070" y="3886"/>
                  </a:lnTo>
                  <a:lnTo>
                    <a:pt x="7133" y="3922"/>
                  </a:lnTo>
                  <a:lnTo>
                    <a:pt x="7196" y="3952"/>
                  </a:lnTo>
                  <a:lnTo>
                    <a:pt x="7252" y="3976"/>
                  </a:lnTo>
                  <a:lnTo>
                    <a:pt x="7290" y="3988"/>
                  </a:lnTo>
                  <a:lnTo>
                    <a:pt x="7208" y="4048"/>
                  </a:lnTo>
                  <a:cubicBezTo>
                    <a:pt x="7177" y="4073"/>
                    <a:pt x="7145" y="4097"/>
                    <a:pt x="7114" y="4122"/>
                  </a:cubicBezTo>
                  <a:cubicBezTo>
                    <a:pt x="7099" y="4134"/>
                    <a:pt x="7085" y="4146"/>
                    <a:pt x="7070" y="4158"/>
                  </a:cubicBezTo>
                  <a:cubicBezTo>
                    <a:pt x="7058" y="4172"/>
                    <a:pt x="7045" y="4186"/>
                    <a:pt x="7033" y="4200"/>
                  </a:cubicBezTo>
                  <a:cubicBezTo>
                    <a:pt x="7029" y="4206"/>
                    <a:pt x="7024" y="4212"/>
                    <a:pt x="7020" y="4218"/>
                  </a:cubicBezTo>
                  <a:lnTo>
                    <a:pt x="7008" y="4236"/>
                  </a:lnTo>
                  <a:cubicBezTo>
                    <a:pt x="7006" y="4244"/>
                    <a:pt x="7003" y="4252"/>
                    <a:pt x="7001" y="4260"/>
                  </a:cubicBezTo>
                  <a:lnTo>
                    <a:pt x="6995" y="4278"/>
                  </a:lnTo>
                  <a:lnTo>
                    <a:pt x="7001" y="4308"/>
                  </a:lnTo>
                  <a:cubicBezTo>
                    <a:pt x="7003" y="4314"/>
                    <a:pt x="7006" y="4320"/>
                    <a:pt x="7008" y="4326"/>
                  </a:cubicBezTo>
                  <a:cubicBezTo>
                    <a:pt x="7014" y="4334"/>
                    <a:pt x="7020" y="4343"/>
                    <a:pt x="7026" y="4351"/>
                  </a:cubicBezTo>
                  <a:cubicBezTo>
                    <a:pt x="7030" y="4359"/>
                    <a:pt x="7035" y="4367"/>
                    <a:pt x="7039" y="4375"/>
                  </a:cubicBezTo>
                  <a:lnTo>
                    <a:pt x="7089" y="4422"/>
                  </a:lnTo>
                  <a:lnTo>
                    <a:pt x="7146" y="4470"/>
                  </a:lnTo>
                  <a:cubicBezTo>
                    <a:pt x="7167" y="4484"/>
                    <a:pt x="7187" y="4498"/>
                    <a:pt x="7208" y="4512"/>
                  </a:cubicBezTo>
                  <a:cubicBezTo>
                    <a:pt x="7231" y="4524"/>
                    <a:pt x="7254" y="4537"/>
                    <a:pt x="7277" y="4549"/>
                  </a:cubicBezTo>
                  <a:lnTo>
                    <a:pt x="7315" y="4561"/>
                  </a:lnTo>
                  <a:lnTo>
                    <a:pt x="7346" y="4567"/>
                  </a:lnTo>
                  <a:lnTo>
                    <a:pt x="7384" y="4573"/>
                  </a:lnTo>
                  <a:lnTo>
                    <a:pt x="7415" y="4579"/>
                  </a:lnTo>
                  <a:cubicBezTo>
                    <a:pt x="7472" y="4788"/>
                    <a:pt x="7528" y="4997"/>
                    <a:pt x="7585" y="5206"/>
                  </a:cubicBezTo>
                  <a:lnTo>
                    <a:pt x="7491" y="5206"/>
                  </a:lnTo>
                  <a:lnTo>
                    <a:pt x="7403" y="5206"/>
                  </a:lnTo>
                  <a:lnTo>
                    <a:pt x="7321" y="5206"/>
                  </a:lnTo>
                  <a:lnTo>
                    <a:pt x="7252" y="5206"/>
                  </a:lnTo>
                  <a:lnTo>
                    <a:pt x="7208" y="5200"/>
                  </a:lnTo>
                  <a:cubicBezTo>
                    <a:pt x="7193" y="5190"/>
                    <a:pt x="7179" y="5179"/>
                    <a:pt x="7164" y="5169"/>
                  </a:cubicBezTo>
                  <a:cubicBezTo>
                    <a:pt x="7154" y="5165"/>
                    <a:pt x="7143" y="5161"/>
                    <a:pt x="7133" y="5157"/>
                  </a:cubicBezTo>
                  <a:cubicBezTo>
                    <a:pt x="7123" y="5153"/>
                    <a:pt x="7112" y="5149"/>
                    <a:pt x="7102" y="5145"/>
                  </a:cubicBezTo>
                  <a:lnTo>
                    <a:pt x="7070" y="5139"/>
                  </a:lnTo>
                  <a:lnTo>
                    <a:pt x="7039" y="5133"/>
                  </a:lnTo>
                  <a:cubicBezTo>
                    <a:pt x="7029" y="5137"/>
                    <a:pt x="7018" y="5141"/>
                    <a:pt x="7008" y="5145"/>
                  </a:cubicBezTo>
                  <a:lnTo>
                    <a:pt x="6957" y="5175"/>
                  </a:lnTo>
                  <a:cubicBezTo>
                    <a:pt x="6936" y="5190"/>
                    <a:pt x="6916" y="5204"/>
                    <a:pt x="6895" y="5218"/>
                  </a:cubicBezTo>
                  <a:lnTo>
                    <a:pt x="6819" y="5266"/>
                  </a:lnTo>
                  <a:lnTo>
                    <a:pt x="6744" y="5326"/>
                  </a:lnTo>
                  <a:lnTo>
                    <a:pt x="6681" y="5374"/>
                  </a:lnTo>
                  <a:cubicBezTo>
                    <a:pt x="6666" y="5386"/>
                    <a:pt x="6652" y="5398"/>
                    <a:pt x="6637" y="5410"/>
                  </a:cubicBezTo>
                  <a:lnTo>
                    <a:pt x="6625" y="5434"/>
                  </a:lnTo>
                  <a:lnTo>
                    <a:pt x="6750" y="5506"/>
                  </a:lnTo>
                  <a:cubicBezTo>
                    <a:pt x="6748" y="5518"/>
                    <a:pt x="6746" y="5531"/>
                    <a:pt x="6744" y="5543"/>
                  </a:cubicBezTo>
                  <a:cubicBezTo>
                    <a:pt x="6738" y="5557"/>
                    <a:pt x="6731" y="5571"/>
                    <a:pt x="6725" y="5585"/>
                  </a:cubicBezTo>
                  <a:cubicBezTo>
                    <a:pt x="6719" y="5595"/>
                    <a:pt x="6712" y="5605"/>
                    <a:pt x="6706" y="5616"/>
                  </a:cubicBezTo>
                  <a:lnTo>
                    <a:pt x="6688" y="5658"/>
                  </a:lnTo>
                  <a:lnTo>
                    <a:pt x="6637" y="5712"/>
                  </a:lnTo>
                  <a:cubicBezTo>
                    <a:pt x="6618" y="5730"/>
                    <a:pt x="6600" y="5748"/>
                    <a:pt x="6581" y="5766"/>
                  </a:cubicBezTo>
                  <a:lnTo>
                    <a:pt x="6518" y="5814"/>
                  </a:lnTo>
                  <a:cubicBezTo>
                    <a:pt x="6493" y="5828"/>
                    <a:pt x="6468" y="5843"/>
                    <a:pt x="6443" y="5857"/>
                  </a:cubicBezTo>
                  <a:lnTo>
                    <a:pt x="6374" y="5893"/>
                  </a:lnTo>
                  <a:cubicBezTo>
                    <a:pt x="6349" y="5905"/>
                    <a:pt x="6324" y="5916"/>
                    <a:pt x="6299" y="5928"/>
                  </a:cubicBezTo>
                  <a:lnTo>
                    <a:pt x="6223" y="5976"/>
                  </a:lnTo>
                  <a:lnTo>
                    <a:pt x="6154" y="6012"/>
                  </a:lnTo>
                  <a:cubicBezTo>
                    <a:pt x="6133" y="6026"/>
                    <a:pt x="6113" y="6041"/>
                    <a:pt x="6092" y="6055"/>
                  </a:cubicBezTo>
                  <a:lnTo>
                    <a:pt x="6035" y="6103"/>
                  </a:lnTo>
                  <a:cubicBezTo>
                    <a:pt x="6025" y="6111"/>
                    <a:pt x="6014" y="6119"/>
                    <a:pt x="6004" y="6127"/>
                  </a:cubicBezTo>
                  <a:cubicBezTo>
                    <a:pt x="5998" y="6135"/>
                    <a:pt x="5991" y="6143"/>
                    <a:pt x="5985" y="6151"/>
                  </a:cubicBezTo>
                  <a:cubicBezTo>
                    <a:pt x="5979" y="6161"/>
                    <a:pt x="5972" y="6171"/>
                    <a:pt x="5966" y="6181"/>
                  </a:cubicBezTo>
                  <a:cubicBezTo>
                    <a:pt x="5960" y="6191"/>
                    <a:pt x="5953" y="6201"/>
                    <a:pt x="5947" y="6211"/>
                  </a:cubicBezTo>
                  <a:cubicBezTo>
                    <a:pt x="5943" y="6223"/>
                    <a:pt x="5939" y="6236"/>
                    <a:pt x="5935" y="6249"/>
                  </a:cubicBezTo>
                  <a:cubicBezTo>
                    <a:pt x="5931" y="6259"/>
                    <a:pt x="5926" y="6269"/>
                    <a:pt x="5922" y="6279"/>
                  </a:cubicBezTo>
                  <a:lnTo>
                    <a:pt x="5916" y="6321"/>
                  </a:lnTo>
                  <a:lnTo>
                    <a:pt x="5916" y="6363"/>
                  </a:lnTo>
                  <a:lnTo>
                    <a:pt x="5859" y="6381"/>
                  </a:lnTo>
                  <a:lnTo>
                    <a:pt x="5809" y="6399"/>
                  </a:lnTo>
                  <a:cubicBezTo>
                    <a:pt x="5794" y="6407"/>
                    <a:pt x="5780" y="6414"/>
                    <a:pt x="5765" y="6422"/>
                  </a:cubicBezTo>
                  <a:cubicBezTo>
                    <a:pt x="5750" y="6430"/>
                    <a:pt x="5736" y="6438"/>
                    <a:pt x="5721" y="6446"/>
                  </a:cubicBezTo>
                  <a:cubicBezTo>
                    <a:pt x="5692" y="6466"/>
                    <a:pt x="5663" y="6487"/>
                    <a:pt x="5634" y="6507"/>
                  </a:cubicBezTo>
                  <a:cubicBezTo>
                    <a:pt x="5609" y="6531"/>
                    <a:pt x="5583" y="6555"/>
                    <a:pt x="5558" y="6579"/>
                  </a:cubicBezTo>
                  <a:lnTo>
                    <a:pt x="5420" y="6742"/>
                  </a:lnTo>
                  <a:cubicBezTo>
                    <a:pt x="5376" y="6800"/>
                    <a:pt x="5333" y="6858"/>
                    <a:pt x="5289" y="6916"/>
                  </a:cubicBezTo>
                  <a:cubicBezTo>
                    <a:pt x="5266" y="6946"/>
                    <a:pt x="5243" y="6977"/>
                    <a:pt x="5220" y="7007"/>
                  </a:cubicBezTo>
                  <a:lnTo>
                    <a:pt x="5151" y="7085"/>
                  </a:lnTo>
                  <a:cubicBezTo>
                    <a:pt x="5126" y="7110"/>
                    <a:pt x="5100" y="7134"/>
                    <a:pt x="5075" y="7158"/>
                  </a:cubicBezTo>
                  <a:lnTo>
                    <a:pt x="4994" y="7224"/>
                  </a:lnTo>
                  <a:cubicBezTo>
                    <a:pt x="4977" y="7234"/>
                    <a:pt x="4961" y="7244"/>
                    <a:pt x="4944" y="7254"/>
                  </a:cubicBezTo>
                  <a:lnTo>
                    <a:pt x="4893" y="7278"/>
                  </a:lnTo>
                  <a:cubicBezTo>
                    <a:pt x="4878" y="7286"/>
                    <a:pt x="4864" y="7294"/>
                    <a:pt x="4849" y="7302"/>
                  </a:cubicBezTo>
                  <a:cubicBezTo>
                    <a:pt x="4830" y="7310"/>
                    <a:pt x="4812" y="7319"/>
                    <a:pt x="4793" y="7327"/>
                  </a:cubicBezTo>
                  <a:lnTo>
                    <a:pt x="4730" y="7345"/>
                  </a:lnTo>
                  <a:lnTo>
                    <a:pt x="4674" y="7357"/>
                  </a:lnTo>
                  <a:lnTo>
                    <a:pt x="4605" y="7363"/>
                  </a:lnTo>
                  <a:lnTo>
                    <a:pt x="4536" y="7363"/>
                  </a:lnTo>
                  <a:lnTo>
                    <a:pt x="4536" y="7416"/>
                  </a:lnTo>
                  <a:lnTo>
                    <a:pt x="4536" y="7470"/>
                  </a:lnTo>
                  <a:lnTo>
                    <a:pt x="4536" y="7512"/>
                  </a:lnTo>
                  <a:lnTo>
                    <a:pt x="4536" y="7549"/>
                  </a:lnTo>
                  <a:lnTo>
                    <a:pt x="4536" y="7615"/>
                  </a:lnTo>
                  <a:lnTo>
                    <a:pt x="4536" y="7718"/>
                  </a:lnTo>
                  <a:lnTo>
                    <a:pt x="4536" y="7827"/>
                  </a:lnTo>
                  <a:cubicBezTo>
                    <a:pt x="4540" y="7865"/>
                    <a:pt x="4544" y="7902"/>
                    <a:pt x="4548" y="7940"/>
                  </a:cubicBezTo>
                  <a:cubicBezTo>
                    <a:pt x="4552" y="7961"/>
                    <a:pt x="4557" y="7981"/>
                    <a:pt x="4561" y="8001"/>
                  </a:cubicBezTo>
                  <a:lnTo>
                    <a:pt x="4573" y="8055"/>
                  </a:lnTo>
                  <a:cubicBezTo>
                    <a:pt x="4577" y="8071"/>
                    <a:pt x="4582" y="8087"/>
                    <a:pt x="4586" y="8103"/>
                  </a:cubicBezTo>
                  <a:cubicBezTo>
                    <a:pt x="4594" y="8117"/>
                    <a:pt x="4603" y="8131"/>
                    <a:pt x="4611" y="8145"/>
                  </a:cubicBezTo>
                  <a:cubicBezTo>
                    <a:pt x="4619" y="8159"/>
                    <a:pt x="4628" y="8174"/>
                    <a:pt x="4636" y="8188"/>
                  </a:cubicBezTo>
                  <a:cubicBezTo>
                    <a:pt x="4647" y="8198"/>
                    <a:pt x="4657" y="8208"/>
                    <a:pt x="4668" y="8218"/>
                  </a:cubicBezTo>
                  <a:cubicBezTo>
                    <a:pt x="4680" y="8226"/>
                    <a:pt x="4693" y="8234"/>
                    <a:pt x="4705" y="8242"/>
                  </a:cubicBezTo>
                  <a:lnTo>
                    <a:pt x="4749" y="8254"/>
                  </a:lnTo>
                  <a:cubicBezTo>
                    <a:pt x="4736" y="8286"/>
                    <a:pt x="4724" y="8318"/>
                    <a:pt x="4711" y="8350"/>
                  </a:cubicBezTo>
                  <a:cubicBezTo>
                    <a:pt x="4697" y="8379"/>
                    <a:pt x="4682" y="8407"/>
                    <a:pt x="4668" y="8435"/>
                  </a:cubicBezTo>
                  <a:lnTo>
                    <a:pt x="4617" y="8513"/>
                  </a:lnTo>
                  <a:cubicBezTo>
                    <a:pt x="4602" y="8537"/>
                    <a:pt x="4588" y="8561"/>
                    <a:pt x="4573" y="8585"/>
                  </a:cubicBezTo>
                  <a:cubicBezTo>
                    <a:pt x="4556" y="8614"/>
                    <a:pt x="4540" y="8642"/>
                    <a:pt x="4523" y="8670"/>
                  </a:cubicBezTo>
                  <a:cubicBezTo>
                    <a:pt x="4513" y="8696"/>
                    <a:pt x="4502" y="8722"/>
                    <a:pt x="4492" y="8748"/>
                  </a:cubicBezTo>
                  <a:cubicBezTo>
                    <a:pt x="4486" y="8760"/>
                    <a:pt x="4479" y="8772"/>
                    <a:pt x="4473" y="8784"/>
                  </a:cubicBezTo>
                  <a:cubicBezTo>
                    <a:pt x="4471" y="8798"/>
                    <a:pt x="4469" y="8813"/>
                    <a:pt x="4467" y="8827"/>
                  </a:cubicBezTo>
                  <a:cubicBezTo>
                    <a:pt x="4465" y="8843"/>
                    <a:pt x="4462" y="8859"/>
                    <a:pt x="4460" y="8875"/>
                  </a:cubicBezTo>
                  <a:lnTo>
                    <a:pt x="4454" y="8917"/>
                  </a:lnTo>
                  <a:cubicBezTo>
                    <a:pt x="4456" y="8923"/>
                    <a:pt x="4458" y="8928"/>
                    <a:pt x="4460" y="8934"/>
                  </a:cubicBezTo>
                  <a:cubicBezTo>
                    <a:pt x="4462" y="8938"/>
                    <a:pt x="4465" y="8942"/>
                    <a:pt x="4467" y="8946"/>
                  </a:cubicBezTo>
                  <a:lnTo>
                    <a:pt x="4479" y="8958"/>
                  </a:lnTo>
                  <a:cubicBezTo>
                    <a:pt x="4487" y="8962"/>
                    <a:pt x="4496" y="8966"/>
                    <a:pt x="4504" y="8970"/>
                  </a:cubicBezTo>
                  <a:cubicBezTo>
                    <a:pt x="4517" y="8978"/>
                    <a:pt x="4529" y="8986"/>
                    <a:pt x="4542" y="8994"/>
                  </a:cubicBezTo>
                  <a:lnTo>
                    <a:pt x="4580" y="9000"/>
                  </a:lnTo>
                  <a:lnTo>
                    <a:pt x="4580" y="9218"/>
                  </a:lnTo>
                  <a:cubicBezTo>
                    <a:pt x="4563" y="9246"/>
                    <a:pt x="4546" y="9275"/>
                    <a:pt x="4529" y="9303"/>
                  </a:cubicBezTo>
                  <a:cubicBezTo>
                    <a:pt x="4517" y="9333"/>
                    <a:pt x="4504" y="9363"/>
                    <a:pt x="4492" y="9393"/>
                  </a:cubicBezTo>
                  <a:lnTo>
                    <a:pt x="4460" y="9428"/>
                  </a:lnTo>
                  <a:lnTo>
                    <a:pt x="4429" y="9453"/>
                  </a:lnTo>
                  <a:cubicBezTo>
                    <a:pt x="4421" y="9457"/>
                    <a:pt x="4412" y="9461"/>
                    <a:pt x="4404" y="9465"/>
                  </a:cubicBezTo>
                  <a:cubicBezTo>
                    <a:pt x="4398" y="9467"/>
                    <a:pt x="4391" y="9469"/>
                    <a:pt x="4385" y="9471"/>
                  </a:cubicBezTo>
                  <a:cubicBezTo>
                    <a:pt x="4377" y="9473"/>
                    <a:pt x="4368" y="9475"/>
                    <a:pt x="4360" y="9477"/>
                  </a:cubicBezTo>
                  <a:lnTo>
                    <a:pt x="4329" y="9477"/>
                  </a:lnTo>
                  <a:lnTo>
                    <a:pt x="4329" y="9525"/>
                  </a:lnTo>
                  <a:lnTo>
                    <a:pt x="4335" y="9585"/>
                  </a:lnTo>
                  <a:cubicBezTo>
                    <a:pt x="4339" y="9595"/>
                    <a:pt x="4344" y="9605"/>
                    <a:pt x="4348" y="9615"/>
                  </a:cubicBezTo>
                  <a:lnTo>
                    <a:pt x="4354" y="9639"/>
                  </a:lnTo>
                  <a:cubicBezTo>
                    <a:pt x="4356" y="9645"/>
                    <a:pt x="4358" y="9652"/>
                    <a:pt x="4360" y="9658"/>
                  </a:cubicBezTo>
                  <a:cubicBezTo>
                    <a:pt x="4364" y="9660"/>
                    <a:pt x="4369" y="9662"/>
                    <a:pt x="4373" y="9664"/>
                  </a:cubicBezTo>
                  <a:lnTo>
                    <a:pt x="4210" y="9790"/>
                  </a:lnTo>
                  <a:lnTo>
                    <a:pt x="4072" y="9894"/>
                  </a:lnTo>
                  <a:cubicBezTo>
                    <a:pt x="4051" y="9914"/>
                    <a:pt x="4030" y="9933"/>
                    <a:pt x="4009" y="9953"/>
                  </a:cubicBezTo>
                  <a:lnTo>
                    <a:pt x="3952" y="10019"/>
                  </a:lnTo>
                  <a:cubicBezTo>
                    <a:pt x="3931" y="10045"/>
                    <a:pt x="3911" y="10071"/>
                    <a:pt x="3890" y="10098"/>
                  </a:cubicBezTo>
                  <a:lnTo>
                    <a:pt x="3833" y="10182"/>
                  </a:lnTo>
                  <a:lnTo>
                    <a:pt x="3733" y="10140"/>
                  </a:lnTo>
                  <a:lnTo>
                    <a:pt x="3664" y="10098"/>
                  </a:lnTo>
                  <a:cubicBezTo>
                    <a:pt x="3645" y="10084"/>
                    <a:pt x="3626" y="10069"/>
                    <a:pt x="3607" y="10055"/>
                  </a:cubicBezTo>
                  <a:cubicBezTo>
                    <a:pt x="3592" y="10039"/>
                    <a:pt x="3578" y="10023"/>
                    <a:pt x="3563" y="10007"/>
                  </a:cubicBezTo>
                  <a:cubicBezTo>
                    <a:pt x="3553" y="9987"/>
                    <a:pt x="3542" y="9967"/>
                    <a:pt x="3532" y="9947"/>
                  </a:cubicBezTo>
                  <a:cubicBezTo>
                    <a:pt x="3526" y="9927"/>
                    <a:pt x="3519" y="9908"/>
                    <a:pt x="3513" y="9888"/>
                  </a:cubicBezTo>
                  <a:cubicBezTo>
                    <a:pt x="3503" y="9864"/>
                    <a:pt x="3492" y="9839"/>
                    <a:pt x="3482" y="9814"/>
                  </a:cubicBezTo>
                  <a:cubicBezTo>
                    <a:pt x="3474" y="9790"/>
                    <a:pt x="3465" y="9766"/>
                    <a:pt x="3457" y="9742"/>
                  </a:cubicBezTo>
                  <a:cubicBezTo>
                    <a:pt x="3438" y="9696"/>
                    <a:pt x="3419" y="9649"/>
                    <a:pt x="3400" y="9603"/>
                  </a:cubicBezTo>
                  <a:lnTo>
                    <a:pt x="3325" y="9471"/>
                  </a:lnTo>
                  <a:cubicBezTo>
                    <a:pt x="3296" y="9424"/>
                    <a:pt x="3266" y="9379"/>
                    <a:pt x="3237" y="9333"/>
                  </a:cubicBezTo>
                  <a:cubicBezTo>
                    <a:pt x="3206" y="9285"/>
                    <a:pt x="3174" y="9237"/>
                    <a:pt x="3143" y="9188"/>
                  </a:cubicBezTo>
                  <a:lnTo>
                    <a:pt x="3049" y="9055"/>
                  </a:lnTo>
                  <a:cubicBezTo>
                    <a:pt x="3022" y="9010"/>
                    <a:pt x="2994" y="8967"/>
                    <a:pt x="2967" y="8923"/>
                  </a:cubicBezTo>
                  <a:lnTo>
                    <a:pt x="2892" y="8803"/>
                  </a:lnTo>
                  <a:cubicBezTo>
                    <a:pt x="2871" y="8769"/>
                    <a:pt x="2850" y="8734"/>
                    <a:pt x="2829" y="8700"/>
                  </a:cubicBezTo>
                  <a:cubicBezTo>
                    <a:pt x="2810" y="8662"/>
                    <a:pt x="2792" y="8624"/>
                    <a:pt x="2773" y="8585"/>
                  </a:cubicBezTo>
                  <a:cubicBezTo>
                    <a:pt x="2760" y="8551"/>
                    <a:pt x="2748" y="8517"/>
                    <a:pt x="2735" y="8483"/>
                  </a:cubicBezTo>
                  <a:cubicBezTo>
                    <a:pt x="2723" y="8447"/>
                    <a:pt x="2710" y="8412"/>
                    <a:pt x="2698" y="8375"/>
                  </a:cubicBezTo>
                  <a:cubicBezTo>
                    <a:pt x="2687" y="8338"/>
                    <a:pt x="2677" y="8302"/>
                    <a:pt x="2666" y="8266"/>
                  </a:cubicBezTo>
                  <a:cubicBezTo>
                    <a:pt x="2654" y="8230"/>
                    <a:pt x="2641" y="8194"/>
                    <a:pt x="2629" y="8157"/>
                  </a:cubicBezTo>
                  <a:cubicBezTo>
                    <a:pt x="2618" y="8121"/>
                    <a:pt x="2608" y="8085"/>
                    <a:pt x="2597" y="8049"/>
                  </a:cubicBezTo>
                  <a:cubicBezTo>
                    <a:pt x="2582" y="8009"/>
                    <a:pt x="2568" y="7969"/>
                    <a:pt x="2553" y="7928"/>
                  </a:cubicBezTo>
                  <a:cubicBezTo>
                    <a:pt x="2534" y="7888"/>
                    <a:pt x="2516" y="7849"/>
                    <a:pt x="2497" y="7809"/>
                  </a:cubicBezTo>
                  <a:lnTo>
                    <a:pt x="2359" y="7615"/>
                  </a:lnTo>
                  <a:lnTo>
                    <a:pt x="2208" y="7434"/>
                  </a:lnTo>
                  <a:cubicBezTo>
                    <a:pt x="2185" y="7406"/>
                    <a:pt x="2162" y="7379"/>
                    <a:pt x="2139" y="7351"/>
                  </a:cubicBezTo>
                  <a:cubicBezTo>
                    <a:pt x="2116" y="7319"/>
                    <a:pt x="2093" y="7286"/>
                    <a:pt x="2070" y="7254"/>
                  </a:cubicBezTo>
                  <a:cubicBezTo>
                    <a:pt x="2049" y="7224"/>
                    <a:pt x="2029" y="7194"/>
                    <a:pt x="2008" y="7164"/>
                  </a:cubicBezTo>
                  <a:cubicBezTo>
                    <a:pt x="1991" y="7132"/>
                    <a:pt x="1974" y="7099"/>
                    <a:pt x="1957" y="7067"/>
                  </a:cubicBezTo>
                  <a:cubicBezTo>
                    <a:pt x="1934" y="6989"/>
                    <a:pt x="1911" y="6910"/>
                    <a:pt x="1888" y="6832"/>
                  </a:cubicBezTo>
                  <a:cubicBezTo>
                    <a:pt x="1869" y="6760"/>
                    <a:pt x="1851" y="6688"/>
                    <a:pt x="1832" y="6615"/>
                  </a:cubicBezTo>
                  <a:cubicBezTo>
                    <a:pt x="1815" y="6545"/>
                    <a:pt x="1799" y="6476"/>
                    <a:pt x="1782" y="6405"/>
                  </a:cubicBezTo>
                  <a:cubicBezTo>
                    <a:pt x="1774" y="6335"/>
                    <a:pt x="1765" y="6265"/>
                    <a:pt x="1757" y="6193"/>
                  </a:cubicBezTo>
                  <a:cubicBezTo>
                    <a:pt x="1746" y="6125"/>
                    <a:pt x="1736" y="6057"/>
                    <a:pt x="1725" y="5988"/>
                  </a:cubicBezTo>
                  <a:cubicBezTo>
                    <a:pt x="1721" y="5916"/>
                    <a:pt x="1717" y="5845"/>
                    <a:pt x="1713" y="5772"/>
                  </a:cubicBezTo>
                  <a:cubicBezTo>
                    <a:pt x="1711" y="5698"/>
                    <a:pt x="1708" y="5624"/>
                    <a:pt x="1706" y="5549"/>
                  </a:cubicBezTo>
                  <a:lnTo>
                    <a:pt x="1706" y="5326"/>
                  </a:lnTo>
                  <a:cubicBezTo>
                    <a:pt x="1698" y="5324"/>
                    <a:pt x="1689" y="5322"/>
                    <a:pt x="1681" y="5320"/>
                  </a:cubicBezTo>
                  <a:lnTo>
                    <a:pt x="1650" y="5314"/>
                  </a:lnTo>
                  <a:cubicBezTo>
                    <a:pt x="1642" y="5312"/>
                    <a:pt x="1633" y="5310"/>
                    <a:pt x="1625" y="5308"/>
                  </a:cubicBezTo>
                  <a:cubicBezTo>
                    <a:pt x="1619" y="5300"/>
                    <a:pt x="1612" y="5292"/>
                    <a:pt x="1606" y="5284"/>
                  </a:cubicBezTo>
                  <a:cubicBezTo>
                    <a:pt x="1598" y="5280"/>
                    <a:pt x="1589" y="5276"/>
                    <a:pt x="1581" y="5272"/>
                  </a:cubicBezTo>
                  <a:cubicBezTo>
                    <a:pt x="1577" y="5266"/>
                    <a:pt x="1572" y="5260"/>
                    <a:pt x="1568" y="5254"/>
                  </a:cubicBezTo>
                  <a:lnTo>
                    <a:pt x="1550" y="5230"/>
                  </a:lnTo>
                  <a:cubicBezTo>
                    <a:pt x="1548" y="5222"/>
                    <a:pt x="1545" y="5214"/>
                    <a:pt x="1543" y="5206"/>
                  </a:cubicBezTo>
                  <a:cubicBezTo>
                    <a:pt x="1535" y="5190"/>
                    <a:pt x="1526" y="5173"/>
                    <a:pt x="1518" y="5157"/>
                  </a:cubicBezTo>
                  <a:lnTo>
                    <a:pt x="1506" y="5103"/>
                  </a:lnTo>
                  <a:cubicBezTo>
                    <a:pt x="1504" y="5083"/>
                    <a:pt x="1501" y="5063"/>
                    <a:pt x="1499" y="5043"/>
                  </a:cubicBezTo>
                  <a:lnTo>
                    <a:pt x="1499" y="4989"/>
                  </a:lnTo>
                  <a:cubicBezTo>
                    <a:pt x="1480" y="5001"/>
                    <a:pt x="1462" y="5013"/>
                    <a:pt x="1443" y="5025"/>
                  </a:cubicBezTo>
                  <a:cubicBezTo>
                    <a:pt x="1430" y="5039"/>
                    <a:pt x="1418" y="5053"/>
                    <a:pt x="1405" y="5067"/>
                  </a:cubicBezTo>
                  <a:cubicBezTo>
                    <a:pt x="1390" y="5081"/>
                    <a:pt x="1376" y="5095"/>
                    <a:pt x="1361" y="5109"/>
                  </a:cubicBezTo>
                  <a:cubicBezTo>
                    <a:pt x="1346" y="5125"/>
                    <a:pt x="1332" y="5141"/>
                    <a:pt x="1317" y="5157"/>
                  </a:cubicBezTo>
                  <a:cubicBezTo>
                    <a:pt x="1298" y="5190"/>
                    <a:pt x="1280" y="5222"/>
                    <a:pt x="1261" y="5254"/>
                  </a:cubicBezTo>
                  <a:cubicBezTo>
                    <a:pt x="1242" y="5288"/>
                    <a:pt x="1224" y="5322"/>
                    <a:pt x="1205" y="5356"/>
                  </a:cubicBezTo>
                  <a:cubicBezTo>
                    <a:pt x="1192" y="5370"/>
                    <a:pt x="1180" y="5384"/>
                    <a:pt x="1167" y="5399"/>
                  </a:cubicBezTo>
                  <a:cubicBezTo>
                    <a:pt x="1159" y="5413"/>
                    <a:pt x="1150" y="5426"/>
                    <a:pt x="1142" y="5440"/>
                  </a:cubicBezTo>
                  <a:cubicBezTo>
                    <a:pt x="1129" y="5454"/>
                    <a:pt x="1117" y="5468"/>
                    <a:pt x="1104" y="5482"/>
                  </a:cubicBezTo>
                  <a:cubicBezTo>
                    <a:pt x="1094" y="5492"/>
                    <a:pt x="1083" y="5502"/>
                    <a:pt x="1073" y="5512"/>
                  </a:cubicBezTo>
                  <a:cubicBezTo>
                    <a:pt x="1058" y="5523"/>
                    <a:pt x="1044" y="5533"/>
                    <a:pt x="1029" y="5543"/>
                  </a:cubicBezTo>
                  <a:lnTo>
                    <a:pt x="985" y="5561"/>
                  </a:lnTo>
                  <a:lnTo>
                    <a:pt x="928" y="5573"/>
                  </a:lnTo>
                  <a:lnTo>
                    <a:pt x="872" y="5579"/>
                  </a:lnTo>
                  <a:lnTo>
                    <a:pt x="841" y="5573"/>
                  </a:lnTo>
                  <a:lnTo>
                    <a:pt x="797" y="5561"/>
                  </a:lnTo>
                  <a:lnTo>
                    <a:pt x="753" y="5543"/>
                  </a:lnTo>
                  <a:cubicBezTo>
                    <a:pt x="738" y="5533"/>
                    <a:pt x="724" y="5523"/>
                    <a:pt x="709" y="5512"/>
                  </a:cubicBezTo>
                  <a:cubicBezTo>
                    <a:pt x="692" y="5500"/>
                    <a:pt x="676" y="5488"/>
                    <a:pt x="659" y="5476"/>
                  </a:cubicBezTo>
                  <a:cubicBezTo>
                    <a:pt x="642" y="5464"/>
                    <a:pt x="626" y="5452"/>
                    <a:pt x="609" y="5440"/>
                  </a:cubicBezTo>
                  <a:lnTo>
                    <a:pt x="565" y="5399"/>
                  </a:lnTo>
                  <a:cubicBezTo>
                    <a:pt x="548" y="5383"/>
                    <a:pt x="531" y="5366"/>
                    <a:pt x="514" y="5350"/>
                  </a:cubicBezTo>
                  <a:cubicBezTo>
                    <a:pt x="500" y="5334"/>
                    <a:pt x="485" y="5318"/>
                    <a:pt x="471" y="5302"/>
                  </a:cubicBezTo>
                  <a:cubicBezTo>
                    <a:pt x="458" y="5284"/>
                    <a:pt x="446" y="5266"/>
                    <a:pt x="433" y="5248"/>
                  </a:cubicBezTo>
                  <a:cubicBezTo>
                    <a:pt x="418" y="5230"/>
                    <a:pt x="404" y="5212"/>
                    <a:pt x="389" y="5194"/>
                  </a:cubicBezTo>
                  <a:cubicBezTo>
                    <a:pt x="379" y="5175"/>
                    <a:pt x="368" y="5157"/>
                    <a:pt x="358" y="5139"/>
                  </a:cubicBezTo>
                  <a:cubicBezTo>
                    <a:pt x="347" y="5123"/>
                    <a:pt x="337" y="5107"/>
                    <a:pt x="326" y="5091"/>
                  </a:cubicBezTo>
                  <a:cubicBezTo>
                    <a:pt x="320" y="5075"/>
                    <a:pt x="313" y="5059"/>
                    <a:pt x="307" y="5043"/>
                  </a:cubicBezTo>
                  <a:lnTo>
                    <a:pt x="295" y="4995"/>
                  </a:lnTo>
                  <a:cubicBezTo>
                    <a:pt x="293" y="4979"/>
                    <a:pt x="291" y="4962"/>
                    <a:pt x="289" y="4946"/>
                  </a:cubicBezTo>
                  <a:cubicBezTo>
                    <a:pt x="299" y="4940"/>
                    <a:pt x="310" y="4934"/>
                    <a:pt x="320" y="4928"/>
                  </a:cubicBezTo>
                  <a:cubicBezTo>
                    <a:pt x="345" y="4916"/>
                    <a:pt x="370" y="4905"/>
                    <a:pt x="395" y="4893"/>
                  </a:cubicBezTo>
                  <a:lnTo>
                    <a:pt x="483" y="4857"/>
                  </a:lnTo>
                  <a:lnTo>
                    <a:pt x="533" y="4839"/>
                  </a:lnTo>
                  <a:lnTo>
                    <a:pt x="483" y="4839"/>
                  </a:lnTo>
                  <a:lnTo>
                    <a:pt x="420" y="4833"/>
                  </a:lnTo>
                  <a:lnTo>
                    <a:pt x="370" y="4821"/>
                  </a:lnTo>
                  <a:lnTo>
                    <a:pt x="320" y="4815"/>
                  </a:lnTo>
                  <a:cubicBezTo>
                    <a:pt x="305" y="4809"/>
                    <a:pt x="291" y="4802"/>
                    <a:pt x="276" y="4796"/>
                  </a:cubicBezTo>
                  <a:lnTo>
                    <a:pt x="232" y="4784"/>
                  </a:lnTo>
                  <a:lnTo>
                    <a:pt x="188" y="4766"/>
                  </a:lnTo>
                  <a:lnTo>
                    <a:pt x="157" y="4741"/>
                  </a:lnTo>
                  <a:cubicBezTo>
                    <a:pt x="149" y="4733"/>
                    <a:pt x="140" y="4725"/>
                    <a:pt x="132" y="4717"/>
                  </a:cubicBezTo>
                  <a:cubicBezTo>
                    <a:pt x="121" y="4709"/>
                    <a:pt x="111" y="4701"/>
                    <a:pt x="100" y="4693"/>
                  </a:cubicBezTo>
                  <a:cubicBezTo>
                    <a:pt x="92" y="4683"/>
                    <a:pt x="83" y="4673"/>
                    <a:pt x="75" y="4663"/>
                  </a:cubicBezTo>
                  <a:cubicBezTo>
                    <a:pt x="67" y="4655"/>
                    <a:pt x="58" y="4647"/>
                    <a:pt x="50" y="4639"/>
                  </a:cubicBezTo>
                  <a:cubicBezTo>
                    <a:pt x="40" y="4615"/>
                    <a:pt x="29" y="4591"/>
                    <a:pt x="19" y="4567"/>
                  </a:cubicBezTo>
                  <a:cubicBezTo>
                    <a:pt x="13" y="4545"/>
                    <a:pt x="6" y="4522"/>
                    <a:pt x="0" y="4500"/>
                  </a:cubicBezTo>
                  <a:lnTo>
                    <a:pt x="63" y="4452"/>
                  </a:lnTo>
                  <a:lnTo>
                    <a:pt x="132" y="4416"/>
                  </a:lnTo>
                  <a:cubicBezTo>
                    <a:pt x="155" y="4406"/>
                    <a:pt x="178" y="4397"/>
                    <a:pt x="201" y="4387"/>
                  </a:cubicBezTo>
                  <a:lnTo>
                    <a:pt x="276" y="4363"/>
                  </a:lnTo>
                  <a:lnTo>
                    <a:pt x="420" y="4333"/>
                  </a:lnTo>
                  <a:lnTo>
                    <a:pt x="565" y="4308"/>
                  </a:lnTo>
                  <a:lnTo>
                    <a:pt x="640" y="4296"/>
                  </a:lnTo>
                  <a:lnTo>
                    <a:pt x="709" y="4272"/>
                  </a:lnTo>
                  <a:lnTo>
                    <a:pt x="772" y="4254"/>
                  </a:lnTo>
                  <a:lnTo>
                    <a:pt x="834" y="4224"/>
                  </a:lnTo>
                  <a:lnTo>
                    <a:pt x="891" y="4194"/>
                  </a:lnTo>
                  <a:cubicBezTo>
                    <a:pt x="910" y="4178"/>
                    <a:pt x="928" y="4162"/>
                    <a:pt x="947" y="4146"/>
                  </a:cubicBezTo>
                  <a:cubicBezTo>
                    <a:pt x="964" y="4128"/>
                    <a:pt x="980" y="4109"/>
                    <a:pt x="997" y="4091"/>
                  </a:cubicBezTo>
                  <a:cubicBezTo>
                    <a:pt x="1010" y="4068"/>
                    <a:pt x="1022" y="4046"/>
                    <a:pt x="1035" y="4024"/>
                  </a:cubicBezTo>
                  <a:cubicBezTo>
                    <a:pt x="1027" y="4020"/>
                    <a:pt x="1018" y="4016"/>
                    <a:pt x="1010" y="4012"/>
                  </a:cubicBezTo>
                  <a:cubicBezTo>
                    <a:pt x="1002" y="4006"/>
                    <a:pt x="993" y="4000"/>
                    <a:pt x="985" y="3994"/>
                  </a:cubicBezTo>
                  <a:cubicBezTo>
                    <a:pt x="972" y="3986"/>
                    <a:pt x="960" y="3978"/>
                    <a:pt x="947" y="3970"/>
                  </a:cubicBezTo>
                  <a:cubicBezTo>
                    <a:pt x="935" y="3958"/>
                    <a:pt x="922" y="3946"/>
                    <a:pt x="910" y="3934"/>
                  </a:cubicBezTo>
                  <a:lnTo>
                    <a:pt x="822" y="3862"/>
                  </a:lnTo>
                  <a:cubicBezTo>
                    <a:pt x="795" y="3834"/>
                    <a:pt x="767" y="3806"/>
                    <a:pt x="740" y="3778"/>
                  </a:cubicBezTo>
                  <a:cubicBezTo>
                    <a:pt x="715" y="3748"/>
                    <a:pt x="690" y="3717"/>
                    <a:pt x="665" y="3687"/>
                  </a:cubicBezTo>
                  <a:lnTo>
                    <a:pt x="596" y="3591"/>
                  </a:lnTo>
                  <a:cubicBezTo>
                    <a:pt x="590" y="3577"/>
                    <a:pt x="583" y="3563"/>
                    <a:pt x="577" y="3549"/>
                  </a:cubicBezTo>
                  <a:cubicBezTo>
                    <a:pt x="571" y="3535"/>
                    <a:pt x="564" y="3521"/>
                    <a:pt x="558" y="3507"/>
                  </a:cubicBezTo>
                  <a:cubicBezTo>
                    <a:pt x="552" y="3493"/>
                    <a:pt x="546" y="3478"/>
                    <a:pt x="540" y="3464"/>
                  </a:cubicBezTo>
                  <a:cubicBezTo>
                    <a:pt x="538" y="3452"/>
                    <a:pt x="535" y="3440"/>
                    <a:pt x="533" y="3428"/>
                  </a:cubicBezTo>
                  <a:cubicBezTo>
                    <a:pt x="525" y="3426"/>
                    <a:pt x="516" y="3424"/>
                    <a:pt x="508" y="3422"/>
                  </a:cubicBezTo>
                  <a:cubicBezTo>
                    <a:pt x="500" y="3420"/>
                    <a:pt x="491" y="3418"/>
                    <a:pt x="483" y="3416"/>
                  </a:cubicBezTo>
                  <a:cubicBezTo>
                    <a:pt x="475" y="3412"/>
                    <a:pt x="466" y="3408"/>
                    <a:pt x="458" y="3404"/>
                  </a:cubicBezTo>
                  <a:cubicBezTo>
                    <a:pt x="452" y="3396"/>
                    <a:pt x="445" y="3389"/>
                    <a:pt x="439" y="3381"/>
                  </a:cubicBezTo>
                  <a:lnTo>
                    <a:pt x="402" y="3338"/>
                  </a:lnTo>
                  <a:cubicBezTo>
                    <a:pt x="391" y="3318"/>
                    <a:pt x="381" y="3298"/>
                    <a:pt x="370" y="3278"/>
                  </a:cubicBezTo>
                  <a:lnTo>
                    <a:pt x="370" y="3133"/>
                  </a:lnTo>
                  <a:lnTo>
                    <a:pt x="458" y="3127"/>
                  </a:lnTo>
                  <a:lnTo>
                    <a:pt x="540" y="3121"/>
                  </a:lnTo>
                  <a:lnTo>
                    <a:pt x="615" y="3109"/>
                  </a:lnTo>
                  <a:lnTo>
                    <a:pt x="684" y="3085"/>
                  </a:lnTo>
                  <a:lnTo>
                    <a:pt x="747" y="3067"/>
                  </a:lnTo>
                  <a:cubicBezTo>
                    <a:pt x="768" y="3057"/>
                    <a:pt x="788" y="3046"/>
                    <a:pt x="809" y="3036"/>
                  </a:cubicBezTo>
                  <a:lnTo>
                    <a:pt x="866" y="3006"/>
                  </a:lnTo>
                  <a:cubicBezTo>
                    <a:pt x="885" y="2994"/>
                    <a:pt x="903" y="2982"/>
                    <a:pt x="922" y="2970"/>
                  </a:cubicBezTo>
                  <a:cubicBezTo>
                    <a:pt x="937" y="2956"/>
                    <a:pt x="951" y="2942"/>
                    <a:pt x="966" y="2928"/>
                  </a:cubicBezTo>
                  <a:lnTo>
                    <a:pt x="1016" y="2887"/>
                  </a:lnTo>
                  <a:cubicBezTo>
                    <a:pt x="1031" y="2873"/>
                    <a:pt x="1045" y="2859"/>
                    <a:pt x="1060" y="2845"/>
                  </a:cubicBezTo>
                  <a:cubicBezTo>
                    <a:pt x="1073" y="2828"/>
                    <a:pt x="1085" y="2812"/>
                    <a:pt x="1098" y="2796"/>
                  </a:cubicBezTo>
                  <a:lnTo>
                    <a:pt x="1167" y="2700"/>
                  </a:lnTo>
                  <a:cubicBezTo>
                    <a:pt x="1190" y="2664"/>
                    <a:pt x="1213" y="2626"/>
                    <a:pt x="1236" y="2590"/>
                  </a:cubicBezTo>
                  <a:cubicBezTo>
                    <a:pt x="1276" y="2518"/>
                    <a:pt x="1315" y="2446"/>
                    <a:pt x="1355" y="2374"/>
                  </a:cubicBezTo>
                  <a:cubicBezTo>
                    <a:pt x="1395" y="2302"/>
                    <a:pt x="1434" y="2230"/>
                    <a:pt x="1474" y="2157"/>
                  </a:cubicBezTo>
                  <a:lnTo>
                    <a:pt x="1543" y="2061"/>
                  </a:lnTo>
                  <a:cubicBezTo>
                    <a:pt x="1566" y="2033"/>
                    <a:pt x="1589" y="2004"/>
                    <a:pt x="1612" y="1976"/>
                  </a:cubicBezTo>
                  <a:cubicBezTo>
                    <a:pt x="1625" y="1960"/>
                    <a:pt x="1637" y="1944"/>
                    <a:pt x="1650" y="1927"/>
                  </a:cubicBezTo>
                  <a:cubicBezTo>
                    <a:pt x="1665" y="1915"/>
                    <a:pt x="1679" y="1903"/>
                    <a:pt x="1694" y="1891"/>
                  </a:cubicBezTo>
                  <a:lnTo>
                    <a:pt x="1738" y="1862"/>
                  </a:lnTo>
                  <a:cubicBezTo>
                    <a:pt x="1755" y="1852"/>
                    <a:pt x="1771" y="1842"/>
                    <a:pt x="1788" y="1832"/>
                  </a:cubicBezTo>
                  <a:cubicBezTo>
                    <a:pt x="1775" y="1808"/>
                    <a:pt x="1763" y="1784"/>
                    <a:pt x="1750" y="1759"/>
                  </a:cubicBezTo>
                  <a:cubicBezTo>
                    <a:pt x="1740" y="1737"/>
                    <a:pt x="1729" y="1715"/>
                    <a:pt x="1719" y="1693"/>
                  </a:cubicBezTo>
                  <a:lnTo>
                    <a:pt x="1713" y="1663"/>
                  </a:lnTo>
                  <a:cubicBezTo>
                    <a:pt x="1711" y="1653"/>
                    <a:pt x="1708" y="1643"/>
                    <a:pt x="1706" y="1633"/>
                  </a:cubicBezTo>
                  <a:lnTo>
                    <a:pt x="1706" y="1597"/>
                  </a:lnTo>
                  <a:lnTo>
                    <a:pt x="1706" y="1567"/>
                  </a:lnTo>
                  <a:cubicBezTo>
                    <a:pt x="1708" y="1556"/>
                    <a:pt x="1711" y="1546"/>
                    <a:pt x="1713" y="1536"/>
                  </a:cubicBezTo>
                  <a:lnTo>
                    <a:pt x="1719" y="1506"/>
                  </a:lnTo>
                  <a:lnTo>
                    <a:pt x="1731" y="1482"/>
                  </a:lnTo>
                  <a:cubicBezTo>
                    <a:pt x="1740" y="1474"/>
                    <a:pt x="1748" y="1466"/>
                    <a:pt x="1757" y="1458"/>
                  </a:cubicBezTo>
                  <a:lnTo>
                    <a:pt x="1775" y="1440"/>
                  </a:lnTo>
                  <a:cubicBezTo>
                    <a:pt x="1784" y="1434"/>
                    <a:pt x="1792" y="1428"/>
                    <a:pt x="1801" y="1422"/>
                  </a:cubicBezTo>
                  <a:cubicBezTo>
                    <a:pt x="1813" y="1416"/>
                    <a:pt x="1826" y="1410"/>
                    <a:pt x="1838" y="1404"/>
                  </a:cubicBezTo>
                  <a:cubicBezTo>
                    <a:pt x="1849" y="1398"/>
                    <a:pt x="1859" y="1392"/>
                    <a:pt x="1870" y="1386"/>
                  </a:cubicBezTo>
                  <a:cubicBezTo>
                    <a:pt x="1843" y="1356"/>
                    <a:pt x="1815" y="1326"/>
                    <a:pt x="1788" y="1296"/>
                  </a:cubicBezTo>
                  <a:cubicBezTo>
                    <a:pt x="1766" y="1272"/>
                    <a:pt x="1710" y="1248"/>
                    <a:pt x="1688" y="1224"/>
                  </a:cubicBezTo>
                  <a:lnTo>
                    <a:pt x="1550" y="1102"/>
                  </a:lnTo>
                  <a:lnTo>
                    <a:pt x="1487" y="1042"/>
                  </a:lnTo>
                  <a:cubicBezTo>
                    <a:pt x="1452" y="1003"/>
                    <a:pt x="1418" y="963"/>
                    <a:pt x="1383" y="924"/>
                  </a:cubicBezTo>
                  <a:cubicBezTo>
                    <a:pt x="1362" y="896"/>
                    <a:pt x="1447" y="848"/>
                    <a:pt x="1426" y="820"/>
                  </a:cubicBezTo>
                  <a:cubicBezTo>
                    <a:pt x="1401" y="786"/>
                    <a:pt x="1537" y="776"/>
                    <a:pt x="1512" y="742"/>
                  </a:cubicBezTo>
                  <a:cubicBezTo>
                    <a:pt x="1520" y="682"/>
                    <a:pt x="1541" y="649"/>
                    <a:pt x="1549" y="589"/>
                  </a:cubicBezTo>
                  <a:cubicBezTo>
                    <a:pt x="1537" y="567"/>
                    <a:pt x="1583" y="546"/>
                    <a:pt x="1571" y="524"/>
                  </a:cubicBezTo>
                  <a:cubicBezTo>
                    <a:pt x="1569" y="496"/>
                    <a:pt x="1588" y="523"/>
                    <a:pt x="1555" y="500"/>
                  </a:cubicBezTo>
                  <a:cubicBezTo>
                    <a:pt x="1522" y="477"/>
                    <a:pt x="1405" y="409"/>
                    <a:pt x="1372" y="387"/>
                  </a:cubicBezTo>
                  <a:cubicBezTo>
                    <a:pt x="1339" y="365"/>
                    <a:pt x="1321" y="311"/>
                    <a:pt x="1341" y="292"/>
                  </a:cubicBezTo>
                  <a:cubicBezTo>
                    <a:pt x="1361" y="273"/>
                    <a:pt x="1455" y="212"/>
                    <a:pt x="1490" y="179"/>
                  </a:cubicBezTo>
                  <a:cubicBezTo>
                    <a:pt x="1509" y="143"/>
                    <a:pt x="1635" y="92"/>
                    <a:pt x="1654" y="56"/>
                  </a:cubicBezTo>
                  <a:cubicBezTo>
                    <a:pt x="1682" y="53"/>
                    <a:pt x="1661" y="3"/>
                    <a:pt x="1689" y="0"/>
                  </a:cubicBezTo>
                  <a:cubicBezTo>
                    <a:pt x="1772" y="16"/>
                    <a:pt x="2087" y="140"/>
                    <a:pt x="2151" y="150"/>
                  </a:cubicBezTo>
                  <a:cubicBezTo>
                    <a:pt x="2170" y="136"/>
                    <a:pt x="2261" y="193"/>
                    <a:pt x="2280" y="179"/>
                  </a:cubicBezTo>
                  <a:cubicBezTo>
                    <a:pt x="2341" y="201"/>
                    <a:pt x="2488" y="283"/>
                    <a:pt x="2537" y="304"/>
                  </a:cubicBezTo>
                </a:path>
              </a:pathLst>
            </a:custGeom>
            <a:solidFill>
              <a:srgbClr val="BC4E21"/>
            </a:solidFill>
            <a:ln w="9525">
              <a:solidFill>
                <a:srgbClr val="FFFFFF"/>
              </a:solidFill>
              <a:round/>
              <a:headEnd/>
              <a:tailEnd/>
            </a:ln>
          </p:spPr>
          <p:txBody>
            <a:bodyPr/>
            <a:lstStyle/>
            <a:p>
              <a:pPr defTabSz="457200"/>
              <a:endParaRPr lang="en-US" baseline="-25000" dirty="0">
                <a:solidFill>
                  <a:prstClr val="black"/>
                </a:solidFill>
              </a:endParaRPr>
            </a:p>
          </p:txBody>
        </p:sp>
        <p:sp>
          <p:nvSpPr>
            <p:cNvPr id="301" name="Freeform 300"/>
            <p:cNvSpPr>
              <a:spLocks/>
            </p:cNvSpPr>
            <p:nvPr>
              <p:custDataLst>
                <p:tags r:id="rId297"/>
              </p:custDataLst>
            </p:nvPr>
          </p:nvSpPr>
          <p:spPr bwMode="auto">
            <a:xfrm>
              <a:off x="4337283" y="2844484"/>
              <a:ext cx="158750" cy="154781"/>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2" name="Freeform 301"/>
            <p:cNvSpPr>
              <a:spLocks/>
            </p:cNvSpPr>
            <p:nvPr>
              <p:custDataLst>
                <p:tags r:id="rId298"/>
              </p:custDataLst>
            </p:nvPr>
          </p:nvSpPr>
          <p:spPr bwMode="auto">
            <a:xfrm>
              <a:off x="5405672" y="2990931"/>
              <a:ext cx="192087" cy="203597"/>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3" name="Freeform 302"/>
            <p:cNvSpPr>
              <a:spLocks/>
            </p:cNvSpPr>
            <p:nvPr>
              <p:custDataLst>
                <p:tags r:id="rId299"/>
              </p:custDataLst>
            </p:nvPr>
          </p:nvSpPr>
          <p:spPr bwMode="auto">
            <a:xfrm>
              <a:off x="5388208" y="2305131"/>
              <a:ext cx="101600" cy="97631"/>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4" name="Freeform 303"/>
            <p:cNvSpPr>
              <a:spLocks/>
            </p:cNvSpPr>
            <p:nvPr>
              <p:custDataLst>
                <p:tags r:id="rId300"/>
              </p:custDataLst>
            </p:nvPr>
          </p:nvSpPr>
          <p:spPr bwMode="auto">
            <a:xfrm>
              <a:off x="5686659" y="2382521"/>
              <a:ext cx="22225" cy="4167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5" name="Freeform 304"/>
            <p:cNvSpPr>
              <a:spLocks/>
            </p:cNvSpPr>
            <p:nvPr>
              <p:custDataLst>
                <p:tags r:id="rId301"/>
              </p:custDataLst>
            </p:nvPr>
          </p:nvSpPr>
          <p:spPr bwMode="auto">
            <a:xfrm>
              <a:off x="4973872" y="1733631"/>
              <a:ext cx="161925" cy="50006"/>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6" name="Freeform 305"/>
            <p:cNvSpPr>
              <a:spLocks/>
            </p:cNvSpPr>
            <p:nvPr>
              <p:custDataLst>
                <p:tags r:id="rId302"/>
              </p:custDataLst>
            </p:nvPr>
          </p:nvSpPr>
          <p:spPr bwMode="auto">
            <a:xfrm>
              <a:off x="5385034" y="2274174"/>
              <a:ext cx="30163" cy="42863"/>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7" name="Freeform 306"/>
            <p:cNvSpPr>
              <a:spLocks/>
            </p:cNvSpPr>
            <p:nvPr>
              <p:custDataLst>
                <p:tags r:id="rId303"/>
              </p:custDataLst>
            </p:nvPr>
          </p:nvSpPr>
          <p:spPr bwMode="auto">
            <a:xfrm>
              <a:off x="5200884" y="3782696"/>
              <a:ext cx="61913" cy="42863"/>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8" name="Freeform 307"/>
            <p:cNvSpPr>
              <a:spLocks/>
            </p:cNvSpPr>
            <p:nvPr>
              <p:custDataLst>
                <p:tags r:id="rId304"/>
              </p:custDataLst>
            </p:nvPr>
          </p:nvSpPr>
          <p:spPr bwMode="auto">
            <a:xfrm>
              <a:off x="4972284" y="1769349"/>
              <a:ext cx="131763" cy="63104"/>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09" name="Freeform 308"/>
            <p:cNvSpPr>
              <a:spLocks/>
            </p:cNvSpPr>
            <p:nvPr>
              <p:custDataLst>
                <p:tags r:id="rId305"/>
              </p:custDataLst>
            </p:nvPr>
          </p:nvSpPr>
          <p:spPr bwMode="auto">
            <a:xfrm>
              <a:off x="4678596" y="1908653"/>
              <a:ext cx="19050" cy="45244"/>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0" name="Freeform 309"/>
            <p:cNvSpPr>
              <a:spLocks/>
            </p:cNvSpPr>
            <p:nvPr>
              <p:custDataLst>
                <p:tags r:id="rId306"/>
              </p:custDataLst>
            </p:nvPr>
          </p:nvSpPr>
          <p:spPr bwMode="auto">
            <a:xfrm>
              <a:off x="5375508" y="3321924"/>
              <a:ext cx="69850" cy="180975"/>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1" name="Freeform 310"/>
            <p:cNvSpPr>
              <a:spLocks/>
            </p:cNvSpPr>
            <p:nvPr>
              <p:custDataLst>
                <p:tags r:id="rId307"/>
              </p:custDataLst>
            </p:nvPr>
          </p:nvSpPr>
          <p:spPr bwMode="auto">
            <a:xfrm>
              <a:off x="4867508" y="2250361"/>
              <a:ext cx="14288" cy="42863"/>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2" name="Freeform 311"/>
            <p:cNvSpPr>
              <a:spLocks/>
            </p:cNvSpPr>
            <p:nvPr>
              <p:custDataLst>
                <p:tags r:id="rId308"/>
              </p:custDataLst>
            </p:nvPr>
          </p:nvSpPr>
          <p:spPr bwMode="auto">
            <a:xfrm>
              <a:off x="5186596" y="3465991"/>
              <a:ext cx="188912" cy="163115"/>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3" name="Freeform 312"/>
            <p:cNvSpPr>
              <a:spLocks/>
            </p:cNvSpPr>
            <p:nvPr>
              <p:custDataLst>
                <p:tags r:id="rId309"/>
              </p:custDataLst>
            </p:nvPr>
          </p:nvSpPr>
          <p:spPr bwMode="auto">
            <a:xfrm>
              <a:off x="5099283" y="3298111"/>
              <a:ext cx="293688" cy="225029"/>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4" name="Freeform 313"/>
            <p:cNvSpPr>
              <a:spLocks/>
            </p:cNvSpPr>
            <p:nvPr>
              <p:custDataLst>
                <p:tags r:id="rId310"/>
              </p:custDataLst>
            </p:nvPr>
          </p:nvSpPr>
          <p:spPr bwMode="auto">
            <a:xfrm>
              <a:off x="4835758" y="3502899"/>
              <a:ext cx="350838" cy="28575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5" name="Freeform 314"/>
            <p:cNvSpPr>
              <a:spLocks/>
            </p:cNvSpPr>
            <p:nvPr>
              <p:custDataLst>
                <p:tags r:id="rId311"/>
              </p:custDataLst>
            </p:nvPr>
          </p:nvSpPr>
          <p:spPr bwMode="auto">
            <a:xfrm>
              <a:off x="4115034" y="2700418"/>
              <a:ext cx="161925" cy="105966"/>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6" name="Freeform 315"/>
            <p:cNvSpPr>
              <a:spLocks/>
            </p:cNvSpPr>
            <p:nvPr>
              <p:custDataLst>
                <p:tags r:id="rId312"/>
              </p:custDataLst>
            </p:nvPr>
          </p:nvSpPr>
          <p:spPr bwMode="auto">
            <a:xfrm>
              <a:off x="5288197" y="3121900"/>
              <a:ext cx="269875" cy="251222"/>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7" name="Freeform 316"/>
            <p:cNvSpPr>
              <a:spLocks/>
            </p:cNvSpPr>
            <p:nvPr>
              <p:custDataLst>
                <p:tags r:id="rId313"/>
              </p:custDataLst>
            </p:nvPr>
          </p:nvSpPr>
          <p:spPr bwMode="auto">
            <a:xfrm>
              <a:off x="7852008" y="2007474"/>
              <a:ext cx="19050" cy="42863"/>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8" name="Freeform 317"/>
            <p:cNvSpPr>
              <a:spLocks/>
            </p:cNvSpPr>
            <p:nvPr>
              <p:custDataLst>
                <p:tags r:id="rId314"/>
              </p:custDataLst>
            </p:nvPr>
          </p:nvSpPr>
          <p:spPr bwMode="auto">
            <a:xfrm>
              <a:off x="7710722" y="2008665"/>
              <a:ext cx="141287" cy="94059"/>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19" name="Freeform 318"/>
            <p:cNvSpPr>
              <a:spLocks/>
            </p:cNvSpPr>
            <p:nvPr>
              <p:custDataLst>
                <p:tags r:id="rId315"/>
              </p:custDataLst>
            </p:nvPr>
          </p:nvSpPr>
          <p:spPr bwMode="auto">
            <a:xfrm>
              <a:off x="7680558" y="2274174"/>
              <a:ext cx="52388" cy="42863"/>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0" name="Freeform 319"/>
            <p:cNvSpPr>
              <a:spLocks/>
            </p:cNvSpPr>
            <p:nvPr>
              <p:custDataLst>
                <p:tags r:id="rId316"/>
              </p:custDataLst>
            </p:nvPr>
          </p:nvSpPr>
          <p:spPr bwMode="auto">
            <a:xfrm>
              <a:off x="7626584" y="2284890"/>
              <a:ext cx="60325" cy="63103"/>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1" name="Freeform 320"/>
            <p:cNvSpPr>
              <a:spLocks/>
            </p:cNvSpPr>
            <p:nvPr>
              <p:custDataLst>
                <p:tags r:id="rId317"/>
              </p:custDataLst>
            </p:nvPr>
          </p:nvSpPr>
          <p:spPr bwMode="auto">
            <a:xfrm>
              <a:off x="7642458" y="2106297"/>
              <a:ext cx="209550" cy="183356"/>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2" name="Freeform 321"/>
            <p:cNvSpPr>
              <a:spLocks/>
            </p:cNvSpPr>
            <p:nvPr>
              <p:custDataLst>
                <p:tags r:id="rId318"/>
              </p:custDataLst>
            </p:nvPr>
          </p:nvSpPr>
          <p:spPr bwMode="auto">
            <a:xfrm>
              <a:off x="5226283" y="1274049"/>
              <a:ext cx="107950" cy="45244"/>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3" name="Freeform 322"/>
            <p:cNvSpPr>
              <a:spLocks/>
            </p:cNvSpPr>
            <p:nvPr>
              <p:custDataLst>
                <p:tags r:id="rId319"/>
              </p:custDataLst>
            </p:nvPr>
          </p:nvSpPr>
          <p:spPr bwMode="auto">
            <a:xfrm>
              <a:off x="5369158" y="1260952"/>
              <a:ext cx="63500" cy="42863"/>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4" name="Freeform 323"/>
            <p:cNvSpPr>
              <a:spLocks/>
            </p:cNvSpPr>
            <p:nvPr>
              <p:custDataLst>
                <p:tags r:id="rId320"/>
              </p:custDataLst>
            </p:nvPr>
          </p:nvSpPr>
          <p:spPr bwMode="auto">
            <a:xfrm>
              <a:off x="5405671" y="1266905"/>
              <a:ext cx="130175" cy="42863"/>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5" name="Freeform 324"/>
            <p:cNvSpPr>
              <a:spLocks/>
            </p:cNvSpPr>
            <p:nvPr>
              <p:custDataLst>
                <p:tags r:id="rId321"/>
              </p:custDataLst>
            </p:nvPr>
          </p:nvSpPr>
          <p:spPr bwMode="auto">
            <a:xfrm>
              <a:off x="5939072" y="1406209"/>
              <a:ext cx="41275" cy="42863"/>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6" name="Freeform 325"/>
            <p:cNvSpPr>
              <a:spLocks/>
            </p:cNvSpPr>
            <p:nvPr>
              <p:custDataLst>
                <p:tags r:id="rId322"/>
              </p:custDataLst>
            </p:nvPr>
          </p:nvSpPr>
          <p:spPr bwMode="auto">
            <a:xfrm>
              <a:off x="5848584" y="1300243"/>
              <a:ext cx="15875" cy="44054"/>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7" name="Freeform 326"/>
            <p:cNvSpPr>
              <a:spLocks/>
            </p:cNvSpPr>
            <p:nvPr>
              <p:custDataLst>
                <p:tags r:id="rId323"/>
              </p:custDataLst>
            </p:nvPr>
          </p:nvSpPr>
          <p:spPr bwMode="auto">
            <a:xfrm>
              <a:off x="5870808" y="1269287"/>
              <a:ext cx="14288" cy="45244"/>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8" name="Freeform 327"/>
            <p:cNvSpPr>
              <a:spLocks/>
            </p:cNvSpPr>
            <p:nvPr>
              <p:custDataLst>
                <p:tags r:id="rId324"/>
              </p:custDataLst>
            </p:nvPr>
          </p:nvSpPr>
          <p:spPr bwMode="auto">
            <a:xfrm>
              <a:off x="6015271" y="1356202"/>
              <a:ext cx="17462" cy="42863"/>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29" name="Freeform 328"/>
            <p:cNvSpPr>
              <a:spLocks/>
            </p:cNvSpPr>
            <p:nvPr>
              <p:custDataLst>
                <p:tags r:id="rId325"/>
              </p:custDataLst>
            </p:nvPr>
          </p:nvSpPr>
          <p:spPr bwMode="auto">
            <a:xfrm>
              <a:off x="6069246" y="1269287"/>
              <a:ext cx="93662" cy="45244"/>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0" name="Freeform 329"/>
            <p:cNvSpPr>
              <a:spLocks/>
            </p:cNvSpPr>
            <p:nvPr>
              <p:custDataLst>
                <p:tags r:id="rId326"/>
              </p:custDataLst>
            </p:nvPr>
          </p:nvSpPr>
          <p:spPr bwMode="auto">
            <a:xfrm>
              <a:off x="6129572" y="1288337"/>
              <a:ext cx="103187" cy="45244"/>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1" name="Freeform 330"/>
            <p:cNvSpPr>
              <a:spLocks/>
            </p:cNvSpPr>
            <p:nvPr>
              <p:custDataLst>
                <p:tags r:id="rId327"/>
              </p:custDataLst>
            </p:nvPr>
          </p:nvSpPr>
          <p:spPr bwMode="auto">
            <a:xfrm>
              <a:off x="6247046" y="1299052"/>
              <a:ext cx="82550" cy="42863"/>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2" name="Freeform 331"/>
            <p:cNvSpPr>
              <a:spLocks/>
            </p:cNvSpPr>
            <p:nvPr>
              <p:custDataLst>
                <p:tags r:id="rId328"/>
              </p:custDataLst>
            </p:nvPr>
          </p:nvSpPr>
          <p:spPr bwMode="auto">
            <a:xfrm>
              <a:off x="6774097" y="1393111"/>
              <a:ext cx="79375" cy="44054"/>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3" name="Freeform 332"/>
            <p:cNvSpPr>
              <a:spLocks/>
            </p:cNvSpPr>
            <p:nvPr>
              <p:custDataLst>
                <p:tags r:id="rId329"/>
              </p:custDataLst>
            </p:nvPr>
          </p:nvSpPr>
          <p:spPr bwMode="auto">
            <a:xfrm>
              <a:off x="6840772" y="1406209"/>
              <a:ext cx="33337" cy="42863"/>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4" name="Freeform 333"/>
            <p:cNvSpPr>
              <a:spLocks/>
            </p:cNvSpPr>
            <p:nvPr>
              <p:custDataLst>
                <p:tags r:id="rId330"/>
              </p:custDataLst>
            </p:nvPr>
          </p:nvSpPr>
          <p:spPr bwMode="auto">
            <a:xfrm>
              <a:off x="6870933" y="1414543"/>
              <a:ext cx="52388" cy="44054"/>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5" name="Freeform 334"/>
            <p:cNvSpPr>
              <a:spLocks/>
            </p:cNvSpPr>
            <p:nvPr>
              <p:custDataLst>
                <p:tags r:id="rId331"/>
              </p:custDataLst>
            </p:nvPr>
          </p:nvSpPr>
          <p:spPr bwMode="auto">
            <a:xfrm>
              <a:off x="6642334" y="1394303"/>
              <a:ext cx="61913" cy="44053"/>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6" name="Freeform 335"/>
            <p:cNvSpPr>
              <a:spLocks/>
            </p:cNvSpPr>
            <p:nvPr>
              <p:custDataLst>
                <p:tags r:id="rId332"/>
              </p:custDataLst>
            </p:nvPr>
          </p:nvSpPr>
          <p:spPr bwMode="auto">
            <a:xfrm>
              <a:off x="6942371" y="1350249"/>
              <a:ext cx="139700" cy="42863"/>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7" name="Freeform 336"/>
            <p:cNvSpPr>
              <a:spLocks/>
            </p:cNvSpPr>
            <p:nvPr>
              <p:custDataLst>
                <p:tags r:id="rId333"/>
              </p:custDataLst>
            </p:nvPr>
          </p:nvSpPr>
          <p:spPr bwMode="auto">
            <a:xfrm>
              <a:off x="7102708" y="1356202"/>
              <a:ext cx="95250" cy="42863"/>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8" name="Freeform 337"/>
            <p:cNvSpPr>
              <a:spLocks/>
            </p:cNvSpPr>
            <p:nvPr>
              <p:custDataLst>
                <p:tags r:id="rId334"/>
              </p:custDataLst>
            </p:nvPr>
          </p:nvSpPr>
          <p:spPr bwMode="auto">
            <a:xfrm>
              <a:off x="7063021" y="1391922"/>
              <a:ext cx="63500" cy="44053"/>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39" name="Freeform 338"/>
            <p:cNvSpPr>
              <a:spLocks/>
            </p:cNvSpPr>
            <p:nvPr>
              <p:custDataLst>
                <p:tags r:id="rId335"/>
              </p:custDataLst>
            </p:nvPr>
          </p:nvSpPr>
          <p:spPr bwMode="auto">
            <a:xfrm>
              <a:off x="7042383" y="1389540"/>
              <a:ext cx="20638" cy="44053"/>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0" name="Line 504"/>
            <p:cNvSpPr>
              <a:spLocks noChangeShapeType="1"/>
            </p:cNvSpPr>
            <p:nvPr>
              <p:custDataLst>
                <p:tags r:id="rId336"/>
              </p:custDataLst>
            </p:nvPr>
          </p:nvSpPr>
          <p:spPr bwMode="auto">
            <a:xfrm flipV="1">
              <a:off x="7043971" y="1388349"/>
              <a:ext cx="0" cy="119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defTabSz="457200"/>
              <a:endParaRPr lang="en-CA" baseline="-25000">
                <a:solidFill>
                  <a:prstClr val="black"/>
                </a:solidFill>
              </a:endParaRPr>
            </a:p>
          </p:txBody>
        </p:sp>
        <p:sp>
          <p:nvSpPr>
            <p:cNvPr id="341" name="Freeform 340"/>
            <p:cNvSpPr>
              <a:spLocks/>
            </p:cNvSpPr>
            <p:nvPr>
              <p:custDataLst>
                <p:tags r:id="rId337"/>
              </p:custDataLst>
            </p:nvPr>
          </p:nvSpPr>
          <p:spPr bwMode="auto">
            <a:xfrm>
              <a:off x="6213709" y="1334771"/>
              <a:ext cx="11113" cy="4167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2" name="Freeform 341"/>
            <p:cNvSpPr>
              <a:spLocks/>
            </p:cNvSpPr>
            <p:nvPr>
              <p:custDataLst>
                <p:tags r:id="rId338"/>
              </p:custDataLst>
            </p:nvPr>
          </p:nvSpPr>
          <p:spPr bwMode="auto">
            <a:xfrm>
              <a:off x="6963009" y="1388349"/>
              <a:ext cx="9525" cy="42863"/>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3" name="Freeform 342"/>
            <p:cNvSpPr>
              <a:spLocks/>
            </p:cNvSpPr>
            <p:nvPr>
              <p:custDataLst>
                <p:tags r:id="rId339"/>
              </p:custDataLst>
            </p:nvPr>
          </p:nvSpPr>
          <p:spPr bwMode="auto">
            <a:xfrm>
              <a:off x="6916972" y="1360965"/>
              <a:ext cx="9525" cy="42863"/>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4" name="Freeform 343"/>
            <p:cNvSpPr>
              <a:spLocks/>
            </p:cNvSpPr>
            <p:nvPr>
              <p:custDataLst>
                <p:tags r:id="rId340"/>
              </p:custDataLst>
            </p:nvPr>
          </p:nvSpPr>
          <p:spPr bwMode="auto">
            <a:xfrm>
              <a:off x="7417033" y="1788399"/>
              <a:ext cx="12700" cy="44054"/>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5" name="Freeform 344"/>
            <p:cNvSpPr>
              <a:spLocks/>
            </p:cNvSpPr>
            <p:nvPr>
              <p:custDataLst>
                <p:tags r:id="rId341"/>
              </p:custDataLst>
            </p:nvPr>
          </p:nvSpPr>
          <p:spPr bwMode="auto">
            <a:xfrm>
              <a:off x="7710721" y="1430022"/>
              <a:ext cx="55562" cy="44053"/>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6" name="Freeform 345"/>
            <p:cNvSpPr>
              <a:spLocks/>
            </p:cNvSpPr>
            <p:nvPr>
              <p:custDataLst>
                <p:tags r:id="rId342"/>
              </p:custDataLst>
            </p:nvPr>
          </p:nvSpPr>
          <p:spPr bwMode="auto">
            <a:xfrm>
              <a:off x="7847247" y="1694340"/>
              <a:ext cx="14287" cy="42863"/>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7" name="Freeform 346"/>
            <p:cNvSpPr>
              <a:spLocks/>
            </p:cNvSpPr>
            <p:nvPr>
              <p:custDataLst>
                <p:tags r:id="rId343"/>
              </p:custDataLst>
            </p:nvPr>
          </p:nvSpPr>
          <p:spPr bwMode="auto">
            <a:xfrm>
              <a:off x="7996471" y="1778874"/>
              <a:ext cx="42862" cy="45244"/>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8" name="Freeform 347"/>
            <p:cNvSpPr>
              <a:spLocks/>
            </p:cNvSpPr>
            <p:nvPr>
              <p:custDataLst>
                <p:tags r:id="rId344"/>
              </p:custDataLst>
            </p:nvPr>
          </p:nvSpPr>
          <p:spPr bwMode="auto">
            <a:xfrm>
              <a:off x="8047271" y="1790780"/>
              <a:ext cx="19050" cy="44054"/>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49" name="Freeform 348"/>
            <p:cNvSpPr>
              <a:spLocks/>
            </p:cNvSpPr>
            <p:nvPr>
              <p:custDataLst>
                <p:tags r:id="rId345"/>
              </p:custDataLst>
            </p:nvPr>
          </p:nvSpPr>
          <p:spPr bwMode="auto">
            <a:xfrm>
              <a:off x="7912333" y="1886030"/>
              <a:ext cx="14288" cy="42863"/>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0" name="Freeform 349"/>
            <p:cNvSpPr>
              <a:spLocks/>
            </p:cNvSpPr>
            <p:nvPr>
              <p:custDataLst>
                <p:tags r:id="rId346"/>
              </p:custDataLst>
            </p:nvPr>
          </p:nvSpPr>
          <p:spPr bwMode="auto">
            <a:xfrm>
              <a:off x="7923447" y="1907462"/>
              <a:ext cx="3175" cy="45244"/>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1" name="Freeform 350"/>
            <p:cNvSpPr>
              <a:spLocks/>
            </p:cNvSpPr>
            <p:nvPr>
              <p:custDataLst>
                <p:tags r:id="rId347"/>
              </p:custDataLst>
            </p:nvPr>
          </p:nvSpPr>
          <p:spPr bwMode="auto">
            <a:xfrm>
              <a:off x="7910747" y="1969375"/>
              <a:ext cx="9525" cy="41672"/>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2" name="Freeform 351"/>
            <p:cNvSpPr>
              <a:spLocks/>
            </p:cNvSpPr>
            <p:nvPr>
              <p:custDataLst>
                <p:tags r:id="rId348"/>
              </p:custDataLst>
            </p:nvPr>
          </p:nvSpPr>
          <p:spPr bwMode="auto">
            <a:xfrm>
              <a:off x="7888521" y="1995568"/>
              <a:ext cx="0" cy="44054"/>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3" name="Freeform 352"/>
            <p:cNvSpPr>
              <a:spLocks/>
            </p:cNvSpPr>
            <p:nvPr>
              <p:custDataLst>
                <p:tags r:id="rId349"/>
              </p:custDataLst>
            </p:nvPr>
          </p:nvSpPr>
          <p:spPr bwMode="auto">
            <a:xfrm>
              <a:off x="7888522" y="1995568"/>
              <a:ext cx="7937" cy="44054"/>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4" name="Freeform 353"/>
            <p:cNvSpPr>
              <a:spLocks/>
            </p:cNvSpPr>
            <p:nvPr>
              <p:custDataLst>
                <p:tags r:id="rId350"/>
              </p:custDataLst>
            </p:nvPr>
          </p:nvSpPr>
          <p:spPr bwMode="auto">
            <a:xfrm>
              <a:off x="7642459" y="1686006"/>
              <a:ext cx="17463" cy="45244"/>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5" name="Freeform 354"/>
            <p:cNvSpPr>
              <a:spLocks/>
            </p:cNvSpPr>
            <p:nvPr>
              <p:custDataLst>
                <p:tags r:id="rId351"/>
              </p:custDataLst>
            </p:nvPr>
          </p:nvSpPr>
          <p:spPr bwMode="auto">
            <a:xfrm>
              <a:off x="4957997" y="1790780"/>
              <a:ext cx="47625" cy="44054"/>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6" name="Freeform 355"/>
            <p:cNvSpPr>
              <a:spLocks/>
            </p:cNvSpPr>
            <p:nvPr>
              <p:custDataLst>
                <p:tags r:id="rId352"/>
              </p:custDataLst>
            </p:nvPr>
          </p:nvSpPr>
          <p:spPr bwMode="auto">
            <a:xfrm>
              <a:off x="5407259" y="1484790"/>
              <a:ext cx="42863" cy="44053"/>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7" name="Freeform 356"/>
            <p:cNvSpPr>
              <a:spLocks/>
            </p:cNvSpPr>
            <p:nvPr>
              <p:custDataLst>
                <p:tags r:id="rId353"/>
              </p:custDataLst>
            </p:nvPr>
          </p:nvSpPr>
          <p:spPr bwMode="auto">
            <a:xfrm>
              <a:off x="5442183" y="1344296"/>
              <a:ext cx="228600" cy="122634"/>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8" name="Freeform 357"/>
            <p:cNvSpPr>
              <a:spLocks/>
            </p:cNvSpPr>
            <p:nvPr>
              <p:custDataLst>
                <p:tags r:id="rId354"/>
              </p:custDataLst>
            </p:nvPr>
          </p:nvSpPr>
          <p:spPr bwMode="auto">
            <a:xfrm>
              <a:off x="5234221" y="1577659"/>
              <a:ext cx="31750" cy="4167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59" name="Freeform 358"/>
            <p:cNvSpPr>
              <a:spLocks/>
            </p:cNvSpPr>
            <p:nvPr>
              <p:custDataLst>
                <p:tags r:id="rId355"/>
              </p:custDataLst>
            </p:nvPr>
          </p:nvSpPr>
          <p:spPr bwMode="auto">
            <a:xfrm>
              <a:off x="7539271" y="1800305"/>
              <a:ext cx="196850" cy="201216"/>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360" name="Group 359"/>
            <p:cNvGrpSpPr>
              <a:grpSpLocks/>
            </p:cNvGrpSpPr>
            <p:nvPr>
              <p:custDataLst>
                <p:tags r:id="rId356"/>
              </p:custDataLst>
            </p:nvPr>
          </p:nvGrpSpPr>
          <p:grpSpPr bwMode="auto">
            <a:xfrm>
              <a:off x="6329596" y="1766968"/>
              <a:ext cx="671512" cy="288131"/>
              <a:chOff x="4115" y="1551"/>
              <a:chExt cx="504" cy="244"/>
            </a:xfrm>
          </p:grpSpPr>
          <p:sp>
            <p:nvSpPr>
              <p:cNvPr id="390" name="Freeform 389"/>
              <p:cNvSpPr>
                <a:spLocks/>
              </p:cNvSpPr>
              <p:nvPr/>
            </p:nvSpPr>
            <p:spPr bwMode="auto">
              <a:xfrm>
                <a:off x="4540" y="1551"/>
                <a:ext cx="79" cy="86"/>
              </a:xfrm>
              <a:custGeom>
                <a:avLst/>
                <a:gdLst>
                  <a:gd name="T0" fmla="*/ 0 w 240"/>
                  <a:gd name="T1" fmla="*/ 1 h 259"/>
                  <a:gd name="T2" fmla="*/ 0 w 240"/>
                  <a:gd name="T3" fmla="*/ 1 h 259"/>
                  <a:gd name="T4" fmla="*/ 0 w 240"/>
                  <a:gd name="T5" fmla="*/ 1 h 259"/>
                  <a:gd name="T6" fmla="*/ 1 w 240"/>
                  <a:gd name="T7" fmla="*/ 1 h 259"/>
                  <a:gd name="T8" fmla="*/ 1 w 240"/>
                  <a:gd name="T9" fmla="*/ 1 h 259"/>
                  <a:gd name="T10" fmla="*/ 1 w 240"/>
                  <a:gd name="T11" fmla="*/ 0 h 259"/>
                  <a:gd name="T12" fmla="*/ 1 w 240"/>
                  <a:gd name="T13" fmla="*/ 0 h 259"/>
                  <a:gd name="T14" fmla="*/ 1 w 240"/>
                  <a:gd name="T15" fmla="*/ 0 h 259"/>
                  <a:gd name="T16" fmla="*/ 1 w 240"/>
                  <a:gd name="T17" fmla="*/ 0 h 259"/>
                  <a:gd name="T18" fmla="*/ 1 w 240"/>
                  <a:gd name="T19" fmla="*/ 0 h 259"/>
                  <a:gd name="T20" fmla="*/ 1 w 240"/>
                  <a:gd name="T21" fmla="*/ 0 h 259"/>
                  <a:gd name="T22" fmla="*/ 1 w 240"/>
                  <a:gd name="T23" fmla="*/ 1 h 259"/>
                  <a:gd name="T24" fmla="*/ 0 w 240"/>
                  <a:gd name="T25" fmla="*/ 1 h 259"/>
                  <a:gd name="T26" fmla="*/ 0 w 240"/>
                  <a:gd name="T27" fmla="*/ 1 h 259"/>
                  <a:gd name="T28" fmla="*/ 0 w 240"/>
                  <a:gd name="T29" fmla="*/ 1 h 259"/>
                  <a:gd name="T30" fmla="*/ 0 w 240"/>
                  <a:gd name="T31" fmla="*/ 1 h 259"/>
                  <a:gd name="T32" fmla="*/ 0 w 240"/>
                  <a:gd name="T33" fmla="*/ 1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91" name="Freeform 390"/>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1 w 259"/>
                  <a:gd name="T11" fmla="*/ 0 h 104"/>
                  <a:gd name="T12" fmla="*/ 1 w 259"/>
                  <a:gd name="T13" fmla="*/ 0 h 104"/>
                  <a:gd name="T14" fmla="*/ 1 w 259"/>
                  <a:gd name="T15" fmla="*/ 0 h 104"/>
                  <a:gd name="T16" fmla="*/ 1 w 259"/>
                  <a:gd name="T17" fmla="*/ 0 h 104"/>
                  <a:gd name="T18" fmla="*/ 1 w 259"/>
                  <a:gd name="T19" fmla="*/ 0 h 104"/>
                  <a:gd name="T20" fmla="*/ 1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361" name="Freeform 360"/>
            <p:cNvSpPr>
              <a:spLocks/>
            </p:cNvSpPr>
            <p:nvPr>
              <p:custDataLst>
                <p:tags r:id="rId357"/>
              </p:custDataLst>
            </p:nvPr>
          </p:nvSpPr>
          <p:spPr bwMode="auto">
            <a:xfrm>
              <a:off x="5386622" y="2328943"/>
              <a:ext cx="530225" cy="383381"/>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2" name="Freeform 361"/>
            <p:cNvSpPr>
              <a:spLocks/>
            </p:cNvSpPr>
            <p:nvPr>
              <p:custDataLst>
                <p:tags r:id="rId358"/>
              </p:custDataLst>
            </p:nvPr>
          </p:nvSpPr>
          <p:spPr bwMode="auto">
            <a:xfrm>
              <a:off x="4861158" y="1987234"/>
              <a:ext cx="57150" cy="42863"/>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3" name="Freeform 362"/>
            <p:cNvSpPr>
              <a:spLocks/>
            </p:cNvSpPr>
            <p:nvPr>
              <p:custDataLst>
                <p:tags r:id="rId359"/>
              </p:custDataLst>
            </p:nvPr>
          </p:nvSpPr>
          <p:spPr bwMode="auto">
            <a:xfrm>
              <a:off x="4600809" y="2146777"/>
              <a:ext cx="15875" cy="42863"/>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4" name="Freeform 363"/>
            <p:cNvSpPr>
              <a:spLocks/>
            </p:cNvSpPr>
            <p:nvPr>
              <p:custDataLst>
                <p:tags r:id="rId360"/>
              </p:custDataLst>
            </p:nvPr>
          </p:nvSpPr>
          <p:spPr bwMode="auto">
            <a:xfrm>
              <a:off x="4192822" y="2406334"/>
              <a:ext cx="28575" cy="42863"/>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5" name="Freeform 364"/>
            <p:cNvSpPr>
              <a:spLocks/>
            </p:cNvSpPr>
            <p:nvPr>
              <p:custDataLst>
                <p:tags r:id="rId361"/>
              </p:custDataLst>
            </p:nvPr>
          </p:nvSpPr>
          <p:spPr bwMode="auto">
            <a:xfrm>
              <a:off x="4134084" y="2418240"/>
              <a:ext cx="23813" cy="45244"/>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6" name="Freeform 365"/>
            <p:cNvSpPr>
              <a:spLocks/>
            </p:cNvSpPr>
            <p:nvPr>
              <p:custDataLst>
                <p:tags r:id="rId362"/>
              </p:custDataLst>
            </p:nvPr>
          </p:nvSpPr>
          <p:spPr bwMode="auto">
            <a:xfrm>
              <a:off x="4108683" y="2413477"/>
              <a:ext cx="6350" cy="42863"/>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7" name="Freeform 366"/>
            <p:cNvSpPr>
              <a:spLocks/>
            </p:cNvSpPr>
            <p:nvPr>
              <p:custDataLst>
                <p:tags r:id="rId363"/>
              </p:custDataLst>
            </p:nvPr>
          </p:nvSpPr>
          <p:spPr bwMode="auto">
            <a:xfrm>
              <a:off x="5380272" y="2209880"/>
              <a:ext cx="174625" cy="119063"/>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68" name="Freeform 367"/>
            <p:cNvSpPr>
              <a:spLocks/>
            </p:cNvSpPr>
            <p:nvPr>
              <p:custDataLst>
                <p:tags r:id="rId364"/>
              </p:custDataLst>
            </p:nvPr>
          </p:nvSpPr>
          <p:spPr bwMode="auto">
            <a:xfrm>
              <a:off x="7474184" y="2495631"/>
              <a:ext cx="42863" cy="59531"/>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nvGrpSpPr>
            <p:cNvPr id="369" name="Group 368"/>
            <p:cNvGrpSpPr>
              <a:grpSpLocks/>
            </p:cNvGrpSpPr>
            <p:nvPr>
              <p:custDataLst>
                <p:tags r:id="rId365"/>
              </p:custDataLst>
            </p:nvPr>
          </p:nvGrpSpPr>
          <p:grpSpPr bwMode="auto">
            <a:xfrm>
              <a:off x="5121508" y="2096771"/>
              <a:ext cx="482600" cy="151209"/>
              <a:chOff x="3289" y="1830"/>
              <a:chExt cx="363" cy="128"/>
            </a:xfrm>
          </p:grpSpPr>
          <p:sp>
            <p:nvSpPr>
              <p:cNvPr id="385" name="Freeform 384"/>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6" name="Freeform 385"/>
              <p:cNvSpPr>
                <a:spLocks/>
              </p:cNvSpPr>
              <p:nvPr/>
            </p:nvSpPr>
            <p:spPr bwMode="auto">
              <a:xfrm>
                <a:off x="3324" y="1937"/>
                <a:ext cx="10" cy="3"/>
              </a:xfrm>
              <a:custGeom>
                <a:avLst/>
                <a:gdLst>
                  <a:gd name="T0" fmla="*/ 0 w 34"/>
                  <a:gd name="T1" fmla="*/ 0 h 8"/>
                  <a:gd name="T2" fmla="*/ 0 w 34"/>
                  <a:gd name="T3" fmla="*/ 0 h 8"/>
                  <a:gd name="T4" fmla="*/ 0 w 34"/>
                  <a:gd name="T5" fmla="*/ 0 h 8"/>
                  <a:gd name="T6" fmla="*/ 0 w 34"/>
                  <a:gd name="T7" fmla="*/ 0 h 8"/>
                  <a:gd name="T8" fmla="*/ 0 w 34"/>
                  <a:gd name="T9" fmla="*/ 0 h 8"/>
                  <a:gd name="T10" fmla="*/ 0 w 34"/>
                  <a:gd name="T11" fmla="*/ 0 h 8"/>
                  <a:gd name="T12" fmla="*/ 0 w 34"/>
                  <a:gd name="T13" fmla="*/ 0 h 8"/>
                  <a:gd name="T14" fmla="*/ 0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7" name="Freeform 386"/>
              <p:cNvSpPr>
                <a:spLocks/>
              </p:cNvSpPr>
              <p:nvPr/>
            </p:nvSpPr>
            <p:spPr bwMode="auto">
              <a:xfrm>
                <a:off x="3343" y="1948"/>
                <a:ext cx="4" cy="8"/>
              </a:xfrm>
              <a:custGeom>
                <a:avLst/>
                <a:gdLst>
                  <a:gd name="T0" fmla="*/ 0 w 13"/>
                  <a:gd name="T1" fmla="*/ 0 h 24"/>
                  <a:gd name="T2" fmla="*/ 0 w 13"/>
                  <a:gd name="T3" fmla="*/ 0 h 24"/>
                  <a:gd name="T4" fmla="*/ 0 w 13"/>
                  <a:gd name="T5" fmla="*/ 0 h 24"/>
                  <a:gd name="T6" fmla="*/ 0 w 13"/>
                  <a:gd name="T7" fmla="*/ 0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8" name="Freeform 387"/>
              <p:cNvSpPr>
                <a:spLocks/>
              </p:cNvSpPr>
              <p:nvPr/>
            </p:nvSpPr>
            <p:spPr bwMode="auto">
              <a:xfrm>
                <a:off x="3313" y="1834"/>
                <a:ext cx="34" cy="23"/>
              </a:xfrm>
              <a:custGeom>
                <a:avLst/>
                <a:gdLst>
                  <a:gd name="T0" fmla="*/ 0 w 107"/>
                  <a:gd name="T1" fmla="*/ 0 h 69"/>
                  <a:gd name="T2" fmla="*/ 0 w 107"/>
                  <a:gd name="T3" fmla="*/ 0 h 69"/>
                  <a:gd name="T4" fmla="*/ 0 w 107"/>
                  <a:gd name="T5" fmla="*/ 0 h 69"/>
                  <a:gd name="T6" fmla="*/ 0 w 107"/>
                  <a:gd name="T7" fmla="*/ 0 h 69"/>
                  <a:gd name="T8" fmla="*/ 0 w 107"/>
                  <a:gd name="T9" fmla="*/ 0 h 69"/>
                  <a:gd name="T10" fmla="*/ 0 w 107"/>
                  <a:gd name="T11" fmla="*/ 0 h 69"/>
                  <a:gd name="T12" fmla="*/ 0 w 107"/>
                  <a:gd name="T13" fmla="*/ 0 h 69"/>
                  <a:gd name="T14" fmla="*/ 0 w 107"/>
                  <a:gd name="T15" fmla="*/ 0 h 69"/>
                  <a:gd name="T16" fmla="*/ 0 w 107"/>
                  <a:gd name="T17" fmla="*/ 0 h 69"/>
                  <a:gd name="T18" fmla="*/ 0 w 107"/>
                  <a:gd name="T19" fmla="*/ 0 h 69"/>
                  <a:gd name="T20" fmla="*/ 0 w 107"/>
                  <a:gd name="T21" fmla="*/ 0 h 69"/>
                  <a:gd name="T22" fmla="*/ 0 w 107"/>
                  <a:gd name="T23" fmla="*/ 0 h 69"/>
                  <a:gd name="T24" fmla="*/ 0 w 107"/>
                  <a:gd name="T25" fmla="*/ 0 h 69"/>
                  <a:gd name="T26" fmla="*/ 0 w 107"/>
                  <a:gd name="T27" fmla="*/ 0 h 69"/>
                  <a:gd name="T28" fmla="*/ 0 w 107"/>
                  <a:gd name="T29" fmla="*/ 0 h 69"/>
                  <a:gd name="T30" fmla="*/ 0 w 107"/>
                  <a:gd name="T31" fmla="*/ 0 h 69"/>
                  <a:gd name="T32" fmla="*/ 0 w 107"/>
                  <a:gd name="T33" fmla="*/ 0 h 69"/>
                  <a:gd name="T34" fmla="*/ 0 w 107"/>
                  <a:gd name="T35" fmla="*/ 0 h 69"/>
                  <a:gd name="T36" fmla="*/ 0 w 107"/>
                  <a:gd name="T37" fmla="*/ 0 h 69"/>
                  <a:gd name="T38" fmla="*/ 0 w 107"/>
                  <a:gd name="T39" fmla="*/ 0 h 69"/>
                  <a:gd name="T40" fmla="*/ 0 w 107"/>
                  <a:gd name="T41" fmla="*/ 0 h 69"/>
                  <a:gd name="T42" fmla="*/ 0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9" name="Freeform 388"/>
              <p:cNvSpPr>
                <a:spLocks/>
              </p:cNvSpPr>
              <p:nvPr/>
            </p:nvSpPr>
            <p:spPr bwMode="auto">
              <a:xfrm>
                <a:off x="3302" y="1830"/>
                <a:ext cx="350" cy="128"/>
              </a:xfrm>
              <a:custGeom>
                <a:avLst/>
                <a:gdLst>
                  <a:gd name="T0" fmla="*/ 4 w 1070"/>
                  <a:gd name="T1" fmla="*/ 1 h 382"/>
                  <a:gd name="T2" fmla="*/ 4 w 1070"/>
                  <a:gd name="T3" fmla="*/ 0 h 382"/>
                  <a:gd name="T4" fmla="*/ 4 w 1070"/>
                  <a:gd name="T5" fmla="*/ 0 h 382"/>
                  <a:gd name="T6" fmla="*/ 4 w 1070"/>
                  <a:gd name="T7" fmla="*/ 0 h 382"/>
                  <a:gd name="T8" fmla="*/ 3 w 1070"/>
                  <a:gd name="T9" fmla="*/ 0 h 382"/>
                  <a:gd name="T10" fmla="*/ 3 w 1070"/>
                  <a:gd name="T11" fmla="*/ 0 h 382"/>
                  <a:gd name="T12" fmla="*/ 3 w 1070"/>
                  <a:gd name="T13" fmla="*/ 0 h 382"/>
                  <a:gd name="T14" fmla="*/ 2 w 1070"/>
                  <a:gd name="T15" fmla="*/ 0 h 382"/>
                  <a:gd name="T16" fmla="*/ 2 w 1070"/>
                  <a:gd name="T17" fmla="*/ 0 h 382"/>
                  <a:gd name="T18" fmla="*/ 2 w 1070"/>
                  <a:gd name="T19" fmla="*/ 0 h 382"/>
                  <a:gd name="T20" fmla="*/ 2 w 1070"/>
                  <a:gd name="T21" fmla="*/ 0 h 382"/>
                  <a:gd name="T22" fmla="*/ 2 w 1070"/>
                  <a:gd name="T23" fmla="*/ 0 h 382"/>
                  <a:gd name="T24" fmla="*/ 2 w 1070"/>
                  <a:gd name="T25" fmla="*/ 0 h 382"/>
                  <a:gd name="T26" fmla="*/ 2 w 1070"/>
                  <a:gd name="T27" fmla="*/ 0 h 382"/>
                  <a:gd name="T28" fmla="*/ 1 w 1070"/>
                  <a:gd name="T29" fmla="*/ 0 h 382"/>
                  <a:gd name="T30" fmla="*/ 1 w 1070"/>
                  <a:gd name="T31" fmla="*/ 0 h 382"/>
                  <a:gd name="T32" fmla="*/ 1 w 1070"/>
                  <a:gd name="T33" fmla="*/ 0 h 382"/>
                  <a:gd name="T34" fmla="*/ 1 w 1070"/>
                  <a:gd name="T35" fmla="*/ 0 h 382"/>
                  <a:gd name="T36" fmla="*/ 1 w 1070"/>
                  <a:gd name="T37" fmla="*/ 0 h 382"/>
                  <a:gd name="T38" fmla="*/ 0 w 1070"/>
                  <a:gd name="T39" fmla="*/ 0 h 382"/>
                  <a:gd name="T40" fmla="*/ 0 w 1070"/>
                  <a:gd name="T41" fmla="*/ 0 h 382"/>
                  <a:gd name="T42" fmla="*/ 0 w 1070"/>
                  <a:gd name="T43" fmla="*/ 0 h 382"/>
                  <a:gd name="T44" fmla="*/ 0 w 1070"/>
                  <a:gd name="T45" fmla="*/ 1 h 382"/>
                  <a:gd name="T46" fmla="*/ 0 w 1070"/>
                  <a:gd name="T47" fmla="*/ 1 h 382"/>
                  <a:gd name="T48" fmla="*/ 0 w 1070"/>
                  <a:gd name="T49" fmla="*/ 1 h 382"/>
                  <a:gd name="T50" fmla="*/ 0 w 1070"/>
                  <a:gd name="T51" fmla="*/ 1 h 382"/>
                  <a:gd name="T52" fmla="*/ 0 w 1070"/>
                  <a:gd name="T53" fmla="*/ 1 h 382"/>
                  <a:gd name="T54" fmla="*/ 0 w 1070"/>
                  <a:gd name="T55" fmla="*/ 1 h 382"/>
                  <a:gd name="T56" fmla="*/ 0 w 1070"/>
                  <a:gd name="T57" fmla="*/ 1 h 382"/>
                  <a:gd name="T58" fmla="*/ 0 w 1070"/>
                  <a:gd name="T59" fmla="*/ 1 h 382"/>
                  <a:gd name="T60" fmla="*/ 1 w 1070"/>
                  <a:gd name="T61" fmla="*/ 1 h 382"/>
                  <a:gd name="T62" fmla="*/ 1 w 1070"/>
                  <a:gd name="T63" fmla="*/ 2 h 382"/>
                  <a:gd name="T64" fmla="*/ 1 w 1070"/>
                  <a:gd name="T65" fmla="*/ 1 h 382"/>
                  <a:gd name="T66" fmla="*/ 1 w 1070"/>
                  <a:gd name="T67" fmla="*/ 1 h 382"/>
                  <a:gd name="T68" fmla="*/ 1 w 1070"/>
                  <a:gd name="T69" fmla="*/ 1 h 382"/>
                  <a:gd name="T70" fmla="*/ 1 w 1070"/>
                  <a:gd name="T71" fmla="*/ 1 h 382"/>
                  <a:gd name="T72" fmla="*/ 1 w 1070"/>
                  <a:gd name="T73" fmla="*/ 1 h 382"/>
                  <a:gd name="T74" fmla="*/ 2 w 1070"/>
                  <a:gd name="T75" fmla="*/ 2 h 382"/>
                  <a:gd name="T76" fmla="*/ 2 w 1070"/>
                  <a:gd name="T77" fmla="*/ 1 h 382"/>
                  <a:gd name="T78" fmla="*/ 2 w 1070"/>
                  <a:gd name="T79" fmla="*/ 1 h 382"/>
                  <a:gd name="T80" fmla="*/ 2 w 1070"/>
                  <a:gd name="T81" fmla="*/ 1 h 382"/>
                  <a:gd name="T82" fmla="*/ 2 w 1070"/>
                  <a:gd name="T83" fmla="*/ 1 h 382"/>
                  <a:gd name="T84" fmla="*/ 2 w 1070"/>
                  <a:gd name="T85" fmla="*/ 2 h 382"/>
                  <a:gd name="T86" fmla="*/ 2 w 1070"/>
                  <a:gd name="T87" fmla="*/ 2 h 382"/>
                  <a:gd name="T88" fmla="*/ 2 w 1070"/>
                  <a:gd name="T89" fmla="*/ 2 h 382"/>
                  <a:gd name="T90" fmla="*/ 3 w 1070"/>
                  <a:gd name="T91" fmla="*/ 1 h 382"/>
                  <a:gd name="T92" fmla="*/ 3 w 1070"/>
                  <a:gd name="T93" fmla="*/ 1 h 382"/>
                  <a:gd name="T94" fmla="*/ 3 w 1070"/>
                  <a:gd name="T95" fmla="*/ 1 h 382"/>
                  <a:gd name="T96" fmla="*/ 3 w 1070"/>
                  <a:gd name="T97" fmla="*/ 1 h 382"/>
                  <a:gd name="T98" fmla="*/ 4 w 1070"/>
                  <a:gd name="T99" fmla="*/ 1 h 382"/>
                  <a:gd name="T100" fmla="*/ 4 w 1070"/>
                  <a:gd name="T101" fmla="*/ 1 h 382"/>
                  <a:gd name="T102" fmla="*/ 4 w 1070"/>
                  <a:gd name="T103" fmla="*/ 1 h 382"/>
                  <a:gd name="T104" fmla="*/ 4 w 1070"/>
                  <a:gd name="T105" fmla="*/ 1 h 382"/>
                  <a:gd name="T106" fmla="*/ 4 w 1070"/>
                  <a:gd name="T107" fmla="*/ 1 h 382"/>
                  <a:gd name="T108" fmla="*/ 4 w 1070"/>
                  <a:gd name="T109" fmla="*/ 1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grpSp>
        <p:sp>
          <p:nvSpPr>
            <p:cNvPr id="370" name="Freeform 369"/>
            <p:cNvSpPr>
              <a:spLocks/>
            </p:cNvSpPr>
            <p:nvPr>
              <p:custDataLst>
                <p:tags r:id="rId366"/>
              </p:custDataLst>
            </p:nvPr>
          </p:nvSpPr>
          <p:spPr bwMode="auto">
            <a:xfrm>
              <a:off x="3110146" y="2961165"/>
              <a:ext cx="100012" cy="91678"/>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1" name="Freeform 370"/>
            <p:cNvSpPr>
              <a:spLocks/>
            </p:cNvSpPr>
            <p:nvPr>
              <p:custDataLst>
                <p:tags r:id="rId367"/>
              </p:custDataLst>
            </p:nvPr>
          </p:nvSpPr>
          <p:spPr bwMode="auto">
            <a:xfrm>
              <a:off x="7055084" y="2538493"/>
              <a:ext cx="207963" cy="344091"/>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2" name="Freeform 371"/>
            <p:cNvSpPr>
              <a:spLocks/>
            </p:cNvSpPr>
            <p:nvPr>
              <p:custDataLst>
                <p:tags r:id="rId368"/>
              </p:custDataLst>
            </p:nvPr>
          </p:nvSpPr>
          <p:spPr bwMode="auto">
            <a:xfrm>
              <a:off x="7142396" y="3052843"/>
              <a:ext cx="25400" cy="428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3" name="Freeform 372"/>
            <p:cNvSpPr>
              <a:spLocks/>
            </p:cNvSpPr>
            <p:nvPr>
              <p:custDataLst>
                <p:tags r:id="rId369"/>
              </p:custDataLst>
            </p:nvPr>
          </p:nvSpPr>
          <p:spPr bwMode="auto">
            <a:xfrm>
              <a:off x="5834297" y="2496821"/>
              <a:ext cx="174625" cy="203597"/>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4" name="Freeform 373"/>
            <p:cNvSpPr>
              <a:spLocks/>
            </p:cNvSpPr>
            <p:nvPr>
              <p:custDataLst>
                <p:tags r:id="rId370"/>
              </p:custDataLst>
            </p:nvPr>
          </p:nvSpPr>
          <p:spPr bwMode="auto">
            <a:xfrm>
              <a:off x="4561122" y="2537302"/>
              <a:ext cx="376237" cy="28932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5" name="Freeform 374"/>
            <p:cNvSpPr>
              <a:spLocks/>
            </p:cNvSpPr>
            <p:nvPr>
              <p:custDataLst>
                <p:tags r:id="rId371"/>
              </p:custDataLst>
            </p:nvPr>
          </p:nvSpPr>
          <p:spPr bwMode="auto">
            <a:xfrm>
              <a:off x="4230922" y="2250361"/>
              <a:ext cx="300037" cy="195263"/>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6" name="Freeform 375"/>
            <p:cNvSpPr>
              <a:spLocks/>
            </p:cNvSpPr>
            <p:nvPr>
              <p:custDataLst>
                <p:tags r:id="rId372"/>
              </p:custDataLst>
            </p:nvPr>
          </p:nvSpPr>
          <p:spPr bwMode="auto">
            <a:xfrm>
              <a:off x="4931008" y="1447881"/>
              <a:ext cx="236538" cy="69056"/>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7" name="Freeform 376"/>
            <p:cNvSpPr>
              <a:spLocks/>
            </p:cNvSpPr>
            <p:nvPr>
              <p:custDataLst>
                <p:tags r:id="rId373"/>
              </p:custDataLst>
            </p:nvPr>
          </p:nvSpPr>
          <p:spPr bwMode="auto">
            <a:xfrm>
              <a:off x="5442183" y="1435974"/>
              <a:ext cx="107950" cy="45244"/>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8" name="Freeform 377"/>
            <p:cNvSpPr>
              <a:spLocks/>
            </p:cNvSpPr>
            <p:nvPr>
              <p:custDataLst>
                <p:tags r:id="rId374"/>
              </p:custDataLst>
            </p:nvPr>
          </p:nvSpPr>
          <p:spPr bwMode="auto">
            <a:xfrm>
              <a:off x="5585058" y="1422877"/>
              <a:ext cx="63500" cy="42863"/>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79" name="Freeform 378"/>
            <p:cNvSpPr>
              <a:spLocks/>
            </p:cNvSpPr>
            <p:nvPr>
              <p:custDataLst>
                <p:tags r:id="rId375"/>
              </p:custDataLst>
            </p:nvPr>
          </p:nvSpPr>
          <p:spPr bwMode="auto">
            <a:xfrm>
              <a:off x="5621572" y="1428830"/>
              <a:ext cx="130175" cy="42863"/>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defTabSz="457200"/>
              <a:endParaRPr lang="en-US" baseline="-25000">
                <a:solidFill>
                  <a:prstClr val="black"/>
                </a:solidFill>
              </a:endParaRPr>
            </a:p>
          </p:txBody>
        </p:sp>
        <p:sp>
          <p:nvSpPr>
            <p:cNvPr id="380" name="Rectangle 573"/>
            <p:cNvSpPr>
              <a:spLocks noChangeArrowheads="1"/>
            </p:cNvSpPr>
            <p:nvPr/>
          </p:nvSpPr>
          <p:spPr bwMode="auto">
            <a:xfrm>
              <a:off x="2251308" y="1247855"/>
              <a:ext cx="1371600" cy="17145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742950" indent="-285750" defTabSz="457200">
                <a:spcBef>
                  <a:spcPct val="20000"/>
                </a:spcBef>
                <a:buClr>
                  <a:srgbClr val="CC6600"/>
                </a:buClr>
                <a:buSzPct val="75000"/>
                <a:buFont typeface="Wingdings" pitchFamily="2" charset="2"/>
                <a:buChar char="§"/>
              </a:pPr>
              <a:endParaRPr lang="en-US" baseline="-25000">
                <a:solidFill>
                  <a:prstClr val="black"/>
                </a:solidFill>
              </a:endParaRPr>
            </a:p>
          </p:txBody>
        </p:sp>
        <p:sp>
          <p:nvSpPr>
            <p:cNvPr id="381" name="Freeform 380"/>
            <p:cNvSpPr>
              <a:spLocks/>
            </p:cNvSpPr>
            <p:nvPr>
              <p:custDataLst>
                <p:tags r:id="rId376"/>
              </p:custDataLst>
            </p:nvPr>
          </p:nvSpPr>
          <p:spPr bwMode="auto">
            <a:xfrm>
              <a:off x="4402372" y="1635999"/>
              <a:ext cx="9525" cy="42863"/>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p>
              <a:pPr defTabSz="457200"/>
              <a:endParaRPr lang="en-US" baseline="-25000" dirty="0">
                <a:solidFill>
                  <a:prstClr val="black"/>
                </a:solidFill>
              </a:endParaRPr>
            </a:p>
          </p:txBody>
        </p:sp>
        <p:sp>
          <p:nvSpPr>
            <p:cNvPr id="382" name="Freeform 12"/>
            <p:cNvSpPr>
              <a:spLocks/>
            </p:cNvSpPr>
            <p:nvPr>
              <p:custDataLst>
                <p:tags r:id="rId377"/>
              </p:custDataLst>
            </p:nvPr>
          </p:nvSpPr>
          <p:spPr bwMode="auto">
            <a:xfrm>
              <a:off x="4405545" y="1696207"/>
              <a:ext cx="171450" cy="202406"/>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BC4E21"/>
            </a:solidFill>
            <a:ln w="9525" cmpd="sng">
              <a:solidFill>
                <a:srgbClr val="FFFFFF"/>
              </a:solidFill>
              <a:prstDash val="solid"/>
              <a:round/>
              <a:headEnd/>
              <a:tailEnd/>
            </a:ln>
          </p:spPr>
          <p:txBody>
            <a:bodyPr/>
            <a:lstStyle/>
            <a:p>
              <a:pPr fontAlgn="base">
                <a:spcBef>
                  <a:spcPct val="0"/>
                </a:spcBef>
                <a:spcAft>
                  <a:spcPct val="0"/>
                </a:spcAft>
              </a:pPr>
              <a:endParaRPr lang="en-US" baseline="-25000" smtClean="0">
                <a:solidFill>
                  <a:srgbClr val="000000"/>
                </a:solidFill>
                <a:latin typeface="Arial" pitchFamily="34" charset="0"/>
              </a:endParaRPr>
            </a:p>
          </p:txBody>
        </p:sp>
        <p:sp>
          <p:nvSpPr>
            <p:cNvPr id="383" name="Freeform 234"/>
            <p:cNvSpPr>
              <a:spLocks/>
            </p:cNvSpPr>
            <p:nvPr>
              <p:custDataLst>
                <p:tags r:id="rId378"/>
              </p:custDataLst>
            </p:nvPr>
          </p:nvSpPr>
          <p:spPr bwMode="auto">
            <a:xfrm>
              <a:off x="4297009" y="1772407"/>
              <a:ext cx="110124" cy="108347"/>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7067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7733 w 10000"/>
                <a:gd name="connsiteY14" fmla="*/ 3700 h 10000"/>
                <a:gd name="connsiteX15" fmla="*/ 7956 w 10000"/>
                <a:gd name="connsiteY15" fmla="*/ 3736 h 10000"/>
                <a:gd name="connsiteX16" fmla="*/ 8178 w 10000"/>
                <a:gd name="connsiteY16" fmla="*/ 3773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222 w 10000"/>
                <a:gd name="connsiteY138" fmla="*/ 2125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7733 w 10000"/>
                <a:gd name="connsiteY14" fmla="*/ 3700 h 10000"/>
                <a:gd name="connsiteX15" fmla="*/ 7956 w 10000"/>
                <a:gd name="connsiteY15" fmla="*/ 3736 h 10000"/>
                <a:gd name="connsiteX16" fmla="*/ 8178 w 10000"/>
                <a:gd name="connsiteY16" fmla="*/ 3773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222 w 10000"/>
                <a:gd name="connsiteY138" fmla="*/ 2125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7733 w 10000"/>
                <a:gd name="connsiteY14" fmla="*/ 3700 h 10000"/>
                <a:gd name="connsiteX15" fmla="*/ 7956 w 10000"/>
                <a:gd name="connsiteY15" fmla="*/ 3736 h 10000"/>
                <a:gd name="connsiteX16" fmla="*/ 8178 w 10000"/>
                <a:gd name="connsiteY16" fmla="*/ 3773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7733 w 10000"/>
                <a:gd name="connsiteY14" fmla="*/ 3700 h 10000"/>
                <a:gd name="connsiteX15" fmla="*/ 9677 w 10000"/>
                <a:gd name="connsiteY15" fmla="*/ 2747 h 10000"/>
                <a:gd name="connsiteX16" fmla="*/ 8178 w 10000"/>
                <a:gd name="connsiteY16" fmla="*/ 3773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7733 w 10000"/>
                <a:gd name="connsiteY14" fmla="*/ 3700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7556 w 10000"/>
                <a:gd name="connsiteY13" fmla="*/ 3626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7422 w 10000"/>
                <a:gd name="connsiteY12" fmla="*/ 3516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7244 w 10000"/>
                <a:gd name="connsiteY11" fmla="*/ 3407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7156 w 10000"/>
                <a:gd name="connsiteY10" fmla="*/ 3297 h 10000"/>
                <a:gd name="connsiteX11" fmla="*/ 8719 w 10000"/>
                <a:gd name="connsiteY11" fmla="*/ 3242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7067 w 10000"/>
                <a:gd name="connsiteY9" fmla="*/ 3150 h 10000"/>
                <a:gd name="connsiteX10" fmla="*/ 9615 w 10000"/>
                <a:gd name="connsiteY10" fmla="*/ 1978 h 10000"/>
                <a:gd name="connsiteX11" fmla="*/ 8719 w 10000"/>
                <a:gd name="connsiteY11" fmla="*/ 3242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7244 w 10000"/>
                <a:gd name="connsiteY7" fmla="*/ 3004 h 10000"/>
                <a:gd name="connsiteX8" fmla="*/ 9526 w 10000"/>
                <a:gd name="connsiteY8" fmla="*/ 3004 h 10000"/>
                <a:gd name="connsiteX9" fmla="*/ 8542 w 10000"/>
                <a:gd name="connsiteY9" fmla="*/ 2820 h 10000"/>
                <a:gd name="connsiteX10" fmla="*/ 9615 w 10000"/>
                <a:gd name="connsiteY10" fmla="*/ 1978 h 10000"/>
                <a:gd name="connsiteX11" fmla="*/ 8719 w 10000"/>
                <a:gd name="connsiteY11" fmla="*/ 3242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8965 w 10000"/>
                <a:gd name="connsiteY7" fmla="*/ 2839 h 10000"/>
                <a:gd name="connsiteX8" fmla="*/ 9526 w 10000"/>
                <a:gd name="connsiteY8" fmla="*/ 3004 h 10000"/>
                <a:gd name="connsiteX9" fmla="*/ 8542 w 10000"/>
                <a:gd name="connsiteY9" fmla="*/ 2820 h 10000"/>
                <a:gd name="connsiteX10" fmla="*/ 9615 w 10000"/>
                <a:gd name="connsiteY10" fmla="*/ 1978 h 10000"/>
                <a:gd name="connsiteX11" fmla="*/ 8719 w 10000"/>
                <a:gd name="connsiteY11" fmla="*/ 3242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7511 w 10000"/>
                <a:gd name="connsiteY6" fmla="*/ 2930 h 10000"/>
                <a:gd name="connsiteX7" fmla="*/ 8965 w 10000"/>
                <a:gd name="connsiteY7" fmla="*/ 2839 h 10000"/>
                <a:gd name="connsiteX8" fmla="*/ 9526 w 10000"/>
                <a:gd name="connsiteY8" fmla="*/ 3004 h 10000"/>
                <a:gd name="connsiteX9" fmla="*/ 8542 w 10000"/>
                <a:gd name="connsiteY9" fmla="*/ 282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7689 w 10000"/>
                <a:gd name="connsiteY5" fmla="*/ 2857 h 10000"/>
                <a:gd name="connsiteX6" fmla="*/ 8986 w 10000"/>
                <a:gd name="connsiteY6" fmla="*/ 1941 h 10000"/>
                <a:gd name="connsiteX7" fmla="*/ 8965 w 10000"/>
                <a:gd name="connsiteY7" fmla="*/ 2839 h 10000"/>
                <a:gd name="connsiteX8" fmla="*/ 9526 w 10000"/>
                <a:gd name="connsiteY8" fmla="*/ 3004 h 10000"/>
                <a:gd name="connsiteX9" fmla="*/ 8542 w 10000"/>
                <a:gd name="connsiteY9" fmla="*/ 282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9410 w 10000"/>
                <a:gd name="connsiteY5" fmla="*/ 2692 h 10000"/>
                <a:gd name="connsiteX6" fmla="*/ 8986 w 10000"/>
                <a:gd name="connsiteY6" fmla="*/ 1941 h 10000"/>
                <a:gd name="connsiteX7" fmla="*/ 8965 w 10000"/>
                <a:gd name="connsiteY7" fmla="*/ 2839 h 10000"/>
                <a:gd name="connsiteX8" fmla="*/ 9526 w 10000"/>
                <a:gd name="connsiteY8" fmla="*/ 3004 h 10000"/>
                <a:gd name="connsiteX9" fmla="*/ 8542 w 10000"/>
                <a:gd name="connsiteY9" fmla="*/ 282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7911 w 10000"/>
                <a:gd name="connsiteY4" fmla="*/ 2747 h 10000"/>
                <a:gd name="connsiteX5" fmla="*/ 9410 w 10000"/>
                <a:gd name="connsiteY5" fmla="*/ 2692 h 10000"/>
                <a:gd name="connsiteX6" fmla="*/ 8986 w 10000"/>
                <a:gd name="connsiteY6" fmla="*/ 1941 h 10000"/>
                <a:gd name="connsiteX7" fmla="*/ 8965 w 10000"/>
                <a:gd name="connsiteY7" fmla="*/ 2839 h 10000"/>
                <a:gd name="connsiteX8" fmla="*/ 9526 w 10000"/>
                <a:gd name="connsiteY8" fmla="*/ 3004 h 10000"/>
                <a:gd name="connsiteX9" fmla="*/ 9772 w 10000"/>
                <a:gd name="connsiteY9" fmla="*/ 315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8089 w 10000"/>
                <a:gd name="connsiteY3" fmla="*/ 2601 h 10000"/>
                <a:gd name="connsiteX4" fmla="*/ 9878 w 10000"/>
                <a:gd name="connsiteY4" fmla="*/ 2747 h 10000"/>
                <a:gd name="connsiteX5" fmla="*/ 9410 w 10000"/>
                <a:gd name="connsiteY5" fmla="*/ 2692 h 10000"/>
                <a:gd name="connsiteX6" fmla="*/ 8986 w 10000"/>
                <a:gd name="connsiteY6" fmla="*/ 1941 h 10000"/>
                <a:gd name="connsiteX7" fmla="*/ 8965 w 10000"/>
                <a:gd name="connsiteY7" fmla="*/ 2839 h 10000"/>
                <a:gd name="connsiteX8" fmla="*/ 9526 w 10000"/>
                <a:gd name="connsiteY8" fmla="*/ 3004 h 10000"/>
                <a:gd name="connsiteX9" fmla="*/ 9772 w 10000"/>
                <a:gd name="connsiteY9" fmla="*/ 315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000"/>
                <a:gd name="connsiteY0" fmla="*/ 2125 h 10000"/>
                <a:gd name="connsiteX1" fmla="*/ 8400 w 10000"/>
                <a:gd name="connsiteY1" fmla="*/ 2308 h 10000"/>
                <a:gd name="connsiteX2" fmla="*/ 8222 w 10000"/>
                <a:gd name="connsiteY2" fmla="*/ 2454 h 10000"/>
                <a:gd name="connsiteX3" fmla="*/ 9319 w 10000"/>
                <a:gd name="connsiteY3" fmla="*/ 2931 h 10000"/>
                <a:gd name="connsiteX4" fmla="*/ 9878 w 10000"/>
                <a:gd name="connsiteY4" fmla="*/ 2747 h 10000"/>
                <a:gd name="connsiteX5" fmla="*/ 9410 w 10000"/>
                <a:gd name="connsiteY5" fmla="*/ 2692 h 10000"/>
                <a:gd name="connsiteX6" fmla="*/ 8986 w 10000"/>
                <a:gd name="connsiteY6" fmla="*/ 1941 h 10000"/>
                <a:gd name="connsiteX7" fmla="*/ 8965 w 10000"/>
                <a:gd name="connsiteY7" fmla="*/ 2839 h 10000"/>
                <a:gd name="connsiteX8" fmla="*/ 9526 w 10000"/>
                <a:gd name="connsiteY8" fmla="*/ 3004 h 10000"/>
                <a:gd name="connsiteX9" fmla="*/ 9772 w 10000"/>
                <a:gd name="connsiteY9" fmla="*/ 3150 h 10000"/>
                <a:gd name="connsiteX10" fmla="*/ 9615 w 10000"/>
                <a:gd name="connsiteY10" fmla="*/ 1978 h 10000"/>
                <a:gd name="connsiteX11" fmla="*/ 9211 w 10000"/>
                <a:gd name="connsiteY11" fmla="*/ 2088 h 10000"/>
                <a:gd name="connsiteX12" fmla="*/ 9389 w 10000"/>
                <a:gd name="connsiteY12" fmla="*/ 2857 h 10000"/>
                <a:gd name="connsiteX13" fmla="*/ 9031 w 10000"/>
                <a:gd name="connsiteY13" fmla="*/ 3131 h 10000"/>
                <a:gd name="connsiteX14" fmla="*/ 9208 w 10000"/>
                <a:gd name="connsiteY14" fmla="*/ 3041 h 10000"/>
                <a:gd name="connsiteX15" fmla="*/ 9677 w 10000"/>
                <a:gd name="connsiteY15" fmla="*/ 2747 h 10000"/>
                <a:gd name="connsiteX16" fmla="*/ 9407 w 10000"/>
                <a:gd name="connsiteY16" fmla="*/ 3114 h 10000"/>
                <a:gd name="connsiteX17" fmla="*/ 8667 w 10000"/>
                <a:gd name="connsiteY17" fmla="*/ 3846 h 10000"/>
                <a:gd name="connsiteX18" fmla="*/ 9156 w 10000"/>
                <a:gd name="connsiteY18" fmla="*/ 3883 h 10000"/>
                <a:gd name="connsiteX19" fmla="*/ 9600 w 10000"/>
                <a:gd name="connsiteY19" fmla="*/ 3883 h 10000"/>
                <a:gd name="connsiteX20" fmla="*/ 10000 w 10000"/>
                <a:gd name="connsiteY20" fmla="*/ 3883 h 10000"/>
                <a:gd name="connsiteX21" fmla="*/ 10000 w 10000"/>
                <a:gd name="connsiteY21" fmla="*/ 4542 h 10000"/>
                <a:gd name="connsiteX22" fmla="*/ 10000 w 10000"/>
                <a:gd name="connsiteY22" fmla="*/ 5055 h 10000"/>
                <a:gd name="connsiteX23" fmla="*/ 10000 w 10000"/>
                <a:gd name="connsiteY23" fmla="*/ 5568 h 10000"/>
                <a:gd name="connsiteX24" fmla="*/ 10000 w 10000"/>
                <a:gd name="connsiteY24" fmla="*/ 6190 h 10000"/>
                <a:gd name="connsiteX25" fmla="*/ 10000 w 10000"/>
                <a:gd name="connsiteY25" fmla="*/ 6300 h 10000"/>
                <a:gd name="connsiteX26" fmla="*/ 9956 w 10000"/>
                <a:gd name="connsiteY26" fmla="*/ 6447 h 10000"/>
                <a:gd name="connsiteX27" fmla="*/ 9867 w 10000"/>
                <a:gd name="connsiteY27" fmla="*/ 6557 h 10000"/>
                <a:gd name="connsiteX28" fmla="*/ 9778 w 10000"/>
                <a:gd name="connsiteY28" fmla="*/ 6667 h 10000"/>
                <a:gd name="connsiteX29" fmla="*/ 9556 w 10000"/>
                <a:gd name="connsiteY29" fmla="*/ 6850 h 10000"/>
                <a:gd name="connsiteX30" fmla="*/ 9244 w 10000"/>
                <a:gd name="connsiteY30" fmla="*/ 7070 h 10000"/>
                <a:gd name="connsiteX31" fmla="*/ 9022 w 10000"/>
                <a:gd name="connsiteY31" fmla="*/ 7289 h 10000"/>
                <a:gd name="connsiteX32" fmla="*/ 8756 w 10000"/>
                <a:gd name="connsiteY32" fmla="*/ 7509 h 10000"/>
                <a:gd name="connsiteX33" fmla="*/ 8667 w 10000"/>
                <a:gd name="connsiteY33" fmla="*/ 7619 h 10000"/>
                <a:gd name="connsiteX34" fmla="*/ 8578 w 10000"/>
                <a:gd name="connsiteY34" fmla="*/ 7729 h 10000"/>
                <a:gd name="connsiteX35" fmla="*/ 8533 w 10000"/>
                <a:gd name="connsiteY35" fmla="*/ 7839 h 10000"/>
                <a:gd name="connsiteX36" fmla="*/ 8533 w 10000"/>
                <a:gd name="connsiteY36" fmla="*/ 7949 h 10000"/>
                <a:gd name="connsiteX37" fmla="*/ 8178 w 10000"/>
                <a:gd name="connsiteY37" fmla="*/ 7985 h 10000"/>
                <a:gd name="connsiteX38" fmla="*/ 7956 w 10000"/>
                <a:gd name="connsiteY38" fmla="*/ 7985 h 10000"/>
                <a:gd name="connsiteX39" fmla="*/ 7644 w 10000"/>
                <a:gd name="connsiteY39" fmla="*/ 8059 h 10000"/>
                <a:gd name="connsiteX40" fmla="*/ 7467 w 10000"/>
                <a:gd name="connsiteY40" fmla="*/ 8168 h 10000"/>
                <a:gd name="connsiteX41" fmla="*/ 7289 w 10000"/>
                <a:gd name="connsiteY41" fmla="*/ 8242 h 10000"/>
                <a:gd name="connsiteX42" fmla="*/ 7156 w 10000"/>
                <a:gd name="connsiteY42" fmla="*/ 8388 h 10000"/>
                <a:gd name="connsiteX43" fmla="*/ 7067 w 10000"/>
                <a:gd name="connsiteY43" fmla="*/ 8498 h 10000"/>
                <a:gd name="connsiteX44" fmla="*/ 7067 w 10000"/>
                <a:gd name="connsiteY44" fmla="*/ 8645 h 10000"/>
                <a:gd name="connsiteX45" fmla="*/ 6711 w 10000"/>
                <a:gd name="connsiteY45" fmla="*/ 8681 h 10000"/>
                <a:gd name="connsiteX46" fmla="*/ 6489 w 10000"/>
                <a:gd name="connsiteY46" fmla="*/ 8755 h 10000"/>
                <a:gd name="connsiteX47" fmla="*/ 6222 w 10000"/>
                <a:gd name="connsiteY47" fmla="*/ 8864 h 10000"/>
                <a:gd name="connsiteX48" fmla="*/ 6044 w 10000"/>
                <a:gd name="connsiteY48" fmla="*/ 9011 h 10000"/>
                <a:gd name="connsiteX49" fmla="*/ 5822 w 10000"/>
                <a:gd name="connsiteY49" fmla="*/ 9121 h 10000"/>
                <a:gd name="connsiteX50" fmla="*/ 5689 w 10000"/>
                <a:gd name="connsiteY50" fmla="*/ 9231 h 10000"/>
                <a:gd name="connsiteX51" fmla="*/ 5511 w 10000"/>
                <a:gd name="connsiteY51" fmla="*/ 9304 h 10000"/>
                <a:gd name="connsiteX52" fmla="*/ 5244 w 10000"/>
                <a:gd name="connsiteY52" fmla="*/ 9341 h 10000"/>
                <a:gd name="connsiteX53" fmla="*/ 4489 w 10000"/>
                <a:gd name="connsiteY53" fmla="*/ 9341 h 10000"/>
                <a:gd name="connsiteX54" fmla="*/ 3778 w 10000"/>
                <a:gd name="connsiteY54" fmla="*/ 9414 h 10000"/>
                <a:gd name="connsiteX55" fmla="*/ 3200 w 10000"/>
                <a:gd name="connsiteY55" fmla="*/ 9487 h 10000"/>
                <a:gd name="connsiteX56" fmla="*/ 2667 w 10000"/>
                <a:gd name="connsiteY56" fmla="*/ 9560 h 10000"/>
                <a:gd name="connsiteX57" fmla="*/ 1689 w 10000"/>
                <a:gd name="connsiteY57" fmla="*/ 9780 h 10000"/>
                <a:gd name="connsiteX58" fmla="*/ 578 w 10000"/>
                <a:gd name="connsiteY58" fmla="*/ 10000 h 10000"/>
                <a:gd name="connsiteX59" fmla="*/ 844 w 10000"/>
                <a:gd name="connsiteY59" fmla="*/ 9560 h 10000"/>
                <a:gd name="connsiteX60" fmla="*/ 444 w 10000"/>
                <a:gd name="connsiteY60" fmla="*/ 9560 h 10000"/>
                <a:gd name="connsiteX61" fmla="*/ 0 w 10000"/>
                <a:gd name="connsiteY61" fmla="*/ 9560 h 10000"/>
                <a:gd name="connsiteX62" fmla="*/ 0 w 10000"/>
                <a:gd name="connsiteY62" fmla="*/ 7949 h 10000"/>
                <a:gd name="connsiteX63" fmla="*/ 356 w 10000"/>
                <a:gd name="connsiteY63" fmla="*/ 7912 h 10000"/>
                <a:gd name="connsiteX64" fmla="*/ 756 w 10000"/>
                <a:gd name="connsiteY64" fmla="*/ 7839 h 10000"/>
                <a:gd name="connsiteX65" fmla="*/ 933 w 10000"/>
                <a:gd name="connsiteY65" fmla="*/ 7766 h 10000"/>
                <a:gd name="connsiteX66" fmla="*/ 1067 w 10000"/>
                <a:gd name="connsiteY66" fmla="*/ 7692 h 10000"/>
                <a:gd name="connsiteX67" fmla="*/ 1111 w 10000"/>
                <a:gd name="connsiteY67" fmla="*/ 7619 h 10000"/>
                <a:gd name="connsiteX68" fmla="*/ 1156 w 10000"/>
                <a:gd name="connsiteY68" fmla="*/ 7509 h 10000"/>
                <a:gd name="connsiteX69" fmla="*/ 1778 w 10000"/>
                <a:gd name="connsiteY69" fmla="*/ 7509 h 10000"/>
                <a:gd name="connsiteX70" fmla="*/ 2400 w 10000"/>
                <a:gd name="connsiteY70" fmla="*/ 7473 h 10000"/>
                <a:gd name="connsiteX71" fmla="*/ 2667 w 10000"/>
                <a:gd name="connsiteY71" fmla="*/ 7399 h 10000"/>
                <a:gd name="connsiteX72" fmla="*/ 2844 w 10000"/>
                <a:gd name="connsiteY72" fmla="*/ 7326 h 10000"/>
                <a:gd name="connsiteX73" fmla="*/ 3067 w 10000"/>
                <a:gd name="connsiteY73" fmla="*/ 7216 h 10000"/>
                <a:gd name="connsiteX74" fmla="*/ 3200 w 10000"/>
                <a:gd name="connsiteY74" fmla="*/ 7070 h 10000"/>
                <a:gd name="connsiteX75" fmla="*/ 2844 w 10000"/>
                <a:gd name="connsiteY75" fmla="*/ 7143 h 10000"/>
                <a:gd name="connsiteX76" fmla="*/ 2400 w 10000"/>
                <a:gd name="connsiteY76" fmla="*/ 7253 h 10000"/>
                <a:gd name="connsiteX77" fmla="*/ 2133 w 10000"/>
                <a:gd name="connsiteY77" fmla="*/ 7253 h 10000"/>
                <a:gd name="connsiteX78" fmla="*/ 1956 w 10000"/>
                <a:gd name="connsiteY78" fmla="*/ 7253 h 10000"/>
                <a:gd name="connsiteX79" fmla="*/ 1822 w 10000"/>
                <a:gd name="connsiteY79" fmla="*/ 7253 h 10000"/>
                <a:gd name="connsiteX80" fmla="*/ 1778 w 10000"/>
                <a:gd name="connsiteY80" fmla="*/ 7216 h 10000"/>
                <a:gd name="connsiteX81" fmla="*/ 1733 w 10000"/>
                <a:gd name="connsiteY81" fmla="*/ 7143 h 10000"/>
                <a:gd name="connsiteX82" fmla="*/ 1733 w 10000"/>
                <a:gd name="connsiteY82" fmla="*/ 7070 h 10000"/>
                <a:gd name="connsiteX83" fmla="*/ 1733 w 10000"/>
                <a:gd name="connsiteY83" fmla="*/ 6886 h 10000"/>
                <a:gd name="connsiteX84" fmla="*/ 1822 w 10000"/>
                <a:gd name="connsiteY84" fmla="*/ 6703 h 10000"/>
                <a:gd name="connsiteX85" fmla="*/ 1956 w 10000"/>
                <a:gd name="connsiteY85" fmla="*/ 6520 h 10000"/>
                <a:gd name="connsiteX86" fmla="*/ 2044 w 10000"/>
                <a:gd name="connsiteY86" fmla="*/ 6337 h 10000"/>
                <a:gd name="connsiteX87" fmla="*/ 2222 w 10000"/>
                <a:gd name="connsiteY87" fmla="*/ 6081 h 10000"/>
                <a:gd name="connsiteX88" fmla="*/ 2311 w 10000"/>
                <a:gd name="connsiteY88" fmla="*/ 5934 h 10000"/>
                <a:gd name="connsiteX89" fmla="*/ 1733 w 10000"/>
                <a:gd name="connsiteY89" fmla="*/ 5861 h 10000"/>
                <a:gd name="connsiteX90" fmla="*/ 1244 w 10000"/>
                <a:gd name="connsiteY90" fmla="*/ 5751 h 10000"/>
                <a:gd name="connsiteX91" fmla="*/ 933 w 10000"/>
                <a:gd name="connsiteY91" fmla="*/ 5641 h 10000"/>
                <a:gd name="connsiteX92" fmla="*/ 622 w 10000"/>
                <a:gd name="connsiteY92" fmla="*/ 5495 h 10000"/>
                <a:gd name="connsiteX93" fmla="*/ 444 w 10000"/>
                <a:gd name="connsiteY93" fmla="*/ 5311 h 10000"/>
                <a:gd name="connsiteX94" fmla="*/ 311 w 10000"/>
                <a:gd name="connsiteY94" fmla="*/ 5055 h 10000"/>
                <a:gd name="connsiteX95" fmla="*/ 267 w 10000"/>
                <a:gd name="connsiteY95" fmla="*/ 4762 h 10000"/>
                <a:gd name="connsiteX96" fmla="*/ 267 w 10000"/>
                <a:gd name="connsiteY96" fmla="*/ 4396 h 10000"/>
                <a:gd name="connsiteX97" fmla="*/ 667 w 10000"/>
                <a:gd name="connsiteY97" fmla="*/ 4286 h 10000"/>
                <a:gd name="connsiteX98" fmla="*/ 978 w 10000"/>
                <a:gd name="connsiteY98" fmla="*/ 4212 h 10000"/>
                <a:gd name="connsiteX99" fmla="*/ 1156 w 10000"/>
                <a:gd name="connsiteY99" fmla="*/ 4103 h 10000"/>
                <a:gd name="connsiteX100" fmla="*/ 1333 w 10000"/>
                <a:gd name="connsiteY100" fmla="*/ 3993 h 10000"/>
                <a:gd name="connsiteX101" fmla="*/ 1556 w 10000"/>
                <a:gd name="connsiteY101" fmla="*/ 3736 h 10000"/>
                <a:gd name="connsiteX102" fmla="*/ 1733 w 10000"/>
                <a:gd name="connsiteY102" fmla="*/ 3443 h 10000"/>
                <a:gd name="connsiteX103" fmla="*/ 2489 w 10000"/>
                <a:gd name="connsiteY103" fmla="*/ 3443 h 10000"/>
                <a:gd name="connsiteX104" fmla="*/ 3022 w 10000"/>
                <a:gd name="connsiteY104" fmla="*/ 3443 h 10000"/>
                <a:gd name="connsiteX105" fmla="*/ 3422 w 10000"/>
                <a:gd name="connsiteY105" fmla="*/ 3443 h 10000"/>
                <a:gd name="connsiteX106" fmla="*/ 3778 w 10000"/>
                <a:gd name="connsiteY106" fmla="*/ 3443 h 10000"/>
                <a:gd name="connsiteX107" fmla="*/ 4000 w 10000"/>
                <a:gd name="connsiteY107" fmla="*/ 3443 h 10000"/>
                <a:gd name="connsiteX108" fmla="*/ 4178 w 10000"/>
                <a:gd name="connsiteY108" fmla="*/ 3407 h 10000"/>
                <a:gd name="connsiteX109" fmla="*/ 4311 w 10000"/>
                <a:gd name="connsiteY109" fmla="*/ 3333 h 10000"/>
                <a:gd name="connsiteX110" fmla="*/ 4444 w 10000"/>
                <a:gd name="connsiteY110" fmla="*/ 3223 h 10000"/>
                <a:gd name="connsiteX111" fmla="*/ 4622 w 10000"/>
                <a:gd name="connsiteY111" fmla="*/ 3004 h 10000"/>
                <a:gd name="connsiteX112" fmla="*/ 4711 w 10000"/>
                <a:gd name="connsiteY112" fmla="*/ 2674 h 10000"/>
                <a:gd name="connsiteX113" fmla="*/ 4800 w 10000"/>
                <a:gd name="connsiteY113" fmla="*/ 1905 h 10000"/>
                <a:gd name="connsiteX114" fmla="*/ 4978 w 10000"/>
                <a:gd name="connsiteY114" fmla="*/ 1209 h 10000"/>
                <a:gd name="connsiteX115" fmla="*/ 5200 w 10000"/>
                <a:gd name="connsiteY115" fmla="*/ 1172 h 10000"/>
                <a:gd name="connsiteX116" fmla="*/ 5333 w 10000"/>
                <a:gd name="connsiteY116" fmla="*/ 1136 h 10000"/>
                <a:gd name="connsiteX117" fmla="*/ 5511 w 10000"/>
                <a:gd name="connsiteY117" fmla="*/ 1062 h 10000"/>
                <a:gd name="connsiteX118" fmla="*/ 5600 w 10000"/>
                <a:gd name="connsiteY118" fmla="*/ 952 h 10000"/>
                <a:gd name="connsiteX119" fmla="*/ 5778 w 10000"/>
                <a:gd name="connsiteY119" fmla="*/ 733 h 10000"/>
                <a:gd name="connsiteX120" fmla="*/ 6044 w 10000"/>
                <a:gd name="connsiteY120" fmla="*/ 476 h 10000"/>
                <a:gd name="connsiteX121" fmla="*/ 6133 w 10000"/>
                <a:gd name="connsiteY121" fmla="*/ 366 h 10000"/>
                <a:gd name="connsiteX122" fmla="*/ 6267 w 10000"/>
                <a:gd name="connsiteY122" fmla="*/ 256 h 10000"/>
                <a:gd name="connsiteX123" fmla="*/ 6444 w 10000"/>
                <a:gd name="connsiteY123" fmla="*/ 147 h 10000"/>
                <a:gd name="connsiteX124" fmla="*/ 6622 w 10000"/>
                <a:gd name="connsiteY124" fmla="*/ 73 h 10000"/>
                <a:gd name="connsiteX125" fmla="*/ 6889 w 10000"/>
                <a:gd name="connsiteY125" fmla="*/ 37 h 10000"/>
                <a:gd name="connsiteX126" fmla="*/ 7156 w 10000"/>
                <a:gd name="connsiteY126" fmla="*/ 0 h 10000"/>
                <a:gd name="connsiteX127" fmla="*/ 7511 w 10000"/>
                <a:gd name="connsiteY127" fmla="*/ 37 h 10000"/>
                <a:gd name="connsiteX128" fmla="*/ 7956 w 10000"/>
                <a:gd name="connsiteY128" fmla="*/ 110 h 10000"/>
                <a:gd name="connsiteX129" fmla="*/ 8267 w 10000"/>
                <a:gd name="connsiteY129" fmla="*/ 733 h 10000"/>
                <a:gd name="connsiteX130" fmla="*/ 8622 w 10000"/>
                <a:gd name="connsiteY130" fmla="*/ 1245 h 10000"/>
                <a:gd name="connsiteX131" fmla="*/ 8667 w 10000"/>
                <a:gd name="connsiteY131" fmla="*/ 1392 h 10000"/>
                <a:gd name="connsiteX132" fmla="*/ 8711 w 10000"/>
                <a:gd name="connsiteY132" fmla="*/ 1502 h 10000"/>
                <a:gd name="connsiteX133" fmla="*/ 8711 w 10000"/>
                <a:gd name="connsiteY133" fmla="*/ 1612 h 10000"/>
                <a:gd name="connsiteX134" fmla="*/ 8711 w 10000"/>
                <a:gd name="connsiteY134" fmla="*/ 1722 h 10000"/>
                <a:gd name="connsiteX135" fmla="*/ 8667 w 10000"/>
                <a:gd name="connsiteY135" fmla="*/ 1832 h 10000"/>
                <a:gd name="connsiteX136" fmla="*/ 8578 w 10000"/>
                <a:gd name="connsiteY136" fmla="*/ 1905 h 10000"/>
                <a:gd name="connsiteX137" fmla="*/ 8444 w 10000"/>
                <a:gd name="connsiteY137" fmla="*/ 2051 h 10000"/>
                <a:gd name="connsiteX138" fmla="*/ 8960 w 10000"/>
                <a:gd name="connsiteY138" fmla="*/ 1960 h 10000"/>
                <a:gd name="connsiteX139" fmla="*/ 8779 w 10000"/>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9407 w 10584"/>
                <a:gd name="connsiteY16" fmla="*/ 3114 h 10000"/>
                <a:gd name="connsiteX17" fmla="*/ 8667 w 10584"/>
                <a:gd name="connsiteY17" fmla="*/ 3846 h 10000"/>
                <a:gd name="connsiteX18" fmla="*/ 9156 w 10584"/>
                <a:gd name="connsiteY18" fmla="*/ 388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8444 w 10584"/>
                <a:gd name="connsiteY137" fmla="*/ 2051 h 10000"/>
                <a:gd name="connsiteX138" fmla="*/ 8960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9407 w 10584"/>
                <a:gd name="connsiteY16" fmla="*/ 3114 h 10000"/>
                <a:gd name="connsiteX17" fmla="*/ 8667 w 10584"/>
                <a:gd name="connsiteY17" fmla="*/ 3846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8444 w 10584"/>
                <a:gd name="connsiteY137" fmla="*/ 2051 h 10000"/>
                <a:gd name="connsiteX138" fmla="*/ 8960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9407 w 10584"/>
                <a:gd name="connsiteY16" fmla="*/ 3114 h 10000"/>
                <a:gd name="connsiteX17" fmla="*/ 9651 w 10584"/>
                <a:gd name="connsiteY17" fmla="*/ 3187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8444 w 10584"/>
                <a:gd name="connsiteY137" fmla="*/ 2051 h 10000"/>
                <a:gd name="connsiteX138" fmla="*/ 8960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10145 w 10584"/>
                <a:gd name="connsiteY16" fmla="*/ 2784 h 10000"/>
                <a:gd name="connsiteX17" fmla="*/ 9651 w 10584"/>
                <a:gd name="connsiteY17" fmla="*/ 3187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8444 w 10584"/>
                <a:gd name="connsiteY137" fmla="*/ 2051 h 10000"/>
                <a:gd name="connsiteX138" fmla="*/ 8960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10145 w 10584"/>
                <a:gd name="connsiteY16" fmla="*/ 2784 h 10000"/>
                <a:gd name="connsiteX17" fmla="*/ 9651 w 10584"/>
                <a:gd name="connsiteY17" fmla="*/ 3187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8444 w 10584"/>
                <a:gd name="connsiteY137" fmla="*/ 2051 h 10000"/>
                <a:gd name="connsiteX138" fmla="*/ 9698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8222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10145 w 10584"/>
                <a:gd name="connsiteY16" fmla="*/ 2784 h 10000"/>
                <a:gd name="connsiteX17" fmla="*/ 9651 w 10584"/>
                <a:gd name="connsiteY17" fmla="*/ 3187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9919 w 10584"/>
                <a:gd name="connsiteY137" fmla="*/ 2051 h 10000"/>
                <a:gd name="connsiteX138" fmla="*/ 9698 w 10584"/>
                <a:gd name="connsiteY138" fmla="*/ 1960 h 10000"/>
                <a:gd name="connsiteX139" fmla="*/ 8779 w 10584"/>
                <a:gd name="connsiteY139" fmla="*/ 971 h 10000"/>
                <a:gd name="connsiteX0" fmla="*/ 8533 w 10584"/>
                <a:gd name="connsiteY0" fmla="*/ 2125 h 10000"/>
                <a:gd name="connsiteX1" fmla="*/ 8400 w 10584"/>
                <a:gd name="connsiteY1" fmla="*/ 2308 h 10000"/>
                <a:gd name="connsiteX2" fmla="*/ 9943 w 10584"/>
                <a:gd name="connsiteY2" fmla="*/ 2454 h 10000"/>
                <a:gd name="connsiteX3" fmla="*/ 9319 w 10584"/>
                <a:gd name="connsiteY3" fmla="*/ 2931 h 10000"/>
                <a:gd name="connsiteX4" fmla="*/ 9878 w 10584"/>
                <a:gd name="connsiteY4" fmla="*/ 2747 h 10000"/>
                <a:gd name="connsiteX5" fmla="*/ 9410 w 10584"/>
                <a:gd name="connsiteY5" fmla="*/ 2692 h 10000"/>
                <a:gd name="connsiteX6" fmla="*/ 8986 w 10584"/>
                <a:gd name="connsiteY6" fmla="*/ 1941 h 10000"/>
                <a:gd name="connsiteX7" fmla="*/ 8965 w 10584"/>
                <a:gd name="connsiteY7" fmla="*/ 2839 h 10000"/>
                <a:gd name="connsiteX8" fmla="*/ 9526 w 10584"/>
                <a:gd name="connsiteY8" fmla="*/ 3004 h 10000"/>
                <a:gd name="connsiteX9" fmla="*/ 9772 w 10584"/>
                <a:gd name="connsiteY9" fmla="*/ 3150 h 10000"/>
                <a:gd name="connsiteX10" fmla="*/ 9615 w 10584"/>
                <a:gd name="connsiteY10" fmla="*/ 1978 h 10000"/>
                <a:gd name="connsiteX11" fmla="*/ 9211 w 10584"/>
                <a:gd name="connsiteY11" fmla="*/ 2088 h 10000"/>
                <a:gd name="connsiteX12" fmla="*/ 9389 w 10584"/>
                <a:gd name="connsiteY12" fmla="*/ 2857 h 10000"/>
                <a:gd name="connsiteX13" fmla="*/ 9031 w 10584"/>
                <a:gd name="connsiteY13" fmla="*/ 3131 h 10000"/>
                <a:gd name="connsiteX14" fmla="*/ 9208 w 10584"/>
                <a:gd name="connsiteY14" fmla="*/ 3041 h 10000"/>
                <a:gd name="connsiteX15" fmla="*/ 9677 w 10584"/>
                <a:gd name="connsiteY15" fmla="*/ 2747 h 10000"/>
                <a:gd name="connsiteX16" fmla="*/ 10145 w 10584"/>
                <a:gd name="connsiteY16" fmla="*/ 2784 h 10000"/>
                <a:gd name="connsiteX17" fmla="*/ 9651 w 10584"/>
                <a:gd name="connsiteY17" fmla="*/ 3187 h 10000"/>
                <a:gd name="connsiteX18" fmla="*/ 9894 w 10584"/>
                <a:gd name="connsiteY18" fmla="*/ 4213 h 10000"/>
                <a:gd name="connsiteX19" fmla="*/ 10584 w 10584"/>
                <a:gd name="connsiteY19" fmla="*/ 3883 h 10000"/>
                <a:gd name="connsiteX20" fmla="*/ 10000 w 10584"/>
                <a:gd name="connsiteY20" fmla="*/ 3883 h 10000"/>
                <a:gd name="connsiteX21" fmla="*/ 10000 w 10584"/>
                <a:gd name="connsiteY21" fmla="*/ 4542 h 10000"/>
                <a:gd name="connsiteX22" fmla="*/ 10000 w 10584"/>
                <a:gd name="connsiteY22" fmla="*/ 5055 h 10000"/>
                <a:gd name="connsiteX23" fmla="*/ 10000 w 10584"/>
                <a:gd name="connsiteY23" fmla="*/ 5568 h 10000"/>
                <a:gd name="connsiteX24" fmla="*/ 10000 w 10584"/>
                <a:gd name="connsiteY24" fmla="*/ 6190 h 10000"/>
                <a:gd name="connsiteX25" fmla="*/ 10000 w 10584"/>
                <a:gd name="connsiteY25" fmla="*/ 6300 h 10000"/>
                <a:gd name="connsiteX26" fmla="*/ 9956 w 10584"/>
                <a:gd name="connsiteY26" fmla="*/ 6447 h 10000"/>
                <a:gd name="connsiteX27" fmla="*/ 9867 w 10584"/>
                <a:gd name="connsiteY27" fmla="*/ 6557 h 10000"/>
                <a:gd name="connsiteX28" fmla="*/ 9778 w 10584"/>
                <a:gd name="connsiteY28" fmla="*/ 6667 h 10000"/>
                <a:gd name="connsiteX29" fmla="*/ 9556 w 10584"/>
                <a:gd name="connsiteY29" fmla="*/ 6850 h 10000"/>
                <a:gd name="connsiteX30" fmla="*/ 9244 w 10584"/>
                <a:gd name="connsiteY30" fmla="*/ 7070 h 10000"/>
                <a:gd name="connsiteX31" fmla="*/ 9022 w 10584"/>
                <a:gd name="connsiteY31" fmla="*/ 7289 h 10000"/>
                <a:gd name="connsiteX32" fmla="*/ 8756 w 10584"/>
                <a:gd name="connsiteY32" fmla="*/ 7509 h 10000"/>
                <a:gd name="connsiteX33" fmla="*/ 8667 w 10584"/>
                <a:gd name="connsiteY33" fmla="*/ 7619 h 10000"/>
                <a:gd name="connsiteX34" fmla="*/ 8578 w 10584"/>
                <a:gd name="connsiteY34" fmla="*/ 7729 h 10000"/>
                <a:gd name="connsiteX35" fmla="*/ 8533 w 10584"/>
                <a:gd name="connsiteY35" fmla="*/ 7839 h 10000"/>
                <a:gd name="connsiteX36" fmla="*/ 8533 w 10584"/>
                <a:gd name="connsiteY36" fmla="*/ 7949 h 10000"/>
                <a:gd name="connsiteX37" fmla="*/ 8178 w 10584"/>
                <a:gd name="connsiteY37" fmla="*/ 7985 h 10000"/>
                <a:gd name="connsiteX38" fmla="*/ 7956 w 10584"/>
                <a:gd name="connsiteY38" fmla="*/ 7985 h 10000"/>
                <a:gd name="connsiteX39" fmla="*/ 7644 w 10584"/>
                <a:gd name="connsiteY39" fmla="*/ 8059 h 10000"/>
                <a:gd name="connsiteX40" fmla="*/ 7467 w 10584"/>
                <a:gd name="connsiteY40" fmla="*/ 8168 h 10000"/>
                <a:gd name="connsiteX41" fmla="*/ 7289 w 10584"/>
                <a:gd name="connsiteY41" fmla="*/ 8242 h 10000"/>
                <a:gd name="connsiteX42" fmla="*/ 7156 w 10584"/>
                <a:gd name="connsiteY42" fmla="*/ 8388 h 10000"/>
                <a:gd name="connsiteX43" fmla="*/ 7067 w 10584"/>
                <a:gd name="connsiteY43" fmla="*/ 8498 h 10000"/>
                <a:gd name="connsiteX44" fmla="*/ 7067 w 10584"/>
                <a:gd name="connsiteY44" fmla="*/ 8645 h 10000"/>
                <a:gd name="connsiteX45" fmla="*/ 6711 w 10584"/>
                <a:gd name="connsiteY45" fmla="*/ 8681 h 10000"/>
                <a:gd name="connsiteX46" fmla="*/ 6489 w 10584"/>
                <a:gd name="connsiteY46" fmla="*/ 8755 h 10000"/>
                <a:gd name="connsiteX47" fmla="*/ 6222 w 10584"/>
                <a:gd name="connsiteY47" fmla="*/ 8864 h 10000"/>
                <a:gd name="connsiteX48" fmla="*/ 6044 w 10584"/>
                <a:gd name="connsiteY48" fmla="*/ 9011 h 10000"/>
                <a:gd name="connsiteX49" fmla="*/ 5822 w 10584"/>
                <a:gd name="connsiteY49" fmla="*/ 9121 h 10000"/>
                <a:gd name="connsiteX50" fmla="*/ 5689 w 10584"/>
                <a:gd name="connsiteY50" fmla="*/ 9231 h 10000"/>
                <a:gd name="connsiteX51" fmla="*/ 5511 w 10584"/>
                <a:gd name="connsiteY51" fmla="*/ 9304 h 10000"/>
                <a:gd name="connsiteX52" fmla="*/ 5244 w 10584"/>
                <a:gd name="connsiteY52" fmla="*/ 9341 h 10000"/>
                <a:gd name="connsiteX53" fmla="*/ 4489 w 10584"/>
                <a:gd name="connsiteY53" fmla="*/ 9341 h 10000"/>
                <a:gd name="connsiteX54" fmla="*/ 3778 w 10584"/>
                <a:gd name="connsiteY54" fmla="*/ 9414 h 10000"/>
                <a:gd name="connsiteX55" fmla="*/ 3200 w 10584"/>
                <a:gd name="connsiteY55" fmla="*/ 9487 h 10000"/>
                <a:gd name="connsiteX56" fmla="*/ 2667 w 10584"/>
                <a:gd name="connsiteY56" fmla="*/ 9560 h 10000"/>
                <a:gd name="connsiteX57" fmla="*/ 1689 w 10584"/>
                <a:gd name="connsiteY57" fmla="*/ 9780 h 10000"/>
                <a:gd name="connsiteX58" fmla="*/ 578 w 10584"/>
                <a:gd name="connsiteY58" fmla="*/ 10000 h 10000"/>
                <a:gd name="connsiteX59" fmla="*/ 844 w 10584"/>
                <a:gd name="connsiteY59" fmla="*/ 9560 h 10000"/>
                <a:gd name="connsiteX60" fmla="*/ 444 w 10584"/>
                <a:gd name="connsiteY60" fmla="*/ 9560 h 10000"/>
                <a:gd name="connsiteX61" fmla="*/ 0 w 10584"/>
                <a:gd name="connsiteY61" fmla="*/ 9560 h 10000"/>
                <a:gd name="connsiteX62" fmla="*/ 0 w 10584"/>
                <a:gd name="connsiteY62" fmla="*/ 7949 h 10000"/>
                <a:gd name="connsiteX63" fmla="*/ 356 w 10584"/>
                <a:gd name="connsiteY63" fmla="*/ 7912 h 10000"/>
                <a:gd name="connsiteX64" fmla="*/ 756 w 10584"/>
                <a:gd name="connsiteY64" fmla="*/ 7839 h 10000"/>
                <a:gd name="connsiteX65" fmla="*/ 933 w 10584"/>
                <a:gd name="connsiteY65" fmla="*/ 7766 h 10000"/>
                <a:gd name="connsiteX66" fmla="*/ 1067 w 10584"/>
                <a:gd name="connsiteY66" fmla="*/ 7692 h 10000"/>
                <a:gd name="connsiteX67" fmla="*/ 1111 w 10584"/>
                <a:gd name="connsiteY67" fmla="*/ 7619 h 10000"/>
                <a:gd name="connsiteX68" fmla="*/ 1156 w 10584"/>
                <a:gd name="connsiteY68" fmla="*/ 7509 h 10000"/>
                <a:gd name="connsiteX69" fmla="*/ 1778 w 10584"/>
                <a:gd name="connsiteY69" fmla="*/ 7509 h 10000"/>
                <a:gd name="connsiteX70" fmla="*/ 2400 w 10584"/>
                <a:gd name="connsiteY70" fmla="*/ 7473 h 10000"/>
                <a:gd name="connsiteX71" fmla="*/ 2667 w 10584"/>
                <a:gd name="connsiteY71" fmla="*/ 7399 h 10000"/>
                <a:gd name="connsiteX72" fmla="*/ 2844 w 10584"/>
                <a:gd name="connsiteY72" fmla="*/ 7326 h 10000"/>
                <a:gd name="connsiteX73" fmla="*/ 3067 w 10584"/>
                <a:gd name="connsiteY73" fmla="*/ 7216 h 10000"/>
                <a:gd name="connsiteX74" fmla="*/ 3200 w 10584"/>
                <a:gd name="connsiteY74" fmla="*/ 7070 h 10000"/>
                <a:gd name="connsiteX75" fmla="*/ 2844 w 10584"/>
                <a:gd name="connsiteY75" fmla="*/ 7143 h 10000"/>
                <a:gd name="connsiteX76" fmla="*/ 2400 w 10584"/>
                <a:gd name="connsiteY76" fmla="*/ 7253 h 10000"/>
                <a:gd name="connsiteX77" fmla="*/ 2133 w 10584"/>
                <a:gd name="connsiteY77" fmla="*/ 7253 h 10000"/>
                <a:gd name="connsiteX78" fmla="*/ 1956 w 10584"/>
                <a:gd name="connsiteY78" fmla="*/ 7253 h 10000"/>
                <a:gd name="connsiteX79" fmla="*/ 1822 w 10584"/>
                <a:gd name="connsiteY79" fmla="*/ 7253 h 10000"/>
                <a:gd name="connsiteX80" fmla="*/ 1778 w 10584"/>
                <a:gd name="connsiteY80" fmla="*/ 7216 h 10000"/>
                <a:gd name="connsiteX81" fmla="*/ 1733 w 10584"/>
                <a:gd name="connsiteY81" fmla="*/ 7143 h 10000"/>
                <a:gd name="connsiteX82" fmla="*/ 1733 w 10584"/>
                <a:gd name="connsiteY82" fmla="*/ 7070 h 10000"/>
                <a:gd name="connsiteX83" fmla="*/ 1733 w 10584"/>
                <a:gd name="connsiteY83" fmla="*/ 6886 h 10000"/>
                <a:gd name="connsiteX84" fmla="*/ 1822 w 10584"/>
                <a:gd name="connsiteY84" fmla="*/ 6703 h 10000"/>
                <a:gd name="connsiteX85" fmla="*/ 1956 w 10584"/>
                <a:gd name="connsiteY85" fmla="*/ 6520 h 10000"/>
                <a:gd name="connsiteX86" fmla="*/ 2044 w 10584"/>
                <a:gd name="connsiteY86" fmla="*/ 6337 h 10000"/>
                <a:gd name="connsiteX87" fmla="*/ 2222 w 10584"/>
                <a:gd name="connsiteY87" fmla="*/ 6081 h 10000"/>
                <a:gd name="connsiteX88" fmla="*/ 2311 w 10584"/>
                <a:gd name="connsiteY88" fmla="*/ 5934 h 10000"/>
                <a:gd name="connsiteX89" fmla="*/ 1733 w 10584"/>
                <a:gd name="connsiteY89" fmla="*/ 5861 h 10000"/>
                <a:gd name="connsiteX90" fmla="*/ 1244 w 10584"/>
                <a:gd name="connsiteY90" fmla="*/ 5751 h 10000"/>
                <a:gd name="connsiteX91" fmla="*/ 933 w 10584"/>
                <a:gd name="connsiteY91" fmla="*/ 5641 h 10000"/>
                <a:gd name="connsiteX92" fmla="*/ 622 w 10584"/>
                <a:gd name="connsiteY92" fmla="*/ 5495 h 10000"/>
                <a:gd name="connsiteX93" fmla="*/ 444 w 10584"/>
                <a:gd name="connsiteY93" fmla="*/ 5311 h 10000"/>
                <a:gd name="connsiteX94" fmla="*/ 311 w 10584"/>
                <a:gd name="connsiteY94" fmla="*/ 5055 h 10000"/>
                <a:gd name="connsiteX95" fmla="*/ 267 w 10584"/>
                <a:gd name="connsiteY95" fmla="*/ 4762 h 10000"/>
                <a:gd name="connsiteX96" fmla="*/ 267 w 10584"/>
                <a:gd name="connsiteY96" fmla="*/ 4396 h 10000"/>
                <a:gd name="connsiteX97" fmla="*/ 667 w 10584"/>
                <a:gd name="connsiteY97" fmla="*/ 4286 h 10000"/>
                <a:gd name="connsiteX98" fmla="*/ 978 w 10584"/>
                <a:gd name="connsiteY98" fmla="*/ 4212 h 10000"/>
                <a:gd name="connsiteX99" fmla="*/ 1156 w 10584"/>
                <a:gd name="connsiteY99" fmla="*/ 4103 h 10000"/>
                <a:gd name="connsiteX100" fmla="*/ 1333 w 10584"/>
                <a:gd name="connsiteY100" fmla="*/ 3993 h 10000"/>
                <a:gd name="connsiteX101" fmla="*/ 1556 w 10584"/>
                <a:gd name="connsiteY101" fmla="*/ 3736 h 10000"/>
                <a:gd name="connsiteX102" fmla="*/ 1733 w 10584"/>
                <a:gd name="connsiteY102" fmla="*/ 3443 h 10000"/>
                <a:gd name="connsiteX103" fmla="*/ 2489 w 10584"/>
                <a:gd name="connsiteY103" fmla="*/ 3443 h 10000"/>
                <a:gd name="connsiteX104" fmla="*/ 3022 w 10584"/>
                <a:gd name="connsiteY104" fmla="*/ 3443 h 10000"/>
                <a:gd name="connsiteX105" fmla="*/ 3422 w 10584"/>
                <a:gd name="connsiteY105" fmla="*/ 3443 h 10000"/>
                <a:gd name="connsiteX106" fmla="*/ 3778 w 10584"/>
                <a:gd name="connsiteY106" fmla="*/ 3443 h 10000"/>
                <a:gd name="connsiteX107" fmla="*/ 4000 w 10584"/>
                <a:gd name="connsiteY107" fmla="*/ 3443 h 10000"/>
                <a:gd name="connsiteX108" fmla="*/ 4178 w 10584"/>
                <a:gd name="connsiteY108" fmla="*/ 3407 h 10000"/>
                <a:gd name="connsiteX109" fmla="*/ 4311 w 10584"/>
                <a:gd name="connsiteY109" fmla="*/ 3333 h 10000"/>
                <a:gd name="connsiteX110" fmla="*/ 4444 w 10584"/>
                <a:gd name="connsiteY110" fmla="*/ 3223 h 10000"/>
                <a:gd name="connsiteX111" fmla="*/ 4622 w 10584"/>
                <a:gd name="connsiteY111" fmla="*/ 3004 h 10000"/>
                <a:gd name="connsiteX112" fmla="*/ 4711 w 10584"/>
                <a:gd name="connsiteY112" fmla="*/ 2674 h 10000"/>
                <a:gd name="connsiteX113" fmla="*/ 4800 w 10584"/>
                <a:gd name="connsiteY113" fmla="*/ 1905 h 10000"/>
                <a:gd name="connsiteX114" fmla="*/ 4978 w 10584"/>
                <a:gd name="connsiteY114" fmla="*/ 1209 h 10000"/>
                <a:gd name="connsiteX115" fmla="*/ 5200 w 10584"/>
                <a:gd name="connsiteY115" fmla="*/ 1172 h 10000"/>
                <a:gd name="connsiteX116" fmla="*/ 5333 w 10584"/>
                <a:gd name="connsiteY116" fmla="*/ 1136 h 10000"/>
                <a:gd name="connsiteX117" fmla="*/ 5511 w 10584"/>
                <a:gd name="connsiteY117" fmla="*/ 1062 h 10000"/>
                <a:gd name="connsiteX118" fmla="*/ 5600 w 10584"/>
                <a:gd name="connsiteY118" fmla="*/ 952 h 10000"/>
                <a:gd name="connsiteX119" fmla="*/ 5778 w 10584"/>
                <a:gd name="connsiteY119" fmla="*/ 733 h 10000"/>
                <a:gd name="connsiteX120" fmla="*/ 6044 w 10584"/>
                <a:gd name="connsiteY120" fmla="*/ 476 h 10000"/>
                <a:gd name="connsiteX121" fmla="*/ 6133 w 10584"/>
                <a:gd name="connsiteY121" fmla="*/ 366 h 10000"/>
                <a:gd name="connsiteX122" fmla="*/ 6267 w 10584"/>
                <a:gd name="connsiteY122" fmla="*/ 256 h 10000"/>
                <a:gd name="connsiteX123" fmla="*/ 6444 w 10584"/>
                <a:gd name="connsiteY123" fmla="*/ 147 h 10000"/>
                <a:gd name="connsiteX124" fmla="*/ 6622 w 10584"/>
                <a:gd name="connsiteY124" fmla="*/ 73 h 10000"/>
                <a:gd name="connsiteX125" fmla="*/ 6889 w 10584"/>
                <a:gd name="connsiteY125" fmla="*/ 37 h 10000"/>
                <a:gd name="connsiteX126" fmla="*/ 7156 w 10584"/>
                <a:gd name="connsiteY126" fmla="*/ 0 h 10000"/>
                <a:gd name="connsiteX127" fmla="*/ 7511 w 10584"/>
                <a:gd name="connsiteY127" fmla="*/ 37 h 10000"/>
                <a:gd name="connsiteX128" fmla="*/ 7956 w 10584"/>
                <a:gd name="connsiteY128" fmla="*/ 110 h 10000"/>
                <a:gd name="connsiteX129" fmla="*/ 8267 w 10584"/>
                <a:gd name="connsiteY129" fmla="*/ 733 h 10000"/>
                <a:gd name="connsiteX130" fmla="*/ 8622 w 10584"/>
                <a:gd name="connsiteY130" fmla="*/ 1245 h 10000"/>
                <a:gd name="connsiteX131" fmla="*/ 8667 w 10584"/>
                <a:gd name="connsiteY131" fmla="*/ 1392 h 10000"/>
                <a:gd name="connsiteX132" fmla="*/ 8711 w 10584"/>
                <a:gd name="connsiteY132" fmla="*/ 1502 h 10000"/>
                <a:gd name="connsiteX133" fmla="*/ 8711 w 10584"/>
                <a:gd name="connsiteY133" fmla="*/ 1612 h 10000"/>
                <a:gd name="connsiteX134" fmla="*/ 8711 w 10584"/>
                <a:gd name="connsiteY134" fmla="*/ 1722 h 10000"/>
                <a:gd name="connsiteX135" fmla="*/ 8667 w 10584"/>
                <a:gd name="connsiteY135" fmla="*/ 1832 h 10000"/>
                <a:gd name="connsiteX136" fmla="*/ 8578 w 10584"/>
                <a:gd name="connsiteY136" fmla="*/ 1905 h 10000"/>
                <a:gd name="connsiteX137" fmla="*/ 9919 w 10584"/>
                <a:gd name="connsiteY137" fmla="*/ 2051 h 10000"/>
                <a:gd name="connsiteX138" fmla="*/ 9698 w 10584"/>
                <a:gd name="connsiteY138" fmla="*/ 1960 h 10000"/>
                <a:gd name="connsiteX139" fmla="*/ 8779 w 10584"/>
                <a:gd name="connsiteY139" fmla="*/ 971 h 10000"/>
                <a:gd name="connsiteX0" fmla="*/ 8533 w 10859"/>
                <a:gd name="connsiteY0" fmla="*/ 2125 h 10000"/>
                <a:gd name="connsiteX1" fmla="*/ 10859 w 10859"/>
                <a:gd name="connsiteY1" fmla="*/ 2473 h 10000"/>
                <a:gd name="connsiteX2" fmla="*/ 9943 w 10859"/>
                <a:gd name="connsiteY2" fmla="*/ 2454 h 10000"/>
                <a:gd name="connsiteX3" fmla="*/ 9319 w 10859"/>
                <a:gd name="connsiteY3" fmla="*/ 2931 h 10000"/>
                <a:gd name="connsiteX4" fmla="*/ 9878 w 10859"/>
                <a:gd name="connsiteY4" fmla="*/ 2747 h 10000"/>
                <a:gd name="connsiteX5" fmla="*/ 9410 w 10859"/>
                <a:gd name="connsiteY5" fmla="*/ 2692 h 10000"/>
                <a:gd name="connsiteX6" fmla="*/ 8986 w 10859"/>
                <a:gd name="connsiteY6" fmla="*/ 1941 h 10000"/>
                <a:gd name="connsiteX7" fmla="*/ 8965 w 10859"/>
                <a:gd name="connsiteY7" fmla="*/ 2839 h 10000"/>
                <a:gd name="connsiteX8" fmla="*/ 9526 w 10859"/>
                <a:gd name="connsiteY8" fmla="*/ 3004 h 10000"/>
                <a:gd name="connsiteX9" fmla="*/ 9772 w 10859"/>
                <a:gd name="connsiteY9" fmla="*/ 3150 h 10000"/>
                <a:gd name="connsiteX10" fmla="*/ 9615 w 10859"/>
                <a:gd name="connsiteY10" fmla="*/ 1978 h 10000"/>
                <a:gd name="connsiteX11" fmla="*/ 9211 w 10859"/>
                <a:gd name="connsiteY11" fmla="*/ 2088 h 10000"/>
                <a:gd name="connsiteX12" fmla="*/ 9389 w 10859"/>
                <a:gd name="connsiteY12" fmla="*/ 2857 h 10000"/>
                <a:gd name="connsiteX13" fmla="*/ 9031 w 10859"/>
                <a:gd name="connsiteY13" fmla="*/ 3131 h 10000"/>
                <a:gd name="connsiteX14" fmla="*/ 9208 w 10859"/>
                <a:gd name="connsiteY14" fmla="*/ 3041 h 10000"/>
                <a:gd name="connsiteX15" fmla="*/ 9677 w 10859"/>
                <a:gd name="connsiteY15" fmla="*/ 2747 h 10000"/>
                <a:gd name="connsiteX16" fmla="*/ 10145 w 10859"/>
                <a:gd name="connsiteY16" fmla="*/ 2784 h 10000"/>
                <a:gd name="connsiteX17" fmla="*/ 9651 w 10859"/>
                <a:gd name="connsiteY17" fmla="*/ 3187 h 10000"/>
                <a:gd name="connsiteX18" fmla="*/ 9894 w 10859"/>
                <a:gd name="connsiteY18" fmla="*/ 4213 h 10000"/>
                <a:gd name="connsiteX19" fmla="*/ 10584 w 10859"/>
                <a:gd name="connsiteY19" fmla="*/ 3883 h 10000"/>
                <a:gd name="connsiteX20" fmla="*/ 10000 w 10859"/>
                <a:gd name="connsiteY20" fmla="*/ 3883 h 10000"/>
                <a:gd name="connsiteX21" fmla="*/ 10000 w 10859"/>
                <a:gd name="connsiteY21" fmla="*/ 4542 h 10000"/>
                <a:gd name="connsiteX22" fmla="*/ 10000 w 10859"/>
                <a:gd name="connsiteY22" fmla="*/ 5055 h 10000"/>
                <a:gd name="connsiteX23" fmla="*/ 10000 w 10859"/>
                <a:gd name="connsiteY23" fmla="*/ 5568 h 10000"/>
                <a:gd name="connsiteX24" fmla="*/ 10000 w 10859"/>
                <a:gd name="connsiteY24" fmla="*/ 6190 h 10000"/>
                <a:gd name="connsiteX25" fmla="*/ 10000 w 10859"/>
                <a:gd name="connsiteY25" fmla="*/ 6300 h 10000"/>
                <a:gd name="connsiteX26" fmla="*/ 9956 w 10859"/>
                <a:gd name="connsiteY26" fmla="*/ 6447 h 10000"/>
                <a:gd name="connsiteX27" fmla="*/ 9867 w 10859"/>
                <a:gd name="connsiteY27" fmla="*/ 6557 h 10000"/>
                <a:gd name="connsiteX28" fmla="*/ 9778 w 10859"/>
                <a:gd name="connsiteY28" fmla="*/ 6667 h 10000"/>
                <a:gd name="connsiteX29" fmla="*/ 9556 w 10859"/>
                <a:gd name="connsiteY29" fmla="*/ 6850 h 10000"/>
                <a:gd name="connsiteX30" fmla="*/ 9244 w 10859"/>
                <a:gd name="connsiteY30" fmla="*/ 7070 h 10000"/>
                <a:gd name="connsiteX31" fmla="*/ 9022 w 10859"/>
                <a:gd name="connsiteY31" fmla="*/ 7289 h 10000"/>
                <a:gd name="connsiteX32" fmla="*/ 8756 w 10859"/>
                <a:gd name="connsiteY32" fmla="*/ 7509 h 10000"/>
                <a:gd name="connsiteX33" fmla="*/ 8667 w 10859"/>
                <a:gd name="connsiteY33" fmla="*/ 7619 h 10000"/>
                <a:gd name="connsiteX34" fmla="*/ 8578 w 10859"/>
                <a:gd name="connsiteY34" fmla="*/ 7729 h 10000"/>
                <a:gd name="connsiteX35" fmla="*/ 8533 w 10859"/>
                <a:gd name="connsiteY35" fmla="*/ 7839 h 10000"/>
                <a:gd name="connsiteX36" fmla="*/ 8533 w 10859"/>
                <a:gd name="connsiteY36" fmla="*/ 7949 h 10000"/>
                <a:gd name="connsiteX37" fmla="*/ 8178 w 10859"/>
                <a:gd name="connsiteY37" fmla="*/ 7985 h 10000"/>
                <a:gd name="connsiteX38" fmla="*/ 7956 w 10859"/>
                <a:gd name="connsiteY38" fmla="*/ 7985 h 10000"/>
                <a:gd name="connsiteX39" fmla="*/ 7644 w 10859"/>
                <a:gd name="connsiteY39" fmla="*/ 8059 h 10000"/>
                <a:gd name="connsiteX40" fmla="*/ 7467 w 10859"/>
                <a:gd name="connsiteY40" fmla="*/ 8168 h 10000"/>
                <a:gd name="connsiteX41" fmla="*/ 7289 w 10859"/>
                <a:gd name="connsiteY41" fmla="*/ 8242 h 10000"/>
                <a:gd name="connsiteX42" fmla="*/ 7156 w 10859"/>
                <a:gd name="connsiteY42" fmla="*/ 8388 h 10000"/>
                <a:gd name="connsiteX43" fmla="*/ 7067 w 10859"/>
                <a:gd name="connsiteY43" fmla="*/ 8498 h 10000"/>
                <a:gd name="connsiteX44" fmla="*/ 7067 w 10859"/>
                <a:gd name="connsiteY44" fmla="*/ 8645 h 10000"/>
                <a:gd name="connsiteX45" fmla="*/ 6711 w 10859"/>
                <a:gd name="connsiteY45" fmla="*/ 8681 h 10000"/>
                <a:gd name="connsiteX46" fmla="*/ 6489 w 10859"/>
                <a:gd name="connsiteY46" fmla="*/ 8755 h 10000"/>
                <a:gd name="connsiteX47" fmla="*/ 6222 w 10859"/>
                <a:gd name="connsiteY47" fmla="*/ 8864 h 10000"/>
                <a:gd name="connsiteX48" fmla="*/ 6044 w 10859"/>
                <a:gd name="connsiteY48" fmla="*/ 9011 h 10000"/>
                <a:gd name="connsiteX49" fmla="*/ 5822 w 10859"/>
                <a:gd name="connsiteY49" fmla="*/ 9121 h 10000"/>
                <a:gd name="connsiteX50" fmla="*/ 5689 w 10859"/>
                <a:gd name="connsiteY50" fmla="*/ 9231 h 10000"/>
                <a:gd name="connsiteX51" fmla="*/ 5511 w 10859"/>
                <a:gd name="connsiteY51" fmla="*/ 9304 h 10000"/>
                <a:gd name="connsiteX52" fmla="*/ 5244 w 10859"/>
                <a:gd name="connsiteY52" fmla="*/ 9341 h 10000"/>
                <a:gd name="connsiteX53" fmla="*/ 4489 w 10859"/>
                <a:gd name="connsiteY53" fmla="*/ 9341 h 10000"/>
                <a:gd name="connsiteX54" fmla="*/ 3778 w 10859"/>
                <a:gd name="connsiteY54" fmla="*/ 9414 h 10000"/>
                <a:gd name="connsiteX55" fmla="*/ 3200 w 10859"/>
                <a:gd name="connsiteY55" fmla="*/ 9487 h 10000"/>
                <a:gd name="connsiteX56" fmla="*/ 2667 w 10859"/>
                <a:gd name="connsiteY56" fmla="*/ 9560 h 10000"/>
                <a:gd name="connsiteX57" fmla="*/ 1689 w 10859"/>
                <a:gd name="connsiteY57" fmla="*/ 9780 h 10000"/>
                <a:gd name="connsiteX58" fmla="*/ 578 w 10859"/>
                <a:gd name="connsiteY58" fmla="*/ 10000 h 10000"/>
                <a:gd name="connsiteX59" fmla="*/ 844 w 10859"/>
                <a:gd name="connsiteY59" fmla="*/ 9560 h 10000"/>
                <a:gd name="connsiteX60" fmla="*/ 444 w 10859"/>
                <a:gd name="connsiteY60" fmla="*/ 9560 h 10000"/>
                <a:gd name="connsiteX61" fmla="*/ 0 w 10859"/>
                <a:gd name="connsiteY61" fmla="*/ 9560 h 10000"/>
                <a:gd name="connsiteX62" fmla="*/ 0 w 10859"/>
                <a:gd name="connsiteY62" fmla="*/ 7949 h 10000"/>
                <a:gd name="connsiteX63" fmla="*/ 356 w 10859"/>
                <a:gd name="connsiteY63" fmla="*/ 7912 h 10000"/>
                <a:gd name="connsiteX64" fmla="*/ 756 w 10859"/>
                <a:gd name="connsiteY64" fmla="*/ 7839 h 10000"/>
                <a:gd name="connsiteX65" fmla="*/ 933 w 10859"/>
                <a:gd name="connsiteY65" fmla="*/ 7766 h 10000"/>
                <a:gd name="connsiteX66" fmla="*/ 1067 w 10859"/>
                <a:gd name="connsiteY66" fmla="*/ 7692 h 10000"/>
                <a:gd name="connsiteX67" fmla="*/ 1111 w 10859"/>
                <a:gd name="connsiteY67" fmla="*/ 7619 h 10000"/>
                <a:gd name="connsiteX68" fmla="*/ 1156 w 10859"/>
                <a:gd name="connsiteY68" fmla="*/ 7509 h 10000"/>
                <a:gd name="connsiteX69" fmla="*/ 1778 w 10859"/>
                <a:gd name="connsiteY69" fmla="*/ 7509 h 10000"/>
                <a:gd name="connsiteX70" fmla="*/ 2400 w 10859"/>
                <a:gd name="connsiteY70" fmla="*/ 7473 h 10000"/>
                <a:gd name="connsiteX71" fmla="*/ 2667 w 10859"/>
                <a:gd name="connsiteY71" fmla="*/ 7399 h 10000"/>
                <a:gd name="connsiteX72" fmla="*/ 2844 w 10859"/>
                <a:gd name="connsiteY72" fmla="*/ 7326 h 10000"/>
                <a:gd name="connsiteX73" fmla="*/ 3067 w 10859"/>
                <a:gd name="connsiteY73" fmla="*/ 7216 h 10000"/>
                <a:gd name="connsiteX74" fmla="*/ 3200 w 10859"/>
                <a:gd name="connsiteY74" fmla="*/ 7070 h 10000"/>
                <a:gd name="connsiteX75" fmla="*/ 2844 w 10859"/>
                <a:gd name="connsiteY75" fmla="*/ 7143 h 10000"/>
                <a:gd name="connsiteX76" fmla="*/ 2400 w 10859"/>
                <a:gd name="connsiteY76" fmla="*/ 7253 h 10000"/>
                <a:gd name="connsiteX77" fmla="*/ 2133 w 10859"/>
                <a:gd name="connsiteY77" fmla="*/ 7253 h 10000"/>
                <a:gd name="connsiteX78" fmla="*/ 1956 w 10859"/>
                <a:gd name="connsiteY78" fmla="*/ 7253 h 10000"/>
                <a:gd name="connsiteX79" fmla="*/ 1822 w 10859"/>
                <a:gd name="connsiteY79" fmla="*/ 7253 h 10000"/>
                <a:gd name="connsiteX80" fmla="*/ 1778 w 10859"/>
                <a:gd name="connsiteY80" fmla="*/ 7216 h 10000"/>
                <a:gd name="connsiteX81" fmla="*/ 1733 w 10859"/>
                <a:gd name="connsiteY81" fmla="*/ 7143 h 10000"/>
                <a:gd name="connsiteX82" fmla="*/ 1733 w 10859"/>
                <a:gd name="connsiteY82" fmla="*/ 7070 h 10000"/>
                <a:gd name="connsiteX83" fmla="*/ 1733 w 10859"/>
                <a:gd name="connsiteY83" fmla="*/ 6886 h 10000"/>
                <a:gd name="connsiteX84" fmla="*/ 1822 w 10859"/>
                <a:gd name="connsiteY84" fmla="*/ 6703 h 10000"/>
                <a:gd name="connsiteX85" fmla="*/ 1956 w 10859"/>
                <a:gd name="connsiteY85" fmla="*/ 6520 h 10000"/>
                <a:gd name="connsiteX86" fmla="*/ 2044 w 10859"/>
                <a:gd name="connsiteY86" fmla="*/ 6337 h 10000"/>
                <a:gd name="connsiteX87" fmla="*/ 2222 w 10859"/>
                <a:gd name="connsiteY87" fmla="*/ 6081 h 10000"/>
                <a:gd name="connsiteX88" fmla="*/ 2311 w 10859"/>
                <a:gd name="connsiteY88" fmla="*/ 5934 h 10000"/>
                <a:gd name="connsiteX89" fmla="*/ 1733 w 10859"/>
                <a:gd name="connsiteY89" fmla="*/ 5861 h 10000"/>
                <a:gd name="connsiteX90" fmla="*/ 1244 w 10859"/>
                <a:gd name="connsiteY90" fmla="*/ 5751 h 10000"/>
                <a:gd name="connsiteX91" fmla="*/ 933 w 10859"/>
                <a:gd name="connsiteY91" fmla="*/ 5641 h 10000"/>
                <a:gd name="connsiteX92" fmla="*/ 622 w 10859"/>
                <a:gd name="connsiteY92" fmla="*/ 5495 h 10000"/>
                <a:gd name="connsiteX93" fmla="*/ 444 w 10859"/>
                <a:gd name="connsiteY93" fmla="*/ 5311 h 10000"/>
                <a:gd name="connsiteX94" fmla="*/ 311 w 10859"/>
                <a:gd name="connsiteY94" fmla="*/ 5055 h 10000"/>
                <a:gd name="connsiteX95" fmla="*/ 267 w 10859"/>
                <a:gd name="connsiteY95" fmla="*/ 4762 h 10000"/>
                <a:gd name="connsiteX96" fmla="*/ 267 w 10859"/>
                <a:gd name="connsiteY96" fmla="*/ 4396 h 10000"/>
                <a:gd name="connsiteX97" fmla="*/ 667 w 10859"/>
                <a:gd name="connsiteY97" fmla="*/ 4286 h 10000"/>
                <a:gd name="connsiteX98" fmla="*/ 978 w 10859"/>
                <a:gd name="connsiteY98" fmla="*/ 4212 h 10000"/>
                <a:gd name="connsiteX99" fmla="*/ 1156 w 10859"/>
                <a:gd name="connsiteY99" fmla="*/ 4103 h 10000"/>
                <a:gd name="connsiteX100" fmla="*/ 1333 w 10859"/>
                <a:gd name="connsiteY100" fmla="*/ 3993 h 10000"/>
                <a:gd name="connsiteX101" fmla="*/ 1556 w 10859"/>
                <a:gd name="connsiteY101" fmla="*/ 3736 h 10000"/>
                <a:gd name="connsiteX102" fmla="*/ 1733 w 10859"/>
                <a:gd name="connsiteY102" fmla="*/ 3443 h 10000"/>
                <a:gd name="connsiteX103" fmla="*/ 2489 w 10859"/>
                <a:gd name="connsiteY103" fmla="*/ 3443 h 10000"/>
                <a:gd name="connsiteX104" fmla="*/ 3022 w 10859"/>
                <a:gd name="connsiteY104" fmla="*/ 3443 h 10000"/>
                <a:gd name="connsiteX105" fmla="*/ 3422 w 10859"/>
                <a:gd name="connsiteY105" fmla="*/ 3443 h 10000"/>
                <a:gd name="connsiteX106" fmla="*/ 3778 w 10859"/>
                <a:gd name="connsiteY106" fmla="*/ 3443 h 10000"/>
                <a:gd name="connsiteX107" fmla="*/ 4000 w 10859"/>
                <a:gd name="connsiteY107" fmla="*/ 3443 h 10000"/>
                <a:gd name="connsiteX108" fmla="*/ 4178 w 10859"/>
                <a:gd name="connsiteY108" fmla="*/ 3407 h 10000"/>
                <a:gd name="connsiteX109" fmla="*/ 4311 w 10859"/>
                <a:gd name="connsiteY109" fmla="*/ 3333 h 10000"/>
                <a:gd name="connsiteX110" fmla="*/ 4444 w 10859"/>
                <a:gd name="connsiteY110" fmla="*/ 3223 h 10000"/>
                <a:gd name="connsiteX111" fmla="*/ 4622 w 10859"/>
                <a:gd name="connsiteY111" fmla="*/ 3004 h 10000"/>
                <a:gd name="connsiteX112" fmla="*/ 4711 w 10859"/>
                <a:gd name="connsiteY112" fmla="*/ 2674 h 10000"/>
                <a:gd name="connsiteX113" fmla="*/ 4800 w 10859"/>
                <a:gd name="connsiteY113" fmla="*/ 1905 h 10000"/>
                <a:gd name="connsiteX114" fmla="*/ 4978 w 10859"/>
                <a:gd name="connsiteY114" fmla="*/ 1209 h 10000"/>
                <a:gd name="connsiteX115" fmla="*/ 5200 w 10859"/>
                <a:gd name="connsiteY115" fmla="*/ 1172 h 10000"/>
                <a:gd name="connsiteX116" fmla="*/ 5333 w 10859"/>
                <a:gd name="connsiteY116" fmla="*/ 1136 h 10000"/>
                <a:gd name="connsiteX117" fmla="*/ 5511 w 10859"/>
                <a:gd name="connsiteY117" fmla="*/ 1062 h 10000"/>
                <a:gd name="connsiteX118" fmla="*/ 5600 w 10859"/>
                <a:gd name="connsiteY118" fmla="*/ 952 h 10000"/>
                <a:gd name="connsiteX119" fmla="*/ 5778 w 10859"/>
                <a:gd name="connsiteY119" fmla="*/ 733 h 10000"/>
                <a:gd name="connsiteX120" fmla="*/ 6044 w 10859"/>
                <a:gd name="connsiteY120" fmla="*/ 476 h 10000"/>
                <a:gd name="connsiteX121" fmla="*/ 6133 w 10859"/>
                <a:gd name="connsiteY121" fmla="*/ 366 h 10000"/>
                <a:gd name="connsiteX122" fmla="*/ 6267 w 10859"/>
                <a:gd name="connsiteY122" fmla="*/ 256 h 10000"/>
                <a:gd name="connsiteX123" fmla="*/ 6444 w 10859"/>
                <a:gd name="connsiteY123" fmla="*/ 147 h 10000"/>
                <a:gd name="connsiteX124" fmla="*/ 6622 w 10859"/>
                <a:gd name="connsiteY124" fmla="*/ 73 h 10000"/>
                <a:gd name="connsiteX125" fmla="*/ 6889 w 10859"/>
                <a:gd name="connsiteY125" fmla="*/ 37 h 10000"/>
                <a:gd name="connsiteX126" fmla="*/ 7156 w 10859"/>
                <a:gd name="connsiteY126" fmla="*/ 0 h 10000"/>
                <a:gd name="connsiteX127" fmla="*/ 7511 w 10859"/>
                <a:gd name="connsiteY127" fmla="*/ 37 h 10000"/>
                <a:gd name="connsiteX128" fmla="*/ 7956 w 10859"/>
                <a:gd name="connsiteY128" fmla="*/ 110 h 10000"/>
                <a:gd name="connsiteX129" fmla="*/ 8267 w 10859"/>
                <a:gd name="connsiteY129" fmla="*/ 733 h 10000"/>
                <a:gd name="connsiteX130" fmla="*/ 8622 w 10859"/>
                <a:gd name="connsiteY130" fmla="*/ 1245 h 10000"/>
                <a:gd name="connsiteX131" fmla="*/ 8667 w 10859"/>
                <a:gd name="connsiteY131" fmla="*/ 1392 h 10000"/>
                <a:gd name="connsiteX132" fmla="*/ 8711 w 10859"/>
                <a:gd name="connsiteY132" fmla="*/ 1502 h 10000"/>
                <a:gd name="connsiteX133" fmla="*/ 8711 w 10859"/>
                <a:gd name="connsiteY133" fmla="*/ 1612 h 10000"/>
                <a:gd name="connsiteX134" fmla="*/ 8711 w 10859"/>
                <a:gd name="connsiteY134" fmla="*/ 1722 h 10000"/>
                <a:gd name="connsiteX135" fmla="*/ 8667 w 10859"/>
                <a:gd name="connsiteY135" fmla="*/ 1832 h 10000"/>
                <a:gd name="connsiteX136" fmla="*/ 8578 w 10859"/>
                <a:gd name="connsiteY136" fmla="*/ 1905 h 10000"/>
                <a:gd name="connsiteX137" fmla="*/ 9919 w 10859"/>
                <a:gd name="connsiteY137" fmla="*/ 2051 h 10000"/>
                <a:gd name="connsiteX138" fmla="*/ 9698 w 10859"/>
                <a:gd name="connsiteY138" fmla="*/ 1960 h 10000"/>
                <a:gd name="connsiteX139" fmla="*/ 8779 w 10859"/>
                <a:gd name="connsiteY139" fmla="*/ 971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9208 w 11372"/>
                <a:gd name="connsiteY14" fmla="*/ 3041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8711 w 11372"/>
                <a:gd name="connsiteY134" fmla="*/ 1722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8779 w 11372"/>
                <a:gd name="connsiteY139" fmla="*/ 971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8711 w 11372"/>
                <a:gd name="connsiteY134" fmla="*/ 1722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8779 w 11372"/>
                <a:gd name="connsiteY139" fmla="*/ 971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8711 w 11372"/>
                <a:gd name="connsiteY134" fmla="*/ 1722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7517 w 11372"/>
                <a:gd name="connsiteY139" fmla="*/ 2732 h 10000"/>
                <a:gd name="connsiteX140" fmla="*/ 8779 w 11372"/>
                <a:gd name="connsiteY140" fmla="*/ 971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8711 w 11372"/>
                <a:gd name="connsiteY134" fmla="*/ 1722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7517 w 11372"/>
                <a:gd name="connsiteY139" fmla="*/ 2732 h 10000"/>
                <a:gd name="connsiteX140" fmla="*/ 7304 w 11372"/>
                <a:gd name="connsiteY140" fmla="*/ 2125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6990 w 11372"/>
                <a:gd name="connsiteY134" fmla="*/ 2217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7517 w 11372"/>
                <a:gd name="connsiteY139" fmla="*/ 2732 h 10000"/>
                <a:gd name="connsiteX140" fmla="*/ 7304 w 11372"/>
                <a:gd name="connsiteY140" fmla="*/ 2125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6990 w 11372"/>
                <a:gd name="connsiteY134" fmla="*/ 2217 h 10000"/>
                <a:gd name="connsiteX135" fmla="*/ 8667 w 11372"/>
                <a:gd name="connsiteY135" fmla="*/ 1832 h 10000"/>
                <a:gd name="connsiteX136" fmla="*/ 8578 w 11372"/>
                <a:gd name="connsiteY136" fmla="*/ 1905 h 10000"/>
                <a:gd name="connsiteX137" fmla="*/ 9919 w 11372"/>
                <a:gd name="connsiteY137" fmla="*/ 2051 h 10000"/>
                <a:gd name="connsiteX138" fmla="*/ 9698 w 11372"/>
                <a:gd name="connsiteY138" fmla="*/ 1960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6990 w 11372"/>
                <a:gd name="connsiteY134" fmla="*/ 2217 h 10000"/>
                <a:gd name="connsiteX135" fmla="*/ 8667 w 11372"/>
                <a:gd name="connsiteY135" fmla="*/ 1832 h 10000"/>
                <a:gd name="connsiteX136" fmla="*/ 8578 w 11372"/>
                <a:gd name="connsiteY136" fmla="*/ 1905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6990 w 11372"/>
                <a:gd name="connsiteY134" fmla="*/ 2217 h 10000"/>
                <a:gd name="connsiteX135" fmla="*/ 8667 w 11372"/>
                <a:gd name="connsiteY135" fmla="*/ 1832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8711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8711 w 11372"/>
                <a:gd name="connsiteY132" fmla="*/ 1502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8667 w 11372"/>
                <a:gd name="connsiteY131" fmla="*/ 1392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8622 w 11372"/>
                <a:gd name="connsiteY130" fmla="*/ 1245 h 10000"/>
                <a:gd name="connsiteX131" fmla="*/ 7929 w 11372"/>
                <a:gd name="connsiteY131" fmla="*/ 2875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211 w 11372"/>
                <a:gd name="connsiteY11" fmla="*/ 2088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6901 w 11372"/>
                <a:gd name="connsiteY130" fmla="*/ 1410 h 10000"/>
                <a:gd name="connsiteX131" fmla="*/ 7929 w 11372"/>
                <a:gd name="connsiteY131" fmla="*/ 2875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8986 w 11372"/>
                <a:gd name="connsiteY6" fmla="*/ 1941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703 w 11372"/>
                <a:gd name="connsiteY11" fmla="*/ 2912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6901 w 11372"/>
                <a:gd name="connsiteY130" fmla="*/ 1410 h 10000"/>
                <a:gd name="connsiteX131" fmla="*/ 7929 w 11372"/>
                <a:gd name="connsiteY131" fmla="*/ 2875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2125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9478 w 11372"/>
                <a:gd name="connsiteY6" fmla="*/ 3095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703 w 11372"/>
                <a:gd name="connsiteY11" fmla="*/ 2912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6901 w 11372"/>
                <a:gd name="connsiteY130" fmla="*/ 1410 h 10000"/>
                <a:gd name="connsiteX131" fmla="*/ 7929 w 11372"/>
                <a:gd name="connsiteY131" fmla="*/ 2875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 name="connsiteX0" fmla="*/ 8533 w 11372"/>
                <a:gd name="connsiteY0" fmla="*/ 3114 h 10000"/>
                <a:gd name="connsiteX1" fmla="*/ 10859 w 11372"/>
                <a:gd name="connsiteY1" fmla="*/ 2473 h 10000"/>
                <a:gd name="connsiteX2" fmla="*/ 9943 w 11372"/>
                <a:gd name="connsiteY2" fmla="*/ 2454 h 10000"/>
                <a:gd name="connsiteX3" fmla="*/ 9319 w 11372"/>
                <a:gd name="connsiteY3" fmla="*/ 2931 h 10000"/>
                <a:gd name="connsiteX4" fmla="*/ 9878 w 11372"/>
                <a:gd name="connsiteY4" fmla="*/ 2747 h 10000"/>
                <a:gd name="connsiteX5" fmla="*/ 9410 w 11372"/>
                <a:gd name="connsiteY5" fmla="*/ 2692 h 10000"/>
                <a:gd name="connsiteX6" fmla="*/ 9478 w 11372"/>
                <a:gd name="connsiteY6" fmla="*/ 3095 h 10000"/>
                <a:gd name="connsiteX7" fmla="*/ 8965 w 11372"/>
                <a:gd name="connsiteY7" fmla="*/ 2839 h 10000"/>
                <a:gd name="connsiteX8" fmla="*/ 9526 w 11372"/>
                <a:gd name="connsiteY8" fmla="*/ 3004 h 10000"/>
                <a:gd name="connsiteX9" fmla="*/ 9772 w 11372"/>
                <a:gd name="connsiteY9" fmla="*/ 3150 h 10000"/>
                <a:gd name="connsiteX10" fmla="*/ 9615 w 11372"/>
                <a:gd name="connsiteY10" fmla="*/ 1978 h 10000"/>
                <a:gd name="connsiteX11" fmla="*/ 9703 w 11372"/>
                <a:gd name="connsiteY11" fmla="*/ 2912 h 10000"/>
                <a:gd name="connsiteX12" fmla="*/ 9389 w 11372"/>
                <a:gd name="connsiteY12" fmla="*/ 2857 h 10000"/>
                <a:gd name="connsiteX13" fmla="*/ 9031 w 11372"/>
                <a:gd name="connsiteY13" fmla="*/ 3131 h 10000"/>
                <a:gd name="connsiteX14" fmla="*/ 10437 w 11372"/>
                <a:gd name="connsiteY14" fmla="*/ 3206 h 10000"/>
                <a:gd name="connsiteX15" fmla="*/ 9677 w 11372"/>
                <a:gd name="connsiteY15" fmla="*/ 2747 h 10000"/>
                <a:gd name="connsiteX16" fmla="*/ 10145 w 11372"/>
                <a:gd name="connsiteY16" fmla="*/ 2784 h 10000"/>
                <a:gd name="connsiteX17" fmla="*/ 11372 w 11372"/>
                <a:gd name="connsiteY17" fmla="*/ 3517 h 10000"/>
                <a:gd name="connsiteX18" fmla="*/ 9894 w 11372"/>
                <a:gd name="connsiteY18" fmla="*/ 4213 h 10000"/>
                <a:gd name="connsiteX19" fmla="*/ 10584 w 11372"/>
                <a:gd name="connsiteY19" fmla="*/ 3883 h 10000"/>
                <a:gd name="connsiteX20" fmla="*/ 10000 w 11372"/>
                <a:gd name="connsiteY20" fmla="*/ 3883 h 10000"/>
                <a:gd name="connsiteX21" fmla="*/ 10000 w 11372"/>
                <a:gd name="connsiteY21" fmla="*/ 4542 h 10000"/>
                <a:gd name="connsiteX22" fmla="*/ 10000 w 11372"/>
                <a:gd name="connsiteY22" fmla="*/ 5055 h 10000"/>
                <a:gd name="connsiteX23" fmla="*/ 10000 w 11372"/>
                <a:gd name="connsiteY23" fmla="*/ 5568 h 10000"/>
                <a:gd name="connsiteX24" fmla="*/ 10000 w 11372"/>
                <a:gd name="connsiteY24" fmla="*/ 6190 h 10000"/>
                <a:gd name="connsiteX25" fmla="*/ 10000 w 11372"/>
                <a:gd name="connsiteY25" fmla="*/ 6300 h 10000"/>
                <a:gd name="connsiteX26" fmla="*/ 9956 w 11372"/>
                <a:gd name="connsiteY26" fmla="*/ 6447 h 10000"/>
                <a:gd name="connsiteX27" fmla="*/ 9867 w 11372"/>
                <a:gd name="connsiteY27" fmla="*/ 6557 h 10000"/>
                <a:gd name="connsiteX28" fmla="*/ 9778 w 11372"/>
                <a:gd name="connsiteY28" fmla="*/ 6667 h 10000"/>
                <a:gd name="connsiteX29" fmla="*/ 9556 w 11372"/>
                <a:gd name="connsiteY29" fmla="*/ 6850 h 10000"/>
                <a:gd name="connsiteX30" fmla="*/ 9244 w 11372"/>
                <a:gd name="connsiteY30" fmla="*/ 7070 h 10000"/>
                <a:gd name="connsiteX31" fmla="*/ 9022 w 11372"/>
                <a:gd name="connsiteY31" fmla="*/ 7289 h 10000"/>
                <a:gd name="connsiteX32" fmla="*/ 8756 w 11372"/>
                <a:gd name="connsiteY32" fmla="*/ 7509 h 10000"/>
                <a:gd name="connsiteX33" fmla="*/ 8667 w 11372"/>
                <a:gd name="connsiteY33" fmla="*/ 7619 h 10000"/>
                <a:gd name="connsiteX34" fmla="*/ 8578 w 11372"/>
                <a:gd name="connsiteY34" fmla="*/ 7729 h 10000"/>
                <a:gd name="connsiteX35" fmla="*/ 8533 w 11372"/>
                <a:gd name="connsiteY35" fmla="*/ 7839 h 10000"/>
                <a:gd name="connsiteX36" fmla="*/ 8533 w 11372"/>
                <a:gd name="connsiteY36" fmla="*/ 7949 h 10000"/>
                <a:gd name="connsiteX37" fmla="*/ 8178 w 11372"/>
                <a:gd name="connsiteY37" fmla="*/ 7985 h 10000"/>
                <a:gd name="connsiteX38" fmla="*/ 7956 w 11372"/>
                <a:gd name="connsiteY38" fmla="*/ 7985 h 10000"/>
                <a:gd name="connsiteX39" fmla="*/ 7644 w 11372"/>
                <a:gd name="connsiteY39" fmla="*/ 8059 h 10000"/>
                <a:gd name="connsiteX40" fmla="*/ 7467 w 11372"/>
                <a:gd name="connsiteY40" fmla="*/ 8168 h 10000"/>
                <a:gd name="connsiteX41" fmla="*/ 7289 w 11372"/>
                <a:gd name="connsiteY41" fmla="*/ 8242 h 10000"/>
                <a:gd name="connsiteX42" fmla="*/ 7156 w 11372"/>
                <a:gd name="connsiteY42" fmla="*/ 8388 h 10000"/>
                <a:gd name="connsiteX43" fmla="*/ 7067 w 11372"/>
                <a:gd name="connsiteY43" fmla="*/ 8498 h 10000"/>
                <a:gd name="connsiteX44" fmla="*/ 7067 w 11372"/>
                <a:gd name="connsiteY44" fmla="*/ 8645 h 10000"/>
                <a:gd name="connsiteX45" fmla="*/ 6711 w 11372"/>
                <a:gd name="connsiteY45" fmla="*/ 8681 h 10000"/>
                <a:gd name="connsiteX46" fmla="*/ 6489 w 11372"/>
                <a:gd name="connsiteY46" fmla="*/ 8755 h 10000"/>
                <a:gd name="connsiteX47" fmla="*/ 6222 w 11372"/>
                <a:gd name="connsiteY47" fmla="*/ 8864 h 10000"/>
                <a:gd name="connsiteX48" fmla="*/ 6044 w 11372"/>
                <a:gd name="connsiteY48" fmla="*/ 9011 h 10000"/>
                <a:gd name="connsiteX49" fmla="*/ 5822 w 11372"/>
                <a:gd name="connsiteY49" fmla="*/ 9121 h 10000"/>
                <a:gd name="connsiteX50" fmla="*/ 5689 w 11372"/>
                <a:gd name="connsiteY50" fmla="*/ 9231 h 10000"/>
                <a:gd name="connsiteX51" fmla="*/ 5511 w 11372"/>
                <a:gd name="connsiteY51" fmla="*/ 9304 h 10000"/>
                <a:gd name="connsiteX52" fmla="*/ 5244 w 11372"/>
                <a:gd name="connsiteY52" fmla="*/ 9341 h 10000"/>
                <a:gd name="connsiteX53" fmla="*/ 4489 w 11372"/>
                <a:gd name="connsiteY53" fmla="*/ 9341 h 10000"/>
                <a:gd name="connsiteX54" fmla="*/ 3778 w 11372"/>
                <a:gd name="connsiteY54" fmla="*/ 9414 h 10000"/>
                <a:gd name="connsiteX55" fmla="*/ 3200 w 11372"/>
                <a:gd name="connsiteY55" fmla="*/ 9487 h 10000"/>
                <a:gd name="connsiteX56" fmla="*/ 2667 w 11372"/>
                <a:gd name="connsiteY56" fmla="*/ 9560 h 10000"/>
                <a:gd name="connsiteX57" fmla="*/ 1689 w 11372"/>
                <a:gd name="connsiteY57" fmla="*/ 9780 h 10000"/>
                <a:gd name="connsiteX58" fmla="*/ 578 w 11372"/>
                <a:gd name="connsiteY58" fmla="*/ 10000 h 10000"/>
                <a:gd name="connsiteX59" fmla="*/ 844 w 11372"/>
                <a:gd name="connsiteY59" fmla="*/ 9560 h 10000"/>
                <a:gd name="connsiteX60" fmla="*/ 444 w 11372"/>
                <a:gd name="connsiteY60" fmla="*/ 9560 h 10000"/>
                <a:gd name="connsiteX61" fmla="*/ 0 w 11372"/>
                <a:gd name="connsiteY61" fmla="*/ 9560 h 10000"/>
                <a:gd name="connsiteX62" fmla="*/ 0 w 11372"/>
                <a:gd name="connsiteY62" fmla="*/ 7949 h 10000"/>
                <a:gd name="connsiteX63" fmla="*/ 356 w 11372"/>
                <a:gd name="connsiteY63" fmla="*/ 7912 h 10000"/>
                <a:gd name="connsiteX64" fmla="*/ 756 w 11372"/>
                <a:gd name="connsiteY64" fmla="*/ 7839 h 10000"/>
                <a:gd name="connsiteX65" fmla="*/ 933 w 11372"/>
                <a:gd name="connsiteY65" fmla="*/ 7766 h 10000"/>
                <a:gd name="connsiteX66" fmla="*/ 1067 w 11372"/>
                <a:gd name="connsiteY66" fmla="*/ 7692 h 10000"/>
                <a:gd name="connsiteX67" fmla="*/ 1111 w 11372"/>
                <a:gd name="connsiteY67" fmla="*/ 7619 h 10000"/>
                <a:gd name="connsiteX68" fmla="*/ 1156 w 11372"/>
                <a:gd name="connsiteY68" fmla="*/ 7509 h 10000"/>
                <a:gd name="connsiteX69" fmla="*/ 1778 w 11372"/>
                <a:gd name="connsiteY69" fmla="*/ 7509 h 10000"/>
                <a:gd name="connsiteX70" fmla="*/ 2400 w 11372"/>
                <a:gd name="connsiteY70" fmla="*/ 7473 h 10000"/>
                <a:gd name="connsiteX71" fmla="*/ 2667 w 11372"/>
                <a:gd name="connsiteY71" fmla="*/ 7399 h 10000"/>
                <a:gd name="connsiteX72" fmla="*/ 2844 w 11372"/>
                <a:gd name="connsiteY72" fmla="*/ 7326 h 10000"/>
                <a:gd name="connsiteX73" fmla="*/ 3067 w 11372"/>
                <a:gd name="connsiteY73" fmla="*/ 7216 h 10000"/>
                <a:gd name="connsiteX74" fmla="*/ 3200 w 11372"/>
                <a:gd name="connsiteY74" fmla="*/ 7070 h 10000"/>
                <a:gd name="connsiteX75" fmla="*/ 2844 w 11372"/>
                <a:gd name="connsiteY75" fmla="*/ 7143 h 10000"/>
                <a:gd name="connsiteX76" fmla="*/ 2400 w 11372"/>
                <a:gd name="connsiteY76" fmla="*/ 7253 h 10000"/>
                <a:gd name="connsiteX77" fmla="*/ 2133 w 11372"/>
                <a:gd name="connsiteY77" fmla="*/ 7253 h 10000"/>
                <a:gd name="connsiteX78" fmla="*/ 1956 w 11372"/>
                <a:gd name="connsiteY78" fmla="*/ 7253 h 10000"/>
                <a:gd name="connsiteX79" fmla="*/ 1822 w 11372"/>
                <a:gd name="connsiteY79" fmla="*/ 7253 h 10000"/>
                <a:gd name="connsiteX80" fmla="*/ 1778 w 11372"/>
                <a:gd name="connsiteY80" fmla="*/ 7216 h 10000"/>
                <a:gd name="connsiteX81" fmla="*/ 1733 w 11372"/>
                <a:gd name="connsiteY81" fmla="*/ 7143 h 10000"/>
                <a:gd name="connsiteX82" fmla="*/ 1733 w 11372"/>
                <a:gd name="connsiteY82" fmla="*/ 7070 h 10000"/>
                <a:gd name="connsiteX83" fmla="*/ 1733 w 11372"/>
                <a:gd name="connsiteY83" fmla="*/ 6886 h 10000"/>
                <a:gd name="connsiteX84" fmla="*/ 1822 w 11372"/>
                <a:gd name="connsiteY84" fmla="*/ 6703 h 10000"/>
                <a:gd name="connsiteX85" fmla="*/ 1956 w 11372"/>
                <a:gd name="connsiteY85" fmla="*/ 6520 h 10000"/>
                <a:gd name="connsiteX86" fmla="*/ 2044 w 11372"/>
                <a:gd name="connsiteY86" fmla="*/ 6337 h 10000"/>
                <a:gd name="connsiteX87" fmla="*/ 2222 w 11372"/>
                <a:gd name="connsiteY87" fmla="*/ 6081 h 10000"/>
                <a:gd name="connsiteX88" fmla="*/ 2311 w 11372"/>
                <a:gd name="connsiteY88" fmla="*/ 5934 h 10000"/>
                <a:gd name="connsiteX89" fmla="*/ 1733 w 11372"/>
                <a:gd name="connsiteY89" fmla="*/ 5861 h 10000"/>
                <a:gd name="connsiteX90" fmla="*/ 1244 w 11372"/>
                <a:gd name="connsiteY90" fmla="*/ 5751 h 10000"/>
                <a:gd name="connsiteX91" fmla="*/ 933 w 11372"/>
                <a:gd name="connsiteY91" fmla="*/ 5641 h 10000"/>
                <a:gd name="connsiteX92" fmla="*/ 622 w 11372"/>
                <a:gd name="connsiteY92" fmla="*/ 5495 h 10000"/>
                <a:gd name="connsiteX93" fmla="*/ 444 w 11372"/>
                <a:gd name="connsiteY93" fmla="*/ 5311 h 10000"/>
                <a:gd name="connsiteX94" fmla="*/ 311 w 11372"/>
                <a:gd name="connsiteY94" fmla="*/ 5055 h 10000"/>
                <a:gd name="connsiteX95" fmla="*/ 267 w 11372"/>
                <a:gd name="connsiteY95" fmla="*/ 4762 h 10000"/>
                <a:gd name="connsiteX96" fmla="*/ 267 w 11372"/>
                <a:gd name="connsiteY96" fmla="*/ 4396 h 10000"/>
                <a:gd name="connsiteX97" fmla="*/ 667 w 11372"/>
                <a:gd name="connsiteY97" fmla="*/ 4286 h 10000"/>
                <a:gd name="connsiteX98" fmla="*/ 978 w 11372"/>
                <a:gd name="connsiteY98" fmla="*/ 4212 h 10000"/>
                <a:gd name="connsiteX99" fmla="*/ 1156 w 11372"/>
                <a:gd name="connsiteY99" fmla="*/ 4103 h 10000"/>
                <a:gd name="connsiteX100" fmla="*/ 1333 w 11372"/>
                <a:gd name="connsiteY100" fmla="*/ 3993 h 10000"/>
                <a:gd name="connsiteX101" fmla="*/ 1556 w 11372"/>
                <a:gd name="connsiteY101" fmla="*/ 3736 h 10000"/>
                <a:gd name="connsiteX102" fmla="*/ 1733 w 11372"/>
                <a:gd name="connsiteY102" fmla="*/ 3443 h 10000"/>
                <a:gd name="connsiteX103" fmla="*/ 2489 w 11372"/>
                <a:gd name="connsiteY103" fmla="*/ 3443 h 10000"/>
                <a:gd name="connsiteX104" fmla="*/ 3022 w 11372"/>
                <a:gd name="connsiteY104" fmla="*/ 3443 h 10000"/>
                <a:gd name="connsiteX105" fmla="*/ 3422 w 11372"/>
                <a:gd name="connsiteY105" fmla="*/ 3443 h 10000"/>
                <a:gd name="connsiteX106" fmla="*/ 3778 w 11372"/>
                <a:gd name="connsiteY106" fmla="*/ 3443 h 10000"/>
                <a:gd name="connsiteX107" fmla="*/ 4000 w 11372"/>
                <a:gd name="connsiteY107" fmla="*/ 3443 h 10000"/>
                <a:gd name="connsiteX108" fmla="*/ 4178 w 11372"/>
                <a:gd name="connsiteY108" fmla="*/ 3407 h 10000"/>
                <a:gd name="connsiteX109" fmla="*/ 4311 w 11372"/>
                <a:gd name="connsiteY109" fmla="*/ 3333 h 10000"/>
                <a:gd name="connsiteX110" fmla="*/ 4444 w 11372"/>
                <a:gd name="connsiteY110" fmla="*/ 3223 h 10000"/>
                <a:gd name="connsiteX111" fmla="*/ 4622 w 11372"/>
                <a:gd name="connsiteY111" fmla="*/ 3004 h 10000"/>
                <a:gd name="connsiteX112" fmla="*/ 4711 w 11372"/>
                <a:gd name="connsiteY112" fmla="*/ 2674 h 10000"/>
                <a:gd name="connsiteX113" fmla="*/ 4800 w 11372"/>
                <a:gd name="connsiteY113" fmla="*/ 1905 h 10000"/>
                <a:gd name="connsiteX114" fmla="*/ 4978 w 11372"/>
                <a:gd name="connsiteY114" fmla="*/ 1209 h 10000"/>
                <a:gd name="connsiteX115" fmla="*/ 5200 w 11372"/>
                <a:gd name="connsiteY115" fmla="*/ 1172 h 10000"/>
                <a:gd name="connsiteX116" fmla="*/ 5333 w 11372"/>
                <a:gd name="connsiteY116" fmla="*/ 1136 h 10000"/>
                <a:gd name="connsiteX117" fmla="*/ 5511 w 11372"/>
                <a:gd name="connsiteY117" fmla="*/ 1062 h 10000"/>
                <a:gd name="connsiteX118" fmla="*/ 5600 w 11372"/>
                <a:gd name="connsiteY118" fmla="*/ 952 h 10000"/>
                <a:gd name="connsiteX119" fmla="*/ 5778 w 11372"/>
                <a:gd name="connsiteY119" fmla="*/ 733 h 10000"/>
                <a:gd name="connsiteX120" fmla="*/ 6044 w 11372"/>
                <a:gd name="connsiteY120" fmla="*/ 476 h 10000"/>
                <a:gd name="connsiteX121" fmla="*/ 6133 w 11372"/>
                <a:gd name="connsiteY121" fmla="*/ 366 h 10000"/>
                <a:gd name="connsiteX122" fmla="*/ 6267 w 11372"/>
                <a:gd name="connsiteY122" fmla="*/ 256 h 10000"/>
                <a:gd name="connsiteX123" fmla="*/ 6444 w 11372"/>
                <a:gd name="connsiteY123" fmla="*/ 147 h 10000"/>
                <a:gd name="connsiteX124" fmla="*/ 6622 w 11372"/>
                <a:gd name="connsiteY124" fmla="*/ 73 h 10000"/>
                <a:gd name="connsiteX125" fmla="*/ 6889 w 11372"/>
                <a:gd name="connsiteY125" fmla="*/ 37 h 10000"/>
                <a:gd name="connsiteX126" fmla="*/ 7156 w 11372"/>
                <a:gd name="connsiteY126" fmla="*/ 0 h 10000"/>
                <a:gd name="connsiteX127" fmla="*/ 7511 w 11372"/>
                <a:gd name="connsiteY127" fmla="*/ 37 h 10000"/>
                <a:gd name="connsiteX128" fmla="*/ 7956 w 11372"/>
                <a:gd name="connsiteY128" fmla="*/ 110 h 10000"/>
                <a:gd name="connsiteX129" fmla="*/ 8267 w 11372"/>
                <a:gd name="connsiteY129" fmla="*/ 733 h 10000"/>
                <a:gd name="connsiteX130" fmla="*/ 6901 w 11372"/>
                <a:gd name="connsiteY130" fmla="*/ 1410 h 10000"/>
                <a:gd name="connsiteX131" fmla="*/ 7929 w 11372"/>
                <a:gd name="connsiteY131" fmla="*/ 2875 h 10000"/>
                <a:gd name="connsiteX132" fmla="*/ 6990 w 11372"/>
                <a:gd name="connsiteY132" fmla="*/ 3315 h 10000"/>
                <a:gd name="connsiteX133" fmla="*/ 7235 w 11372"/>
                <a:gd name="connsiteY133" fmla="*/ 1612 h 10000"/>
                <a:gd name="connsiteX134" fmla="*/ 6990 w 11372"/>
                <a:gd name="connsiteY134" fmla="*/ 2217 h 10000"/>
                <a:gd name="connsiteX135" fmla="*/ 7192 w 11372"/>
                <a:gd name="connsiteY135" fmla="*/ 2821 h 10000"/>
                <a:gd name="connsiteX136" fmla="*/ 7348 w 11372"/>
                <a:gd name="connsiteY136" fmla="*/ 3388 h 10000"/>
                <a:gd name="connsiteX137" fmla="*/ 9919 w 11372"/>
                <a:gd name="connsiteY137" fmla="*/ 2051 h 10000"/>
                <a:gd name="connsiteX138" fmla="*/ 8714 w 11372"/>
                <a:gd name="connsiteY138" fmla="*/ 2949 h 10000"/>
                <a:gd name="connsiteX139" fmla="*/ 7517 w 11372"/>
                <a:gd name="connsiteY139" fmla="*/ 2732 h 10000"/>
                <a:gd name="connsiteX140" fmla="*/ 7058 w 11372"/>
                <a:gd name="connsiteY140" fmla="*/ 294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11372" h="10000">
                  <a:moveTo>
                    <a:pt x="8533" y="3114"/>
                  </a:moveTo>
                  <a:cubicBezTo>
                    <a:pt x="8489" y="3175"/>
                    <a:pt x="10903" y="2412"/>
                    <a:pt x="10859" y="2473"/>
                  </a:cubicBezTo>
                  <a:cubicBezTo>
                    <a:pt x="10800" y="2522"/>
                    <a:pt x="10002" y="2405"/>
                    <a:pt x="9943" y="2454"/>
                  </a:cubicBezTo>
                  <a:lnTo>
                    <a:pt x="9319" y="2931"/>
                  </a:lnTo>
                  <a:cubicBezTo>
                    <a:pt x="9260" y="2980"/>
                    <a:pt x="9937" y="2698"/>
                    <a:pt x="9878" y="2747"/>
                  </a:cubicBezTo>
                  <a:lnTo>
                    <a:pt x="9410" y="2692"/>
                  </a:lnTo>
                  <a:cubicBezTo>
                    <a:pt x="9433" y="2826"/>
                    <a:pt x="9455" y="2961"/>
                    <a:pt x="9478" y="3095"/>
                  </a:cubicBezTo>
                  <a:cubicBezTo>
                    <a:pt x="9471" y="3394"/>
                    <a:pt x="8972" y="2540"/>
                    <a:pt x="8965" y="2839"/>
                  </a:cubicBezTo>
                  <a:lnTo>
                    <a:pt x="9526" y="3004"/>
                  </a:lnTo>
                  <a:lnTo>
                    <a:pt x="9772" y="3150"/>
                  </a:lnTo>
                  <a:cubicBezTo>
                    <a:pt x="9802" y="3199"/>
                    <a:pt x="9585" y="1929"/>
                    <a:pt x="9615" y="1978"/>
                  </a:cubicBezTo>
                  <a:cubicBezTo>
                    <a:pt x="9644" y="2015"/>
                    <a:pt x="9674" y="2875"/>
                    <a:pt x="9703" y="2912"/>
                  </a:cubicBezTo>
                  <a:cubicBezTo>
                    <a:pt x="9762" y="3168"/>
                    <a:pt x="9330" y="2601"/>
                    <a:pt x="9389" y="2857"/>
                  </a:cubicBezTo>
                  <a:lnTo>
                    <a:pt x="9031" y="3131"/>
                  </a:lnTo>
                  <a:lnTo>
                    <a:pt x="10437" y="3206"/>
                  </a:lnTo>
                  <a:lnTo>
                    <a:pt x="9677" y="2747"/>
                  </a:lnTo>
                  <a:lnTo>
                    <a:pt x="10145" y="2784"/>
                  </a:lnTo>
                  <a:lnTo>
                    <a:pt x="11372" y="3517"/>
                  </a:lnTo>
                  <a:lnTo>
                    <a:pt x="9894" y="4213"/>
                  </a:lnTo>
                  <a:lnTo>
                    <a:pt x="10584" y="3883"/>
                  </a:lnTo>
                  <a:lnTo>
                    <a:pt x="10000" y="3883"/>
                  </a:lnTo>
                  <a:lnTo>
                    <a:pt x="10000" y="4542"/>
                  </a:lnTo>
                  <a:lnTo>
                    <a:pt x="10000" y="5055"/>
                  </a:lnTo>
                  <a:lnTo>
                    <a:pt x="10000" y="5568"/>
                  </a:lnTo>
                  <a:lnTo>
                    <a:pt x="10000" y="6190"/>
                  </a:lnTo>
                  <a:lnTo>
                    <a:pt x="10000" y="6300"/>
                  </a:lnTo>
                  <a:cubicBezTo>
                    <a:pt x="9985" y="6349"/>
                    <a:pt x="9971" y="6398"/>
                    <a:pt x="9956" y="6447"/>
                  </a:cubicBezTo>
                  <a:lnTo>
                    <a:pt x="9867" y="6557"/>
                  </a:lnTo>
                  <a:lnTo>
                    <a:pt x="9778" y="6667"/>
                  </a:lnTo>
                  <a:lnTo>
                    <a:pt x="9556" y="6850"/>
                  </a:lnTo>
                  <a:lnTo>
                    <a:pt x="9244" y="7070"/>
                  </a:lnTo>
                  <a:lnTo>
                    <a:pt x="9022" y="7289"/>
                  </a:lnTo>
                  <a:lnTo>
                    <a:pt x="8756" y="7509"/>
                  </a:lnTo>
                  <a:lnTo>
                    <a:pt x="8667" y="7619"/>
                  </a:lnTo>
                  <a:lnTo>
                    <a:pt x="8578" y="7729"/>
                  </a:lnTo>
                  <a:cubicBezTo>
                    <a:pt x="8563" y="7766"/>
                    <a:pt x="8548" y="7802"/>
                    <a:pt x="8533" y="7839"/>
                  </a:cubicBezTo>
                  <a:lnTo>
                    <a:pt x="8533" y="7949"/>
                  </a:lnTo>
                  <a:lnTo>
                    <a:pt x="8178" y="7985"/>
                  </a:lnTo>
                  <a:lnTo>
                    <a:pt x="7956" y="7985"/>
                  </a:lnTo>
                  <a:lnTo>
                    <a:pt x="7644" y="8059"/>
                  </a:lnTo>
                  <a:lnTo>
                    <a:pt x="7467" y="8168"/>
                  </a:lnTo>
                  <a:lnTo>
                    <a:pt x="7289" y="8242"/>
                  </a:lnTo>
                  <a:cubicBezTo>
                    <a:pt x="7245" y="8291"/>
                    <a:pt x="7200" y="8339"/>
                    <a:pt x="7156" y="8388"/>
                  </a:cubicBezTo>
                  <a:lnTo>
                    <a:pt x="7067" y="8498"/>
                  </a:lnTo>
                  <a:lnTo>
                    <a:pt x="7067" y="8645"/>
                  </a:lnTo>
                  <a:lnTo>
                    <a:pt x="6711" y="8681"/>
                  </a:lnTo>
                  <a:lnTo>
                    <a:pt x="6489" y="8755"/>
                  </a:lnTo>
                  <a:lnTo>
                    <a:pt x="6222" y="8864"/>
                  </a:lnTo>
                  <a:lnTo>
                    <a:pt x="6044" y="9011"/>
                  </a:lnTo>
                  <a:lnTo>
                    <a:pt x="5822" y="9121"/>
                  </a:lnTo>
                  <a:cubicBezTo>
                    <a:pt x="5778" y="9158"/>
                    <a:pt x="5733" y="9194"/>
                    <a:pt x="5689" y="9231"/>
                  </a:cubicBezTo>
                  <a:lnTo>
                    <a:pt x="5511" y="9304"/>
                  </a:lnTo>
                  <a:lnTo>
                    <a:pt x="5244" y="9341"/>
                  </a:lnTo>
                  <a:lnTo>
                    <a:pt x="4489" y="9341"/>
                  </a:lnTo>
                  <a:lnTo>
                    <a:pt x="3778" y="9414"/>
                  </a:lnTo>
                  <a:lnTo>
                    <a:pt x="3200" y="9487"/>
                  </a:lnTo>
                  <a:lnTo>
                    <a:pt x="2667" y="9560"/>
                  </a:lnTo>
                  <a:lnTo>
                    <a:pt x="1689" y="9780"/>
                  </a:lnTo>
                  <a:lnTo>
                    <a:pt x="578" y="10000"/>
                  </a:lnTo>
                  <a:lnTo>
                    <a:pt x="844" y="9560"/>
                  </a:lnTo>
                  <a:lnTo>
                    <a:pt x="444" y="9560"/>
                  </a:lnTo>
                  <a:lnTo>
                    <a:pt x="0" y="9560"/>
                  </a:lnTo>
                  <a:lnTo>
                    <a:pt x="0" y="7949"/>
                  </a:lnTo>
                  <a:lnTo>
                    <a:pt x="356" y="7912"/>
                  </a:lnTo>
                  <a:lnTo>
                    <a:pt x="756" y="7839"/>
                  </a:lnTo>
                  <a:lnTo>
                    <a:pt x="933" y="7766"/>
                  </a:lnTo>
                  <a:lnTo>
                    <a:pt x="1067" y="7692"/>
                  </a:lnTo>
                  <a:cubicBezTo>
                    <a:pt x="1082" y="7668"/>
                    <a:pt x="1096" y="7643"/>
                    <a:pt x="1111" y="7619"/>
                  </a:cubicBezTo>
                  <a:cubicBezTo>
                    <a:pt x="1126" y="7582"/>
                    <a:pt x="1141" y="7546"/>
                    <a:pt x="1156" y="7509"/>
                  </a:cubicBezTo>
                  <a:lnTo>
                    <a:pt x="1778" y="7509"/>
                  </a:lnTo>
                  <a:lnTo>
                    <a:pt x="2400" y="7473"/>
                  </a:lnTo>
                  <a:lnTo>
                    <a:pt x="2667" y="7399"/>
                  </a:lnTo>
                  <a:lnTo>
                    <a:pt x="2844" y="7326"/>
                  </a:lnTo>
                  <a:lnTo>
                    <a:pt x="3067" y="7216"/>
                  </a:lnTo>
                  <a:cubicBezTo>
                    <a:pt x="3111" y="7167"/>
                    <a:pt x="3156" y="7119"/>
                    <a:pt x="3200" y="7070"/>
                  </a:cubicBezTo>
                  <a:lnTo>
                    <a:pt x="2844" y="7143"/>
                  </a:lnTo>
                  <a:lnTo>
                    <a:pt x="2400" y="7253"/>
                  </a:lnTo>
                  <a:lnTo>
                    <a:pt x="2133" y="7253"/>
                  </a:lnTo>
                  <a:lnTo>
                    <a:pt x="1956" y="7253"/>
                  </a:lnTo>
                  <a:lnTo>
                    <a:pt x="1822" y="7253"/>
                  </a:lnTo>
                  <a:cubicBezTo>
                    <a:pt x="1807" y="7241"/>
                    <a:pt x="1793" y="7228"/>
                    <a:pt x="1778" y="7216"/>
                  </a:cubicBezTo>
                  <a:cubicBezTo>
                    <a:pt x="1763" y="7192"/>
                    <a:pt x="1748" y="7167"/>
                    <a:pt x="1733" y="7143"/>
                  </a:cubicBezTo>
                  <a:lnTo>
                    <a:pt x="1733" y="7070"/>
                  </a:lnTo>
                  <a:lnTo>
                    <a:pt x="1733" y="6886"/>
                  </a:lnTo>
                  <a:cubicBezTo>
                    <a:pt x="1763" y="6825"/>
                    <a:pt x="1792" y="6764"/>
                    <a:pt x="1822" y="6703"/>
                  </a:cubicBezTo>
                  <a:cubicBezTo>
                    <a:pt x="1867" y="6642"/>
                    <a:pt x="1911" y="6581"/>
                    <a:pt x="1956" y="6520"/>
                  </a:cubicBezTo>
                  <a:cubicBezTo>
                    <a:pt x="1985" y="6459"/>
                    <a:pt x="2015" y="6398"/>
                    <a:pt x="2044" y="6337"/>
                  </a:cubicBezTo>
                  <a:lnTo>
                    <a:pt x="2222" y="6081"/>
                  </a:lnTo>
                  <a:cubicBezTo>
                    <a:pt x="2252" y="6032"/>
                    <a:pt x="2281" y="5983"/>
                    <a:pt x="2311" y="5934"/>
                  </a:cubicBezTo>
                  <a:lnTo>
                    <a:pt x="1733" y="5861"/>
                  </a:lnTo>
                  <a:lnTo>
                    <a:pt x="1244" y="5751"/>
                  </a:lnTo>
                  <a:lnTo>
                    <a:pt x="933" y="5641"/>
                  </a:lnTo>
                  <a:lnTo>
                    <a:pt x="622" y="5495"/>
                  </a:lnTo>
                  <a:lnTo>
                    <a:pt x="444" y="5311"/>
                  </a:lnTo>
                  <a:lnTo>
                    <a:pt x="311" y="5055"/>
                  </a:lnTo>
                  <a:cubicBezTo>
                    <a:pt x="296" y="4957"/>
                    <a:pt x="282" y="4860"/>
                    <a:pt x="267" y="4762"/>
                  </a:cubicBezTo>
                  <a:lnTo>
                    <a:pt x="267" y="4396"/>
                  </a:lnTo>
                  <a:lnTo>
                    <a:pt x="667" y="4286"/>
                  </a:lnTo>
                  <a:lnTo>
                    <a:pt x="978" y="4212"/>
                  </a:lnTo>
                  <a:lnTo>
                    <a:pt x="1156" y="4103"/>
                  </a:lnTo>
                  <a:lnTo>
                    <a:pt x="1333" y="3993"/>
                  </a:lnTo>
                  <a:lnTo>
                    <a:pt x="1556" y="3736"/>
                  </a:lnTo>
                  <a:lnTo>
                    <a:pt x="1733" y="3443"/>
                  </a:lnTo>
                  <a:lnTo>
                    <a:pt x="2489" y="3443"/>
                  </a:lnTo>
                  <a:lnTo>
                    <a:pt x="3022" y="3443"/>
                  </a:lnTo>
                  <a:lnTo>
                    <a:pt x="3422" y="3443"/>
                  </a:lnTo>
                  <a:lnTo>
                    <a:pt x="3778" y="3443"/>
                  </a:lnTo>
                  <a:lnTo>
                    <a:pt x="4000" y="3443"/>
                  </a:lnTo>
                  <a:lnTo>
                    <a:pt x="4178" y="3407"/>
                  </a:lnTo>
                  <a:cubicBezTo>
                    <a:pt x="4222" y="3382"/>
                    <a:pt x="4267" y="3358"/>
                    <a:pt x="4311" y="3333"/>
                  </a:cubicBezTo>
                  <a:cubicBezTo>
                    <a:pt x="4355" y="3296"/>
                    <a:pt x="4400" y="3260"/>
                    <a:pt x="4444" y="3223"/>
                  </a:cubicBezTo>
                  <a:lnTo>
                    <a:pt x="4622" y="3004"/>
                  </a:lnTo>
                  <a:cubicBezTo>
                    <a:pt x="4652" y="2894"/>
                    <a:pt x="4681" y="2784"/>
                    <a:pt x="4711" y="2674"/>
                  </a:cubicBezTo>
                  <a:cubicBezTo>
                    <a:pt x="4741" y="2418"/>
                    <a:pt x="4770" y="2161"/>
                    <a:pt x="4800" y="1905"/>
                  </a:cubicBezTo>
                  <a:cubicBezTo>
                    <a:pt x="4859" y="1673"/>
                    <a:pt x="4919" y="1441"/>
                    <a:pt x="4978" y="1209"/>
                  </a:cubicBezTo>
                  <a:lnTo>
                    <a:pt x="5200" y="1172"/>
                  </a:lnTo>
                  <a:lnTo>
                    <a:pt x="5333" y="1136"/>
                  </a:lnTo>
                  <a:lnTo>
                    <a:pt x="5511" y="1062"/>
                  </a:lnTo>
                  <a:lnTo>
                    <a:pt x="5600" y="952"/>
                  </a:lnTo>
                  <a:lnTo>
                    <a:pt x="5778" y="733"/>
                  </a:lnTo>
                  <a:lnTo>
                    <a:pt x="6044" y="476"/>
                  </a:lnTo>
                  <a:lnTo>
                    <a:pt x="6133" y="366"/>
                  </a:lnTo>
                  <a:lnTo>
                    <a:pt x="6267" y="256"/>
                  </a:lnTo>
                  <a:lnTo>
                    <a:pt x="6444" y="147"/>
                  </a:lnTo>
                  <a:lnTo>
                    <a:pt x="6622" y="73"/>
                  </a:lnTo>
                  <a:lnTo>
                    <a:pt x="6889" y="37"/>
                  </a:lnTo>
                  <a:lnTo>
                    <a:pt x="7156" y="0"/>
                  </a:lnTo>
                  <a:lnTo>
                    <a:pt x="7511" y="37"/>
                  </a:lnTo>
                  <a:lnTo>
                    <a:pt x="7956" y="110"/>
                  </a:lnTo>
                  <a:lnTo>
                    <a:pt x="8267" y="733"/>
                  </a:lnTo>
                  <a:lnTo>
                    <a:pt x="6901" y="1410"/>
                  </a:lnTo>
                  <a:lnTo>
                    <a:pt x="7929" y="2875"/>
                  </a:lnTo>
                  <a:cubicBezTo>
                    <a:pt x="7944" y="2912"/>
                    <a:pt x="6975" y="3278"/>
                    <a:pt x="6990" y="3315"/>
                  </a:cubicBezTo>
                  <a:cubicBezTo>
                    <a:pt x="7072" y="2747"/>
                    <a:pt x="7153" y="2180"/>
                    <a:pt x="7235" y="1612"/>
                  </a:cubicBezTo>
                  <a:lnTo>
                    <a:pt x="6990" y="2217"/>
                  </a:lnTo>
                  <a:cubicBezTo>
                    <a:pt x="6975" y="2254"/>
                    <a:pt x="7207" y="2784"/>
                    <a:pt x="7192" y="2821"/>
                  </a:cubicBezTo>
                  <a:cubicBezTo>
                    <a:pt x="7162" y="2845"/>
                    <a:pt x="7378" y="3364"/>
                    <a:pt x="7348" y="3388"/>
                  </a:cubicBezTo>
                  <a:lnTo>
                    <a:pt x="9919" y="2051"/>
                  </a:lnTo>
                  <a:lnTo>
                    <a:pt x="8714" y="2949"/>
                  </a:lnTo>
                  <a:cubicBezTo>
                    <a:pt x="8683" y="2815"/>
                    <a:pt x="7670" y="2897"/>
                    <a:pt x="7517" y="2732"/>
                  </a:cubicBezTo>
                  <a:cubicBezTo>
                    <a:pt x="7364" y="2567"/>
                    <a:pt x="7216" y="2995"/>
                    <a:pt x="7058" y="2949"/>
                  </a:cubicBezTo>
                </a:path>
              </a:pathLst>
            </a:custGeom>
            <a:solidFill>
              <a:srgbClr val="C0C0C0"/>
            </a:solidFill>
            <a:ln w="952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fontAlgn="base">
                <a:spcBef>
                  <a:spcPct val="0"/>
                </a:spcBef>
                <a:spcAft>
                  <a:spcPct val="0"/>
                </a:spcAft>
              </a:pPr>
              <a:endParaRPr lang="en-US" baseline="-25000" smtClean="0">
                <a:solidFill>
                  <a:srgbClr val="000000"/>
                </a:solidFill>
                <a:latin typeface="Arial" pitchFamily="34" charset="0"/>
              </a:endParaRPr>
            </a:p>
          </p:txBody>
        </p:sp>
        <p:sp>
          <p:nvSpPr>
            <p:cNvPr id="384" name="Freeform 383"/>
            <p:cNvSpPr>
              <a:spLocks/>
            </p:cNvSpPr>
            <p:nvPr>
              <p:custDataLst>
                <p:tags r:id="rId379"/>
              </p:custDataLst>
            </p:nvPr>
          </p:nvSpPr>
          <p:spPr bwMode="auto">
            <a:xfrm>
              <a:off x="4351087" y="1769833"/>
              <a:ext cx="56047" cy="51288"/>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 name="connsiteX0" fmla="*/ 8939 w 12272"/>
                <a:gd name="connsiteY0" fmla="*/ 9412 h 10000"/>
                <a:gd name="connsiteX1" fmla="*/ 6364 w 12272"/>
                <a:gd name="connsiteY1" fmla="*/ 9804 h 10000"/>
                <a:gd name="connsiteX2" fmla="*/ 3333 w 12272"/>
                <a:gd name="connsiteY2" fmla="*/ 10000 h 10000"/>
                <a:gd name="connsiteX3" fmla="*/ 2576 w 12272"/>
                <a:gd name="connsiteY3" fmla="*/ 9804 h 10000"/>
                <a:gd name="connsiteX4" fmla="*/ 1970 w 12272"/>
                <a:gd name="connsiteY4" fmla="*/ 9608 h 10000"/>
                <a:gd name="connsiteX5" fmla="*/ 1515 w 12272"/>
                <a:gd name="connsiteY5" fmla="*/ 9412 h 10000"/>
                <a:gd name="connsiteX6" fmla="*/ 1061 w 12272"/>
                <a:gd name="connsiteY6" fmla="*/ 9020 h 10000"/>
                <a:gd name="connsiteX7" fmla="*/ 455 w 12272"/>
                <a:gd name="connsiteY7" fmla="*/ 8431 h 10000"/>
                <a:gd name="connsiteX8" fmla="*/ 152 w 12272"/>
                <a:gd name="connsiteY8" fmla="*/ 7843 h 10000"/>
                <a:gd name="connsiteX9" fmla="*/ 0 w 12272"/>
                <a:gd name="connsiteY9" fmla="*/ 6863 h 10000"/>
                <a:gd name="connsiteX10" fmla="*/ 0 w 12272"/>
                <a:gd name="connsiteY10" fmla="*/ 5882 h 10000"/>
                <a:gd name="connsiteX11" fmla="*/ 606 w 12272"/>
                <a:gd name="connsiteY11" fmla="*/ 5686 h 10000"/>
                <a:gd name="connsiteX12" fmla="*/ 1515 w 12272"/>
                <a:gd name="connsiteY12" fmla="*/ 5294 h 10000"/>
                <a:gd name="connsiteX13" fmla="*/ 2121 w 12272"/>
                <a:gd name="connsiteY13" fmla="*/ 4706 h 10000"/>
                <a:gd name="connsiteX14" fmla="*/ 2879 w 12272"/>
                <a:gd name="connsiteY14" fmla="*/ 3922 h 10000"/>
                <a:gd name="connsiteX15" fmla="*/ 3939 w 12272"/>
                <a:gd name="connsiteY15" fmla="*/ 1961 h 10000"/>
                <a:gd name="connsiteX16" fmla="*/ 5000 w 12272"/>
                <a:gd name="connsiteY16" fmla="*/ 0 h 10000"/>
                <a:gd name="connsiteX17" fmla="*/ 6970 w 12272"/>
                <a:gd name="connsiteY17" fmla="*/ 196 h 10000"/>
                <a:gd name="connsiteX18" fmla="*/ 7879 w 12272"/>
                <a:gd name="connsiteY18" fmla="*/ 392 h 10000"/>
                <a:gd name="connsiteX19" fmla="*/ 8485 w 12272"/>
                <a:gd name="connsiteY19" fmla="*/ 588 h 10000"/>
                <a:gd name="connsiteX20" fmla="*/ 10000 w 12272"/>
                <a:gd name="connsiteY20" fmla="*/ 0 h 10000"/>
                <a:gd name="connsiteX21" fmla="*/ 9848 w 12272"/>
                <a:gd name="connsiteY21" fmla="*/ 2549 h 10000"/>
                <a:gd name="connsiteX22" fmla="*/ 9545 w 12272"/>
                <a:gd name="connsiteY22" fmla="*/ 4706 h 10000"/>
                <a:gd name="connsiteX23" fmla="*/ 9091 w 12272"/>
                <a:gd name="connsiteY23" fmla="*/ 7059 h 10000"/>
                <a:gd name="connsiteX24" fmla="*/ 12272 w 12272"/>
                <a:gd name="connsiteY24" fmla="*/ 8995 h 10000"/>
                <a:gd name="connsiteX0" fmla="*/ 8939 w 12878"/>
                <a:gd name="connsiteY0" fmla="*/ 9412 h 10000"/>
                <a:gd name="connsiteX1" fmla="*/ 6364 w 12878"/>
                <a:gd name="connsiteY1" fmla="*/ 9804 h 10000"/>
                <a:gd name="connsiteX2" fmla="*/ 3333 w 12878"/>
                <a:gd name="connsiteY2" fmla="*/ 10000 h 10000"/>
                <a:gd name="connsiteX3" fmla="*/ 2576 w 12878"/>
                <a:gd name="connsiteY3" fmla="*/ 9804 h 10000"/>
                <a:gd name="connsiteX4" fmla="*/ 1970 w 12878"/>
                <a:gd name="connsiteY4" fmla="*/ 9608 h 10000"/>
                <a:gd name="connsiteX5" fmla="*/ 1515 w 12878"/>
                <a:gd name="connsiteY5" fmla="*/ 9412 h 10000"/>
                <a:gd name="connsiteX6" fmla="*/ 1061 w 12878"/>
                <a:gd name="connsiteY6" fmla="*/ 9020 h 10000"/>
                <a:gd name="connsiteX7" fmla="*/ 455 w 12878"/>
                <a:gd name="connsiteY7" fmla="*/ 8431 h 10000"/>
                <a:gd name="connsiteX8" fmla="*/ 152 w 12878"/>
                <a:gd name="connsiteY8" fmla="*/ 7843 h 10000"/>
                <a:gd name="connsiteX9" fmla="*/ 0 w 12878"/>
                <a:gd name="connsiteY9" fmla="*/ 6863 h 10000"/>
                <a:gd name="connsiteX10" fmla="*/ 0 w 12878"/>
                <a:gd name="connsiteY10" fmla="*/ 5882 h 10000"/>
                <a:gd name="connsiteX11" fmla="*/ 606 w 12878"/>
                <a:gd name="connsiteY11" fmla="*/ 5686 h 10000"/>
                <a:gd name="connsiteX12" fmla="*/ 1515 w 12878"/>
                <a:gd name="connsiteY12" fmla="*/ 5294 h 10000"/>
                <a:gd name="connsiteX13" fmla="*/ 2121 w 12878"/>
                <a:gd name="connsiteY13" fmla="*/ 4706 h 10000"/>
                <a:gd name="connsiteX14" fmla="*/ 2879 w 12878"/>
                <a:gd name="connsiteY14" fmla="*/ 3922 h 10000"/>
                <a:gd name="connsiteX15" fmla="*/ 3939 w 12878"/>
                <a:gd name="connsiteY15" fmla="*/ 1961 h 10000"/>
                <a:gd name="connsiteX16" fmla="*/ 5000 w 12878"/>
                <a:gd name="connsiteY16" fmla="*/ 0 h 10000"/>
                <a:gd name="connsiteX17" fmla="*/ 6970 w 12878"/>
                <a:gd name="connsiteY17" fmla="*/ 196 h 10000"/>
                <a:gd name="connsiteX18" fmla="*/ 7879 w 12878"/>
                <a:gd name="connsiteY18" fmla="*/ 392 h 10000"/>
                <a:gd name="connsiteX19" fmla="*/ 8485 w 12878"/>
                <a:gd name="connsiteY19" fmla="*/ 588 h 10000"/>
                <a:gd name="connsiteX20" fmla="*/ 10000 w 12878"/>
                <a:gd name="connsiteY20" fmla="*/ 0 h 10000"/>
                <a:gd name="connsiteX21" fmla="*/ 9848 w 12878"/>
                <a:gd name="connsiteY21" fmla="*/ 2549 h 10000"/>
                <a:gd name="connsiteX22" fmla="*/ 12878 w 12878"/>
                <a:gd name="connsiteY22" fmla="*/ 5123 h 10000"/>
                <a:gd name="connsiteX23" fmla="*/ 9091 w 12878"/>
                <a:gd name="connsiteY23" fmla="*/ 7059 h 10000"/>
                <a:gd name="connsiteX24" fmla="*/ 12272 w 12878"/>
                <a:gd name="connsiteY24" fmla="*/ 8995 h 10000"/>
                <a:gd name="connsiteX0" fmla="*/ 8939 w 13181"/>
                <a:gd name="connsiteY0" fmla="*/ 9412 h 10000"/>
                <a:gd name="connsiteX1" fmla="*/ 6364 w 13181"/>
                <a:gd name="connsiteY1" fmla="*/ 9804 h 10000"/>
                <a:gd name="connsiteX2" fmla="*/ 3333 w 13181"/>
                <a:gd name="connsiteY2" fmla="*/ 10000 h 10000"/>
                <a:gd name="connsiteX3" fmla="*/ 2576 w 13181"/>
                <a:gd name="connsiteY3" fmla="*/ 9804 h 10000"/>
                <a:gd name="connsiteX4" fmla="*/ 1970 w 13181"/>
                <a:gd name="connsiteY4" fmla="*/ 9608 h 10000"/>
                <a:gd name="connsiteX5" fmla="*/ 1515 w 13181"/>
                <a:gd name="connsiteY5" fmla="*/ 9412 h 10000"/>
                <a:gd name="connsiteX6" fmla="*/ 1061 w 13181"/>
                <a:gd name="connsiteY6" fmla="*/ 9020 h 10000"/>
                <a:gd name="connsiteX7" fmla="*/ 455 w 13181"/>
                <a:gd name="connsiteY7" fmla="*/ 8431 h 10000"/>
                <a:gd name="connsiteX8" fmla="*/ 152 w 13181"/>
                <a:gd name="connsiteY8" fmla="*/ 7843 h 10000"/>
                <a:gd name="connsiteX9" fmla="*/ 0 w 13181"/>
                <a:gd name="connsiteY9" fmla="*/ 6863 h 10000"/>
                <a:gd name="connsiteX10" fmla="*/ 0 w 13181"/>
                <a:gd name="connsiteY10" fmla="*/ 5882 h 10000"/>
                <a:gd name="connsiteX11" fmla="*/ 606 w 13181"/>
                <a:gd name="connsiteY11" fmla="*/ 5686 h 10000"/>
                <a:gd name="connsiteX12" fmla="*/ 1515 w 13181"/>
                <a:gd name="connsiteY12" fmla="*/ 5294 h 10000"/>
                <a:gd name="connsiteX13" fmla="*/ 2121 w 13181"/>
                <a:gd name="connsiteY13" fmla="*/ 4706 h 10000"/>
                <a:gd name="connsiteX14" fmla="*/ 2879 w 13181"/>
                <a:gd name="connsiteY14" fmla="*/ 3922 h 10000"/>
                <a:gd name="connsiteX15" fmla="*/ 3939 w 13181"/>
                <a:gd name="connsiteY15" fmla="*/ 1961 h 10000"/>
                <a:gd name="connsiteX16" fmla="*/ 5000 w 13181"/>
                <a:gd name="connsiteY16" fmla="*/ 0 h 10000"/>
                <a:gd name="connsiteX17" fmla="*/ 6970 w 13181"/>
                <a:gd name="connsiteY17" fmla="*/ 196 h 10000"/>
                <a:gd name="connsiteX18" fmla="*/ 7879 w 13181"/>
                <a:gd name="connsiteY18" fmla="*/ 392 h 10000"/>
                <a:gd name="connsiteX19" fmla="*/ 8485 w 13181"/>
                <a:gd name="connsiteY19" fmla="*/ 588 h 10000"/>
                <a:gd name="connsiteX20" fmla="*/ 10000 w 13181"/>
                <a:gd name="connsiteY20" fmla="*/ 0 h 10000"/>
                <a:gd name="connsiteX21" fmla="*/ 13181 w 13181"/>
                <a:gd name="connsiteY21" fmla="*/ 2549 h 10000"/>
                <a:gd name="connsiteX22" fmla="*/ 12878 w 13181"/>
                <a:gd name="connsiteY22" fmla="*/ 5123 h 10000"/>
                <a:gd name="connsiteX23" fmla="*/ 9091 w 13181"/>
                <a:gd name="connsiteY23" fmla="*/ 7059 h 10000"/>
                <a:gd name="connsiteX24" fmla="*/ 12272 w 13181"/>
                <a:gd name="connsiteY24" fmla="*/ 8995 h 10000"/>
                <a:gd name="connsiteX0" fmla="*/ 8939 w 14924"/>
                <a:gd name="connsiteY0" fmla="*/ 9412 h 10000"/>
                <a:gd name="connsiteX1" fmla="*/ 6364 w 14924"/>
                <a:gd name="connsiteY1" fmla="*/ 9804 h 10000"/>
                <a:gd name="connsiteX2" fmla="*/ 3333 w 14924"/>
                <a:gd name="connsiteY2" fmla="*/ 10000 h 10000"/>
                <a:gd name="connsiteX3" fmla="*/ 2576 w 14924"/>
                <a:gd name="connsiteY3" fmla="*/ 9804 h 10000"/>
                <a:gd name="connsiteX4" fmla="*/ 1970 w 14924"/>
                <a:gd name="connsiteY4" fmla="*/ 9608 h 10000"/>
                <a:gd name="connsiteX5" fmla="*/ 1515 w 14924"/>
                <a:gd name="connsiteY5" fmla="*/ 9412 h 10000"/>
                <a:gd name="connsiteX6" fmla="*/ 1061 w 14924"/>
                <a:gd name="connsiteY6" fmla="*/ 9020 h 10000"/>
                <a:gd name="connsiteX7" fmla="*/ 455 w 14924"/>
                <a:gd name="connsiteY7" fmla="*/ 8431 h 10000"/>
                <a:gd name="connsiteX8" fmla="*/ 152 w 14924"/>
                <a:gd name="connsiteY8" fmla="*/ 7843 h 10000"/>
                <a:gd name="connsiteX9" fmla="*/ 0 w 14924"/>
                <a:gd name="connsiteY9" fmla="*/ 6863 h 10000"/>
                <a:gd name="connsiteX10" fmla="*/ 0 w 14924"/>
                <a:gd name="connsiteY10" fmla="*/ 5882 h 10000"/>
                <a:gd name="connsiteX11" fmla="*/ 606 w 14924"/>
                <a:gd name="connsiteY11" fmla="*/ 5686 h 10000"/>
                <a:gd name="connsiteX12" fmla="*/ 1515 w 14924"/>
                <a:gd name="connsiteY12" fmla="*/ 5294 h 10000"/>
                <a:gd name="connsiteX13" fmla="*/ 2121 w 14924"/>
                <a:gd name="connsiteY13" fmla="*/ 4706 h 10000"/>
                <a:gd name="connsiteX14" fmla="*/ 2879 w 14924"/>
                <a:gd name="connsiteY14" fmla="*/ 3922 h 10000"/>
                <a:gd name="connsiteX15" fmla="*/ 3939 w 14924"/>
                <a:gd name="connsiteY15" fmla="*/ 1961 h 10000"/>
                <a:gd name="connsiteX16" fmla="*/ 5000 w 14924"/>
                <a:gd name="connsiteY16" fmla="*/ 0 h 10000"/>
                <a:gd name="connsiteX17" fmla="*/ 6970 w 14924"/>
                <a:gd name="connsiteY17" fmla="*/ 196 h 10000"/>
                <a:gd name="connsiteX18" fmla="*/ 7879 w 14924"/>
                <a:gd name="connsiteY18" fmla="*/ 392 h 10000"/>
                <a:gd name="connsiteX19" fmla="*/ 8485 w 14924"/>
                <a:gd name="connsiteY19" fmla="*/ 588 h 10000"/>
                <a:gd name="connsiteX20" fmla="*/ 10000 w 14924"/>
                <a:gd name="connsiteY20" fmla="*/ 0 h 10000"/>
                <a:gd name="connsiteX21" fmla="*/ 13181 w 14924"/>
                <a:gd name="connsiteY21" fmla="*/ 2549 h 10000"/>
                <a:gd name="connsiteX22" fmla="*/ 12878 w 14924"/>
                <a:gd name="connsiteY22" fmla="*/ 5123 h 10000"/>
                <a:gd name="connsiteX23" fmla="*/ 14924 w 14924"/>
                <a:gd name="connsiteY23" fmla="*/ 7059 h 10000"/>
                <a:gd name="connsiteX24" fmla="*/ 12272 w 14924"/>
                <a:gd name="connsiteY24" fmla="*/ 899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924" h="10000">
                  <a:moveTo>
                    <a:pt x="8939" y="9412"/>
                  </a:moveTo>
                  <a:lnTo>
                    <a:pt x="6364" y="9804"/>
                  </a:lnTo>
                  <a:lnTo>
                    <a:pt x="3333" y="10000"/>
                  </a:lnTo>
                  <a:lnTo>
                    <a:pt x="2576" y="9804"/>
                  </a:lnTo>
                  <a:lnTo>
                    <a:pt x="1970" y="9608"/>
                  </a:lnTo>
                  <a:lnTo>
                    <a:pt x="1515" y="9412"/>
                  </a:lnTo>
                  <a:lnTo>
                    <a:pt x="1061" y="9020"/>
                  </a:lnTo>
                  <a:lnTo>
                    <a:pt x="455" y="8431"/>
                  </a:lnTo>
                  <a:lnTo>
                    <a:pt x="152" y="7843"/>
                  </a:lnTo>
                  <a:cubicBezTo>
                    <a:pt x="101" y="7516"/>
                    <a:pt x="51" y="7190"/>
                    <a:pt x="0" y="6863"/>
                  </a:cubicBezTo>
                  <a:lnTo>
                    <a:pt x="0" y="5882"/>
                  </a:lnTo>
                  <a:lnTo>
                    <a:pt x="606" y="5686"/>
                  </a:lnTo>
                  <a:lnTo>
                    <a:pt x="1515" y="5294"/>
                  </a:lnTo>
                  <a:lnTo>
                    <a:pt x="2121" y="4706"/>
                  </a:lnTo>
                  <a:lnTo>
                    <a:pt x="2879" y="3922"/>
                  </a:lnTo>
                  <a:lnTo>
                    <a:pt x="3939" y="1961"/>
                  </a:lnTo>
                  <a:lnTo>
                    <a:pt x="5000" y="0"/>
                  </a:lnTo>
                  <a:lnTo>
                    <a:pt x="6970" y="196"/>
                  </a:lnTo>
                  <a:lnTo>
                    <a:pt x="7879" y="392"/>
                  </a:lnTo>
                  <a:lnTo>
                    <a:pt x="8485" y="588"/>
                  </a:lnTo>
                  <a:lnTo>
                    <a:pt x="10000" y="0"/>
                  </a:lnTo>
                  <a:cubicBezTo>
                    <a:pt x="9949" y="850"/>
                    <a:pt x="13232" y="1699"/>
                    <a:pt x="13181" y="2549"/>
                  </a:cubicBezTo>
                  <a:lnTo>
                    <a:pt x="12878" y="5123"/>
                  </a:lnTo>
                  <a:lnTo>
                    <a:pt x="14924" y="7059"/>
                  </a:lnTo>
                  <a:cubicBezTo>
                    <a:pt x="14873" y="7843"/>
                    <a:pt x="12323" y="8211"/>
                    <a:pt x="12272" y="8995"/>
                  </a:cubicBezTo>
                </a:path>
              </a:pathLst>
            </a:custGeom>
            <a:solidFill>
              <a:srgbClr val="BC4E21"/>
            </a:solidFill>
            <a:ln w="9525">
              <a:noFill/>
              <a:round/>
              <a:headEnd/>
              <a:tailEnd/>
            </a:ln>
          </p:spPr>
          <p:txBody>
            <a:bodyPr/>
            <a:lstStyle/>
            <a:p>
              <a:pPr defTabSz="457200"/>
              <a:endParaRPr lang="en-US" sz="3200" baseline="-25000">
                <a:solidFill>
                  <a:prstClr val="black"/>
                </a:solidFill>
              </a:endParaRPr>
            </a:p>
          </p:txBody>
        </p:sp>
      </p:grpSp>
      <p:sp>
        <p:nvSpPr>
          <p:cNvPr id="561" name="Text Box 6">
            <a:extLst>
              <a:ext uri="{FF2B5EF4-FFF2-40B4-BE49-F238E27FC236}">
                <a16:creationId xmlns:a16="http://schemas.microsoft.com/office/drawing/2014/main" id="{CEDDCF0B-7EBB-3C4D-A9C0-34D43D0AE46E}"/>
              </a:ext>
            </a:extLst>
          </p:cNvPr>
          <p:cNvSpPr txBox="1">
            <a:spLocks noChangeArrowheads="1"/>
          </p:cNvSpPr>
          <p:nvPr/>
        </p:nvSpPr>
        <p:spPr bwMode="auto">
          <a:xfrm>
            <a:off x="2667000" y="4215546"/>
            <a:ext cx="614457" cy="257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ИСПАНИЯ</a:t>
            </a:r>
            <a:endParaRPr lang="en-US" sz="1400" b="1" baseline="-25000" dirty="0">
              <a:ln w="3175">
                <a:noFill/>
              </a:ln>
              <a:solidFill>
                <a:schemeClr val="tx2"/>
              </a:solidFill>
              <a:latin typeface="Arial Narrow" pitchFamily="34" charset="0"/>
            </a:endParaRPr>
          </a:p>
        </p:txBody>
      </p:sp>
      <p:sp>
        <p:nvSpPr>
          <p:cNvPr id="562" name="Text Box 6">
            <a:extLst>
              <a:ext uri="{FF2B5EF4-FFF2-40B4-BE49-F238E27FC236}">
                <a16:creationId xmlns:a16="http://schemas.microsoft.com/office/drawing/2014/main" id="{8427BBB2-4506-1A46-AA3B-5AE6B902ACD2}"/>
              </a:ext>
            </a:extLst>
          </p:cNvPr>
          <p:cNvSpPr txBox="1">
            <a:spLocks noChangeArrowheads="1"/>
          </p:cNvSpPr>
          <p:nvPr/>
        </p:nvSpPr>
        <p:spPr bwMode="auto">
          <a:xfrm>
            <a:off x="4584338" y="4210071"/>
            <a:ext cx="575855" cy="257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БЪЛГАРИЯ</a:t>
            </a:r>
            <a:endParaRPr lang="en-US" sz="1400" b="1" baseline="-25000" dirty="0">
              <a:ln w="3175">
                <a:noFill/>
              </a:ln>
              <a:solidFill>
                <a:schemeClr val="tx2"/>
              </a:solidFill>
              <a:latin typeface="Arial Narrow" pitchFamily="34" charset="0"/>
            </a:endParaRPr>
          </a:p>
        </p:txBody>
      </p:sp>
      <p:cxnSp>
        <p:nvCxnSpPr>
          <p:cNvPr id="563" name="Straight Connector 562">
            <a:extLst>
              <a:ext uri="{FF2B5EF4-FFF2-40B4-BE49-F238E27FC236}">
                <a16:creationId xmlns:a16="http://schemas.microsoft.com/office/drawing/2014/main" id="{C2529435-6383-F642-B8CB-B54311309D3F}"/>
              </a:ext>
            </a:extLst>
          </p:cNvPr>
          <p:cNvCxnSpPr>
            <a:cxnSpLocks/>
          </p:cNvCxnSpPr>
          <p:nvPr/>
        </p:nvCxnSpPr>
        <p:spPr>
          <a:xfrm>
            <a:off x="3122211" y="2269801"/>
            <a:ext cx="10014" cy="1943265"/>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64" name="Straight Connector 563">
            <a:extLst>
              <a:ext uri="{FF2B5EF4-FFF2-40B4-BE49-F238E27FC236}">
                <a16:creationId xmlns:a16="http://schemas.microsoft.com/office/drawing/2014/main" id="{6555B091-FDEF-8342-A197-AFAD61DECAD4}"/>
              </a:ext>
            </a:extLst>
          </p:cNvPr>
          <p:cNvCxnSpPr>
            <a:cxnSpLocks/>
          </p:cNvCxnSpPr>
          <p:nvPr/>
        </p:nvCxnSpPr>
        <p:spPr>
          <a:xfrm>
            <a:off x="2897376" y="4217543"/>
            <a:ext cx="482920"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65" name="Straight Connector 564">
            <a:extLst>
              <a:ext uri="{FF2B5EF4-FFF2-40B4-BE49-F238E27FC236}">
                <a16:creationId xmlns:a16="http://schemas.microsoft.com/office/drawing/2014/main" id="{4C52B827-5894-5E4D-9398-FF5857DAAF23}"/>
              </a:ext>
            </a:extLst>
          </p:cNvPr>
          <p:cNvCxnSpPr>
            <a:cxnSpLocks/>
          </p:cNvCxnSpPr>
          <p:nvPr/>
        </p:nvCxnSpPr>
        <p:spPr>
          <a:xfrm>
            <a:off x="4965022" y="2160898"/>
            <a:ext cx="6838" cy="2050833"/>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66" name="Straight Connector 565">
            <a:extLst>
              <a:ext uri="{FF2B5EF4-FFF2-40B4-BE49-F238E27FC236}">
                <a16:creationId xmlns:a16="http://schemas.microsoft.com/office/drawing/2014/main" id="{8071FB63-0F26-F740-BFA2-BA4939733192}"/>
              </a:ext>
            </a:extLst>
          </p:cNvPr>
          <p:cNvCxnSpPr>
            <a:cxnSpLocks/>
          </p:cNvCxnSpPr>
          <p:nvPr/>
        </p:nvCxnSpPr>
        <p:spPr>
          <a:xfrm>
            <a:off x="4622552" y="4215194"/>
            <a:ext cx="680303"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567" name="Text Box 6">
            <a:extLst>
              <a:ext uri="{FF2B5EF4-FFF2-40B4-BE49-F238E27FC236}">
                <a16:creationId xmlns:a16="http://schemas.microsoft.com/office/drawing/2014/main" id="{3E979315-5B48-524B-98DD-9F0685AD8CF1}"/>
              </a:ext>
            </a:extLst>
          </p:cNvPr>
          <p:cNvSpPr txBox="1">
            <a:spLocks noChangeArrowheads="1"/>
          </p:cNvSpPr>
          <p:nvPr/>
        </p:nvSpPr>
        <p:spPr bwMode="auto">
          <a:xfrm>
            <a:off x="1224948" y="3417086"/>
            <a:ext cx="340153" cy="14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САЩ</a:t>
            </a:r>
            <a:endParaRPr lang="en-US" sz="1400" b="1" baseline="-25000" dirty="0">
              <a:ln w="3175">
                <a:noFill/>
              </a:ln>
              <a:solidFill>
                <a:schemeClr val="tx2"/>
              </a:solidFill>
              <a:latin typeface="Arial Narrow" pitchFamily="34" charset="0"/>
            </a:endParaRPr>
          </a:p>
        </p:txBody>
      </p:sp>
      <p:sp>
        <p:nvSpPr>
          <p:cNvPr id="568" name="Text Box 6">
            <a:extLst>
              <a:ext uri="{FF2B5EF4-FFF2-40B4-BE49-F238E27FC236}">
                <a16:creationId xmlns:a16="http://schemas.microsoft.com/office/drawing/2014/main" id="{353D409F-5D8C-024E-926F-41CCB5F01724}"/>
              </a:ext>
            </a:extLst>
          </p:cNvPr>
          <p:cNvSpPr txBox="1">
            <a:spLocks noChangeArrowheads="1"/>
          </p:cNvSpPr>
          <p:nvPr/>
        </p:nvSpPr>
        <p:spPr bwMode="auto">
          <a:xfrm>
            <a:off x="1459953" y="995778"/>
            <a:ext cx="743823" cy="162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КАНАДА</a:t>
            </a:r>
            <a:endParaRPr lang="en-US" sz="1400" b="1" baseline="-25000" dirty="0">
              <a:ln w="3175">
                <a:noFill/>
              </a:ln>
              <a:solidFill>
                <a:schemeClr val="tx2"/>
              </a:solidFill>
              <a:latin typeface="Arial Narrow" pitchFamily="34" charset="0"/>
            </a:endParaRPr>
          </a:p>
        </p:txBody>
      </p:sp>
      <p:cxnSp>
        <p:nvCxnSpPr>
          <p:cNvPr id="569" name="Straight Connector 568">
            <a:extLst>
              <a:ext uri="{FF2B5EF4-FFF2-40B4-BE49-F238E27FC236}">
                <a16:creationId xmlns:a16="http://schemas.microsoft.com/office/drawing/2014/main" id="{D4033601-6D8D-CE49-84AD-F2E7921BDB75}"/>
              </a:ext>
            </a:extLst>
          </p:cNvPr>
          <p:cNvCxnSpPr>
            <a:cxnSpLocks/>
          </p:cNvCxnSpPr>
          <p:nvPr/>
        </p:nvCxnSpPr>
        <p:spPr>
          <a:xfrm>
            <a:off x="1464547" y="2247019"/>
            <a:ext cx="14212" cy="1187606"/>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id="{B1D17388-0681-8A4F-8468-746EB26838D3}"/>
              </a:ext>
            </a:extLst>
          </p:cNvPr>
          <p:cNvCxnSpPr/>
          <p:nvPr/>
        </p:nvCxnSpPr>
        <p:spPr>
          <a:xfrm>
            <a:off x="1307284" y="3431981"/>
            <a:ext cx="340152"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id="{F0250F89-237C-A04E-8011-A00D8C8BA838}"/>
              </a:ext>
            </a:extLst>
          </p:cNvPr>
          <p:cNvCxnSpPr>
            <a:cxnSpLocks/>
          </p:cNvCxnSpPr>
          <p:nvPr/>
        </p:nvCxnSpPr>
        <p:spPr>
          <a:xfrm>
            <a:off x="1617441" y="1186834"/>
            <a:ext cx="550919"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id="{E07CE2C3-55B1-ED48-84DA-AAEFFBFB81C1}"/>
              </a:ext>
            </a:extLst>
          </p:cNvPr>
          <p:cNvCxnSpPr>
            <a:cxnSpLocks/>
          </p:cNvCxnSpPr>
          <p:nvPr/>
        </p:nvCxnSpPr>
        <p:spPr>
          <a:xfrm>
            <a:off x="1074279" y="2671971"/>
            <a:ext cx="0" cy="1020455"/>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3" name="Straight Connector 572">
            <a:extLst>
              <a:ext uri="{FF2B5EF4-FFF2-40B4-BE49-F238E27FC236}">
                <a16:creationId xmlns:a16="http://schemas.microsoft.com/office/drawing/2014/main" id="{DEF6DB16-A09F-A949-AD7E-8DB4C369EC9B}"/>
              </a:ext>
            </a:extLst>
          </p:cNvPr>
          <p:cNvCxnSpPr/>
          <p:nvPr/>
        </p:nvCxnSpPr>
        <p:spPr>
          <a:xfrm>
            <a:off x="802267" y="3692427"/>
            <a:ext cx="544023" cy="1808"/>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4" name="Straight Connector 573">
            <a:extLst>
              <a:ext uri="{FF2B5EF4-FFF2-40B4-BE49-F238E27FC236}">
                <a16:creationId xmlns:a16="http://schemas.microsoft.com/office/drawing/2014/main" id="{F0250F89-237C-A04E-8011-A00D8C8BA838}"/>
              </a:ext>
            </a:extLst>
          </p:cNvPr>
          <p:cNvCxnSpPr>
            <a:cxnSpLocks/>
          </p:cNvCxnSpPr>
          <p:nvPr/>
        </p:nvCxnSpPr>
        <p:spPr>
          <a:xfrm>
            <a:off x="1464547" y="2247019"/>
            <a:ext cx="245140"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E8A31FEF-8016-9341-930E-278E52768EDD}"/>
              </a:ext>
            </a:extLst>
          </p:cNvPr>
          <p:cNvCxnSpPr>
            <a:cxnSpLocks/>
          </p:cNvCxnSpPr>
          <p:nvPr/>
        </p:nvCxnSpPr>
        <p:spPr>
          <a:xfrm>
            <a:off x="1887037" y="1189622"/>
            <a:ext cx="9086" cy="879271"/>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580" name="Text Box 6">
            <a:extLst>
              <a:ext uri="{FF2B5EF4-FFF2-40B4-BE49-F238E27FC236}">
                <a16:creationId xmlns:a16="http://schemas.microsoft.com/office/drawing/2014/main" id="{3E979315-5B48-524B-98DD-9F0685AD8CF1}"/>
              </a:ext>
            </a:extLst>
          </p:cNvPr>
          <p:cNvSpPr txBox="1">
            <a:spLocks noChangeArrowheads="1"/>
          </p:cNvSpPr>
          <p:nvPr/>
        </p:nvSpPr>
        <p:spPr bwMode="auto">
          <a:xfrm>
            <a:off x="693745" y="3678414"/>
            <a:ext cx="517618" cy="143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МЕКСИКО</a:t>
            </a:r>
            <a:endParaRPr lang="en-US" sz="1400" b="1" baseline="-25000" dirty="0">
              <a:ln w="3175">
                <a:noFill/>
              </a:ln>
              <a:solidFill>
                <a:schemeClr val="tx2"/>
              </a:solidFill>
              <a:latin typeface="Arial Narrow" pitchFamily="34" charset="0"/>
            </a:endParaRPr>
          </a:p>
        </p:txBody>
      </p:sp>
      <p:sp>
        <p:nvSpPr>
          <p:cNvPr id="583" name="Text Box 6">
            <a:extLst>
              <a:ext uri="{FF2B5EF4-FFF2-40B4-BE49-F238E27FC236}">
                <a16:creationId xmlns:a16="http://schemas.microsoft.com/office/drawing/2014/main" id="{353D409F-5D8C-024E-926F-41CCB5F01724}"/>
              </a:ext>
            </a:extLst>
          </p:cNvPr>
          <p:cNvSpPr txBox="1">
            <a:spLocks noChangeArrowheads="1"/>
          </p:cNvSpPr>
          <p:nvPr/>
        </p:nvSpPr>
        <p:spPr bwMode="auto">
          <a:xfrm>
            <a:off x="3029480" y="998412"/>
            <a:ext cx="1009120" cy="17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ВЕЛИКОБРИТАНИЯ</a:t>
            </a:r>
            <a:endParaRPr lang="en-US" sz="1400" b="1" baseline="-25000" dirty="0">
              <a:ln w="3175">
                <a:noFill/>
              </a:ln>
              <a:solidFill>
                <a:schemeClr val="tx2"/>
              </a:solidFill>
              <a:latin typeface="Arial Narrow" pitchFamily="34" charset="0"/>
            </a:endParaRPr>
          </a:p>
        </p:txBody>
      </p:sp>
      <p:cxnSp>
        <p:nvCxnSpPr>
          <p:cNvPr id="584" name="Straight Connector 583">
            <a:extLst>
              <a:ext uri="{FF2B5EF4-FFF2-40B4-BE49-F238E27FC236}">
                <a16:creationId xmlns:a16="http://schemas.microsoft.com/office/drawing/2014/main" id="{F0250F89-237C-A04E-8011-A00D8C8BA838}"/>
              </a:ext>
            </a:extLst>
          </p:cNvPr>
          <p:cNvCxnSpPr>
            <a:cxnSpLocks/>
          </p:cNvCxnSpPr>
          <p:nvPr/>
        </p:nvCxnSpPr>
        <p:spPr>
          <a:xfrm>
            <a:off x="3167705" y="1189622"/>
            <a:ext cx="989884"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E8A31FEF-8016-9341-930E-278E52768EDD}"/>
              </a:ext>
            </a:extLst>
          </p:cNvPr>
          <p:cNvCxnSpPr>
            <a:cxnSpLocks/>
          </p:cNvCxnSpPr>
          <p:nvPr/>
        </p:nvCxnSpPr>
        <p:spPr>
          <a:xfrm flipH="1">
            <a:off x="3707520" y="1186834"/>
            <a:ext cx="5124" cy="688995"/>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C2529435-6383-F642-B8CB-B54311309D3F}"/>
              </a:ext>
            </a:extLst>
          </p:cNvPr>
          <p:cNvCxnSpPr>
            <a:cxnSpLocks/>
          </p:cNvCxnSpPr>
          <p:nvPr/>
        </p:nvCxnSpPr>
        <p:spPr>
          <a:xfrm>
            <a:off x="3791226" y="2119044"/>
            <a:ext cx="27331" cy="2097546"/>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589" name="Text Box 6">
            <a:extLst>
              <a:ext uri="{FF2B5EF4-FFF2-40B4-BE49-F238E27FC236}">
                <a16:creationId xmlns:a16="http://schemas.microsoft.com/office/drawing/2014/main" id="{CEDDCF0B-7EBB-3C4D-A9C0-34D43D0AE46E}"/>
              </a:ext>
            </a:extLst>
          </p:cNvPr>
          <p:cNvSpPr txBox="1">
            <a:spLocks noChangeArrowheads="1"/>
          </p:cNvSpPr>
          <p:nvPr/>
        </p:nvSpPr>
        <p:spPr bwMode="auto">
          <a:xfrm>
            <a:off x="3352800" y="4215546"/>
            <a:ext cx="614457" cy="257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ФРАНЦИЯ</a:t>
            </a:r>
            <a:endParaRPr lang="en-US" sz="1400" b="1" baseline="-25000" dirty="0">
              <a:ln w="3175">
                <a:noFill/>
              </a:ln>
              <a:solidFill>
                <a:schemeClr val="tx2"/>
              </a:solidFill>
              <a:latin typeface="Arial Narrow" pitchFamily="34" charset="0"/>
            </a:endParaRPr>
          </a:p>
        </p:txBody>
      </p:sp>
      <p:sp>
        <p:nvSpPr>
          <p:cNvPr id="591" name="Text Box 6">
            <a:extLst>
              <a:ext uri="{FF2B5EF4-FFF2-40B4-BE49-F238E27FC236}">
                <a16:creationId xmlns:a16="http://schemas.microsoft.com/office/drawing/2014/main" id="{353D409F-5D8C-024E-926F-41CCB5F01724}"/>
              </a:ext>
            </a:extLst>
          </p:cNvPr>
          <p:cNvSpPr txBox="1">
            <a:spLocks noChangeArrowheads="1"/>
          </p:cNvSpPr>
          <p:nvPr/>
        </p:nvSpPr>
        <p:spPr bwMode="auto">
          <a:xfrm>
            <a:off x="4132977" y="995624"/>
            <a:ext cx="743823" cy="17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ГЕРМАНИЯ</a:t>
            </a:r>
            <a:endParaRPr lang="en-US" sz="1400" b="1" baseline="-25000" dirty="0">
              <a:ln w="3175">
                <a:noFill/>
              </a:ln>
              <a:solidFill>
                <a:schemeClr val="tx2"/>
              </a:solidFill>
              <a:latin typeface="Arial Narrow" pitchFamily="34" charset="0"/>
            </a:endParaRPr>
          </a:p>
        </p:txBody>
      </p:sp>
      <p:cxnSp>
        <p:nvCxnSpPr>
          <p:cNvPr id="592" name="Straight Connector 591">
            <a:extLst>
              <a:ext uri="{FF2B5EF4-FFF2-40B4-BE49-F238E27FC236}">
                <a16:creationId xmlns:a16="http://schemas.microsoft.com/office/drawing/2014/main" id="{F0250F89-237C-A04E-8011-A00D8C8BA838}"/>
              </a:ext>
            </a:extLst>
          </p:cNvPr>
          <p:cNvCxnSpPr>
            <a:cxnSpLocks/>
          </p:cNvCxnSpPr>
          <p:nvPr/>
        </p:nvCxnSpPr>
        <p:spPr>
          <a:xfrm>
            <a:off x="4322933" y="1186834"/>
            <a:ext cx="597894"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F0250F89-237C-A04E-8011-A00D8C8BA838}"/>
              </a:ext>
            </a:extLst>
          </p:cNvPr>
          <p:cNvCxnSpPr>
            <a:cxnSpLocks/>
          </p:cNvCxnSpPr>
          <p:nvPr/>
        </p:nvCxnSpPr>
        <p:spPr>
          <a:xfrm flipV="1">
            <a:off x="4038927" y="1954624"/>
            <a:ext cx="596188" cy="248"/>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E07CE2C3-55B1-ED48-84DA-AAEFFBFB81C1}"/>
              </a:ext>
            </a:extLst>
          </p:cNvPr>
          <p:cNvCxnSpPr>
            <a:cxnSpLocks/>
          </p:cNvCxnSpPr>
          <p:nvPr/>
        </p:nvCxnSpPr>
        <p:spPr>
          <a:xfrm>
            <a:off x="4621880" y="1181442"/>
            <a:ext cx="13235" cy="775743"/>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596" name="Text Box 6">
            <a:extLst>
              <a:ext uri="{FF2B5EF4-FFF2-40B4-BE49-F238E27FC236}">
                <a16:creationId xmlns:a16="http://schemas.microsoft.com/office/drawing/2014/main" id="{353D409F-5D8C-024E-926F-41CCB5F01724}"/>
              </a:ext>
            </a:extLst>
          </p:cNvPr>
          <p:cNvSpPr txBox="1">
            <a:spLocks noChangeArrowheads="1"/>
          </p:cNvSpPr>
          <p:nvPr/>
        </p:nvSpPr>
        <p:spPr bwMode="auto">
          <a:xfrm>
            <a:off x="5154073" y="995624"/>
            <a:ext cx="743823" cy="17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УНГАРИЯ</a:t>
            </a:r>
            <a:endParaRPr lang="en-US" sz="1400" b="1" baseline="-25000" dirty="0">
              <a:ln w="3175">
                <a:noFill/>
              </a:ln>
              <a:solidFill>
                <a:schemeClr val="tx2"/>
              </a:solidFill>
              <a:latin typeface="Arial Narrow" pitchFamily="34" charset="0"/>
            </a:endParaRPr>
          </a:p>
        </p:txBody>
      </p:sp>
      <p:cxnSp>
        <p:nvCxnSpPr>
          <p:cNvPr id="597" name="Straight Connector 596">
            <a:extLst>
              <a:ext uri="{FF2B5EF4-FFF2-40B4-BE49-F238E27FC236}">
                <a16:creationId xmlns:a16="http://schemas.microsoft.com/office/drawing/2014/main" id="{F0250F89-237C-A04E-8011-A00D8C8BA838}"/>
              </a:ext>
            </a:extLst>
          </p:cNvPr>
          <p:cNvCxnSpPr>
            <a:cxnSpLocks/>
          </p:cNvCxnSpPr>
          <p:nvPr/>
        </p:nvCxnSpPr>
        <p:spPr>
          <a:xfrm>
            <a:off x="5285594" y="1186834"/>
            <a:ext cx="597894"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598" name="Oval 597">
            <a:extLst>
              <a:ext uri="{FF2B5EF4-FFF2-40B4-BE49-F238E27FC236}">
                <a16:creationId xmlns:a16="http://schemas.microsoft.com/office/drawing/2014/main" id="{62E34A9D-3F70-044A-BC7B-9D46E3C3DC78}"/>
              </a:ext>
            </a:extLst>
          </p:cNvPr>
          <p:cNvSpPr/>
          <p:nvPr/>
        </p:nvSpPr>
        <p:spPr>
          <a:xfrm>
            <a:off x="4256181" y="2028792"/>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cxnSp>
        <p:nvCxnSpPr>
          <p:cNvPr id="600" name="Straight Connector 599">
            <a:extLst>
              <a:ext uri="{FF2B5EF4-FFF2-40B4-BE49-F238E27FC236}">
                <a16:creationId xmlns:a16="http://schemas.microsoft.com/office/drawing/2014/main" id="{F0250F89-237C-A04E-8011-A00D8C8BA838}"/>
              </a:ext>
            </a:extLst>
          </p:cNvPr>
          <p:cNvCxnSpPr>
            <a:cxnSpLocks/>
            <a:stCxn id="598" idx="6"/>
          </p:cNvCxnSpPr>
          <p:nvPr/>
        </p:nvCxnSpPr>
        <p:spPr>
          <a:xfrm flipV="1">
            <a:off x="4298699" y="2048724"/>
            <a:ext cx="1313554" cy="1327"/>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E07CE2C3-55B1-ED48-84DA-AAEFFBFB81C1}"/>
              </a:ext>
            </a:extLst>
          </p:cNvPr>
          <p:cNvCxnSpPr>
            <a:cxnSpLocks/>
          </p:cNvCxnSpPr>
          <p:nvPr/>
        </p:nvCxnSpPr>
        <p:spPr>
          <a:xfrm>
            <a:off x="5584541" y="1186834"/>
            <a:ext cx="14672" cy="860036"/>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602" name="Oval 601">
            <a:extLst>
              <a:ext uri="{FF2B5EF4-FFF2-40B4-BE49-F238E27FC236}">
                <a16:creationId xmlns:a16="http://schemas.microsoft.com/office/drawing/2014/main" id="{62E34A9D-3F70-044A-BC7B-9D46E3C3DC78}"/>
              </a:ext>
            </a:extLst>
          </p:cNvPr>
          <p:cNvSpPr/>
          <p:nvPr/>
        </p:nvSpPr>
        <p:spPr>
          <a:xfrm>
            <a:off x="4017667" y="1935926"/>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3" name="Oval 602">
            <a:extLst>
              <a:ext uri="{FF2B5EF4-FFF2-40B4-BE49-F238E27FC236}">
                <a16:creationId xmlns:a16="http://schemas.microsoft.com/office/drawing/2014/main" id="{62E34A9D-3F70-044A-BC7B-9D46E3C3DC78}"/>
              </a:ext>
            </a:extLst>
          </p:cNvPr>
          <p:cNvSpPr/>
          <p:nvPr/>
        </p:nvSpPr>
        <p:spPr>
          <a:xfrm>
            <a:off x="3768858" y="2099036"/>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4" name="Oval 603">
            <a:extLst>
              <a:ext uri="{FF2B5EF4-FFF2-40B4-BE49-F238E27FC236}">
                <a16:creationId xmlns:a16="http://schemas.microsoft.com/office/drawing/2014/main" id="{62E34A9D-3F70-044A-BC7B-9D46E3C3DC78}"/>
              </a:ext>
            </a:extLst>
          </p:cNvPr>
          <p:cNvSpPr/>
          <p:nvPr/>
        </p:nvSpPr>
        <p:spPr>
          <a:xfrm>
            <a:off x="3684202" y="1854689"/>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5" name="Oval 604">
            <a:extLst>
              <a:ext uri="{FF2B5EF4-FFF2-40B4-BE49-F238E27FC236}">
                <a16:creationId xmlns:a16="http://schemas.microsoft.com/office/drawing/2014/main" id="{62E34A9D-3F70-044A-BC7B-9D46E3C3DC78}"/>
              </a:ext>
            </a:extLst>
          </p:cNvPr>
          <p:cNvSpPr/>
          <p:nvPr/>
        </p:nvSpPr>
        <p:spPr>
          <a:xfrm>
            <a:off x="1876370" y="2057760"/>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6" name="Oval 605">
            <a:extLst>
              <a:ext uri="{FF2B5EF4-FFF2-40B4-BE49-F238E27FC236}">
                <a16:creationId xmlns:a16="http://schemas.microsoft.com/office/drawing/2014/main" id="{62E34A9D-3F70-044A-BC7B-9D46E3C3DC78}"/>
              </a:ext>
            </a:extLst>
          </p:cNvPr>
          <p:cNvSpPr/>
          <p:nvPr/>
        </p:nvSpPr>
        <p:spPr>
          <a:xfrm>
            <a:off x="1695753" y="2228042"/>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7" name="Oval 606">
            <a:extLst>
              <a:ext uri="{FF2B5EF4-FFF2-40B4-BE49-F238E27FC236}">
                <a16:creationId xmlns:a16="http://schemas.microsoft.com/office/drawing/2014/main" id="{62E34A9D-3F70-044A-BC7B-9D46E3C3DC78}"/>
              </a:ext>
            </a:extLst>
          </p:cNvPr>
          <p:cNvSpPr/>
          <p:nvPr/>
        </p:nvSpPr>
        <p:spPr>
          <a:xfrm>
            <a:off x="1053019" y="2651838"/>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08" name="Oval 607">
            <a:extLst>
              <a:ext uri="{FF2B5EF4-FFF2-40B4-BE49-F238E27FC236}">
                <a16:creationId xmlns:a16="http://schemas.microsoft.com/office/drawing/2014/main" id="{62E34A9D-3F70-044A-BC7B-9D46E3C3DC78}"/>
              </a:ext>
            </a:extLst>
          </p:cNvPr>
          <p:cNvSpPr/>
          <p:nvPr/>
        </p:nvSpPr>
        <p:spPr>
          <a:xfrm>
            <a:off x="4379848" y="2146805"/>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cxnSp>
        <p:nvCxnSpPr>
          <p:cNvPr id="609" name="Straight Connector 608">
            <a:extLst>
              <a:ext uri="{FF2B5EF4-FFF2-40B4-BE49-F238E27FC236}">
                <a16:creationId xmlns:a16="http://schemas.microsoft.com/office/drawing/2014/main" id="{F0250F89-237C-A04E-8011-A00D8C8BA838}"/>
              </a:ext>
            </a:extLst>
          </p:cNvPr>
          <p:cNvCxnSpPr>
            <a:cxnSpLocks/>
          </p:cNvCxnSpPr>
          <p:nvPr/>
        </p:nvCxnSpPr>
        <p:spPr>
          <a:xfrm>
            <a:off x="4398102" y="2166014"/>
            <a:ext cx="562019"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6555B091-FDEF-8342-A197-AFAD61DECAD4}"/>
              </a:ext>
            </a:extLst>
          </p:cNvPr>
          <p:cNvCxnSpPr>
            <a:cxnSpLocks/>
          </p:cNvCxnSpPr>
          <p:nvPr/>
        </p:nvCxnSpPr>
        <p:spPr>
          <a:xfrm>
            <a:off x="3548106" y="4217543"/>
            <a:ext cx="542069"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611" name="Oval 610">
            <a:extLst>
              <a:ext uri="{FF2B5EF4-FFF2-40B4-BE49-F238E27FC236}">
                <a16:creationId xmlns:a16="http://schemas.microsoft.com/office/drawing/2014/main" id="{62E34A9D-3F70-044A-BC7B-9D46E3C3DC78}"/>
              </a:ext>
            </a:extLst>
          </p:cNvPr>
          <p:cNvSpPr/>
          <p:nvPr/>
        </p:nvSpPr>
        <p:spPr>
          <a:xfrm>
            <a:off x="3662944" y="2240854"/>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cxnSp>
        <p:nvCxnSpPr>
          <p:cNvPr id="612" name="Straight Connector 611">
            <a:extLst>
              <a:ext uri="{FF2B5EF4-FFF2-40B4-BE49-F238E27FC236}">
                <a16:creationId xmlns:a16="http://schemas.microsoft.com/office/drawing/2014/main" id="{F0250F89-237C-A04E-8011-A00D8C8BA838}"/>
              </a:ext>
            </a:extLst>
          </p:cNvPr>
          <p:cNvCxnSpPr>
            <a:cxnSpLocks/>
          </p:cNvCxnSpPr>
          <p:nvPr/>
        </p:nvCxnSpPr>
        <p:spPr>
          <a:xfrm flipV="1">
            <a:off x="3119530" y="2264678"/>
            <a:ext cx="570052" cy="638"/>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616" name="Text Box 6">
            <a:extLst>
              <a:ext uri="{FF2B5EF4-FFF2-40B4-BE49-F238E27FC236}">
                <a16:creationId xmlns:a16="http://schemas.microsoft.com/office/drawing/2014/main" id="{CEDDCF0B-7EBB-3C4D-A9C0-34D43D0AE46E}"/>
              </a:ext>
            </a:extLst>
          </p:cNvPr>
          <p:cNvSpPr txBox="1">
            <a:spLocks noChangeArrowheads="1"/>
          </p:cNvSpPr>
          <p:nvPr/>
        </p:nvSpPr>
        <p:spPr bwMode="auto">
          <a:xfrm>
            <a:off x="5436096" y="4212986"/>
            <a:ext cx="583704" cy="242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ИНДИЯ</a:t>
            </a:r>
            <a:endParaRPr lang="en-US" sz="1400" b="1" baseline="-25000" dirty="0">
              <a:ln w="3175">
                <a:noFill/>
              </a:ln>
              <a:solidFill>
                <a:schemeClr val="tx2"/>
              </a:solidFill>
              <a:latin typeface="Arial Narrow" pitchFamily="34" charset="0"/>
            </a:endParaRPr>
          </a:p>
        </p:txBody>
      </p:sp>
      <p:cxnSp>
        <p:nvCxnSpPr>
          <p:cNvPr id="618" name="Straight Connector 617">
            <a:extLst>
              <a:ext uri="{FF2B5EF4-FFF2-40B4-BE49-F238E27FC236}">
                <a16:creationId xmlns:a16="http://schemas.microsoft.com/office/drawing/2014/main" id="{6555B091-FDEF-8342-A197-AFAD61DECAD4}"/>
              </a:ext>
            </a:extLst>
          </p:cNvPr>
          <p:cNvCxnSpPr>
            <a:cxnSpLocks/>
          </p:cNvCxnSpPr>
          <p:nvPr/>
        </p:nvCxnSpPr>
        <p:spPr>
          <a:xfrm>
            <a:off x="5641293" y="4217543"/>
            <a:ext cx="380947"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E07CE2C3-55B1-ED48-84DA-AAEFFBFB81C1}"/>
              </a:ext>
            </a:extLst>
          </p:cNvPr>
          <p:cNvCxnSpPr>
            <a:cxnSpLocks/>
          </p:cNvCxnSpPr>
          <p:nvPr/>
        </p:nvCxnSpPr>
        <p:spPr>
          <a:xfrm>
            <a:off x="5814865" y="2723989"/>
            <a:ext cx="5967" cy="149894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620" name="Oval 619">
            <a:extLst>
              <a:ext uri="{FF2B5EF4-FFF2-40B4-BE49-F238E27FC236}">
                <a16:creationId xmlns:a16="http://schemas.microsoft.com/office/drawing/2014/main" id="{62E34A9D-3F70-044A-BC7B-9D46E3C3DC78}"/>
              </a:ext>
            </a:extLst>
          </p:cNvPr>
          <p:cNvSpPr/>
          <p:nvPr/>
        </p:nvSpPr>
        <p:spPr>
          <a:xfrm>
            <a:off x="5793606" y="2702730"/>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21" name="Text Box 6">
            <a:extLst>
              <a:ext uri="{FF2B5EF4-FFF2-40B4-BE49-F238E27FC236}">
                <a16:creationId xmlns:a16="http://schemas.microsoft.com/office/drawing/2014/main" id="{353D409F-5D8C-024E-926F-41CCB5F01724}"/>
              </a:ext>
            </a:extLst>
          </p:cNvPr>
          <p:cNvSpPr txBox="1">
            <a:spLocks noChangeArrowheads="1"/>
          </p:cNvSpPr>
          <p:nvPr/>
        </p:nvSpPr>
        <p:spPr bwMode="auto">
          <a:xfrm>
            <a:off x="6156949" y="995624"/>
            <a:ext cx="743823" cy="17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defRPr sz="2200">
                <a:solidFill>
                  <a:srgbClr val="887D75"/>
                </a:solidFill>
                <a:latin typeface="Franklin Gothic Medium" pitchFamily="34" charset="0"/>
              </a:defRPr>
            </a:lvl1pPr>
            <a:lvl2pPr marL="742950" indent="-285750" eaLnBrk="0" hangingPunct="0">
              <a:defRPr sz="2200">
                <a:solidFill>
                  <a:srgbClr val="887D75"/>
                </a:solidFill>
                <a:latin typeface="Franklin Gothic Medium" pitchFamily="34" charset="0"/>
              </a:defRPr>
            </a:lvl2pPr>
            <a:lvl3pPr marL="1143000" indent="-228600" eaLnBrk="0" hangingPunct="0">
              <a:defRPr sz="2200">
                <a:solidFill>
                  <a:srgbClr val="887D75"/>
                </a:solidFill>
                <a:latin typeface="Franklin Gothic Medium" pitchFamily="34" charset="0"/>
              </a:defRPr>
            </a:lvl3pPr>
            <a:lvl4pPr marL="1600200" indent="-228600" eaLnBrk="0" hangingPunct="0">
              <a:defRPr sz="2200">
                <a:solidFill>
                  <a:srgbClr val="887D75"/>
                </a:solidFill>
                <a:latin typeface="Franklin Gothic Medium" pitchFamily="34" charset="0"/>
              </a:defRPr>
            </a:lvl4pPr>
            <a:lvl5pPr marL="2057400" indent="-228600" eaLnBrk="0" hangingPunct="0">
              <a:defRPr sz="2200">
                <a:solidFill>
                  <a:srgbClr val="887D75"/>
                </a:solidFill>
                <a:latin typeface="Franklin Gothic Medium" pitchFamily="34" charset="0"/>
              </a:defRPr>
            </a:lvl5pPr>
            <a:lvl6pPr marL="2514600" indent="-228600" eaLnBrk="0" fontAlgn="base" hangingPunct="0">
              <a:spcBef>
                <a:spcPct val="0"/>
              </a:spcBef>
              <a:spcAft>
                <a:spcPct val="0"/>
              </a:spcAft>
              <a:defRPr sz="2200">
                <a:solidFill>
                  <a:srgbClr val="887D75"/>
                </a:solidFill>
                <a:latin typeface="Franklin Gothic Medium" pitchFamily="34" charset="0"/>
              </a:defRPr>
            </a:lvl6pPr>
            <a:lvl7pPr marL="2971800" indent="-228600" eaLnBrk="0" fontAlgn="base" hangingPunct="0">
              <a:spcBef>
                <a:spcPct val="0"/>
              </a:spcBef>
              <a:spcAft>
                <a:spcPct val="0"/>
              </a:spcAft>
              <a:defRPr sz="2200">
                <a:solidFill>
                  <a:srgbClr val="887D75"/>
                </a:solidFill>
                <a:latin typeface="Franklin Gothic Medium" pitchFamily="34" charset="0"/>
              </a:defRPr>
            </a:lvl7pPr>
            <a:lvl8pPr marL="3429000" indent="-228600" eaLnBrk="0" fontAlgn="base" hangingPunct="0">
              <a:spcBef>
                <a:spcPct val="0"/>
              </a:spcBef>
              <a:spcAft>
                <a:spcPct val="0"/>
              </a:spcAft>
              <a:defRPr sz="2200">
                <a:solidFill>
                  <a:srgbClr val="887D75"/>
                </a:solidFill>
                <a:latin typeface="Franklin Gothic Medium" pitchFamily="34" charset="0"/>
              </a:defRPr>
            </a:lvl8pPr>
            <a:lvl9pPr marL="3886200" indent="-228600" eaLnBrk="0" fontAlgn="base" hangingPunct="0">
              <a:spcBef>
                <a:spcPct val="0"/>
              </a:spcBef>
              <a:spcAft>
                <a:spcPct val="0"/>
              </a:spcAft>
              <a:defRPr sz="2200">
                <a:solidFill>
                  <a:srgbClr val="887D75"/>
                </a:solidFill>
                <a:latin typeface="Franklin Gothic Medium" pitchFamily="34" charset="0"/>
              </a:defRPr>
            </a:lvl9pPr>
          </a:lstStyle>
          <a:p>
            <a:pPr algn="ctr" defTabSz="457200" eaLnBrk="1" hangingPunct="1">
              <a:spcBef>
                <a:spcPct val="50000"/>
              </a:spcBef>
            </a:pPr>
            <a:r>
              <a:rPr lang="bg-BG" sz="1400" b="1" baseline="-25000" dirty="0" smtClean="0">
                <a:ln w="3175">
                  <a:noFill/>
                </a:ln>
                <a:solidFill>
                  <a:schemeClr val="tx2"/>
                </a:solidFill>
                <a:latin typeface="Arial Narrow" pitchFamily="34" charset="0"/>
              </a:rPr>
              <a:t>КИТАЙ</a:t>
            </a:r>
            <a:endParaRPr lang="en-US" sz="1400" b="1" baseline="-25000" dirty="0">
              <a:ln w="3175">
                <a:noFill/>
              </a:ln>
              <a:solidFill>
                <a:schemeClr val="tx2"/>
              </a:solidFill>
              <a:latin typeface="Arial Narrow" pitchFamily="34" charset="0"/>
            </a:endParaRPr>
          </a:p>
        </p:txBody>
      </p:sp>
      <p:cxnSp>
        <p:nvCxnSpPr>
          <p:cNvPr id="622" name="Straight Connector 621">
            <a:extLst>
              <a:ext uri="{FF2B5EF4-FFF2-40B4-BE49-F238E27FC236}">
                <a16:creationId xmlns:a16="http://schemas.microsoft.com/office/drawing/2014/main" id="{F0250F89-237C-A04E-8011-A00D8C8BA838}"/>
              </a:ext>
            </a:extLst>
          </p:cNvPr>
          <p:cNvCxnSpPr>
            <a:cxnSpLocks/>
          </p:cNvCxnSpPr>
          <p:nvPr/>
        </p:nvCxnSpPr>
        <p:spPr>
          <a:xfrm>
            <a:off x="6307862" y="1186834"/>
            <a:ext cx="550919" cy="0"/>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623" name="Straight Connector 622">
            <a:extLst>
              <a:ext uri="{FF2B5EF4-FFF2-40B4-BE49-F238E27FC236}">
                <a16:creationId xmlns:a16="http://schemas.microsoft.com/office/drawing/2014/main" id="{E8A31FEF-8016-9341-930E-278E52768EDD}"/>
              </a:ext>
            </a:extLst>
          </p:cNvPr>
          <p:cNvCxnSpPr>
            <a:cxnSpLocks/>
          </p:cNvCxnSpPr>
          <p:nvPr/>
        </p:nvCxnSpPr>
        <p:spPr>
          <a:xfrm>
            <a:off x="6607017" y="1171748"/>
            <a:ext cx="1" cy="1277448"/>
          </a:xfrm>
          <a:prstGeom prst="line">
            <a:avLst/>
          </a:prstGeom>
          <a:ln>
            <a:solidFill>
              <a:srgbClr val="BBB0A6"/>
            </a:solidFill>
          </a:ln>
        </p:spPr>
        <p:style>
          <a:lnRef idx="1">
            <a:schemeClr val="accent1"/>
          </a:lnRef>
          <a:fillRef idx="0">
            <a:schemeClr val="accent1"/>
          </a:fillRef>
          <a:effectRef idx="0">
            <a:schemeClr val="accent1"/>
          </a:effectRef>
          <a:fontRef idx="minor">
            <a:schemeClr val="tx1"/>
          </a:fontRef>
        </p:style>
      </p:cxnSp>
      <p:sp>
        <p:nvSpPr>
          <p:cNvPr id="625" name="Oval 624">
            <a:extLst>
              <a:ext uri="{FF2B5EF4-FFF2-40B4-BE49-F238E27FC236}">
                <a16:creationId xmlns:a16="http://schemas.microsoft.com/office/drawing/2014/main" id="{62E34A9D-3F70-044A-BC7B-9D46E3C3DC78}"/>
              </a:ext>
            </a:extLst>
          </p:cNvPr>
          <p:cNvSpPr/>
          <p:nvPr/>
        </p:nvSpPr>
        <p:spPr>
          <a:xfrm>
            <a:off x="6584978" y="2434122"/>
            <a:ext cx="42518" cy="42518"/>
          </a:xfrm>
          <a:prstGeom prst="ellipse">
            <a:avLst/>
          </a:prstGeom>
          <a:solidFill>
            <a:srgbClr val="BBB0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a:p>
        </p:txBody>
      </p:sp>
      <p:sp>
        <p:nvSpPr>
          <p:cNvPr id="639" name="TextBox 638"/>
          <p:cNvSpPr txBox="1"/>
          <p:nvPr/>
        </p:nvSpPr>
        <p:spPr>
          <a:xfrm>
            <a:off x="7703303" y="3516955"/>
            <a:ext cx="1263907" cy="461665"/>
          </a:xfrm>
          <a:prstGeom prst="rect">
            <a:avLst/>
          </a:prstGeom>
          <a:noFill/>
        </p:spPr>
        <p:txBody>
          <a:bodyPr wrap="square" rtlCol="0">
            <a:spAutoFit/>
          </a:bodyPr>
          <a:lstStyle/>
          <a:p>
            <a:pPr algn="r"/>
            <a:r>
              <a:rPr lang="bg-BG" sz="1200" b="1" dirty="0" smtClean="0">
                <a:solidFill>
                  <a:srgbClr val="007987"/>
                </a:solidFill>
              </a:rPr>
              <a:t>Общо служители </a:t>
            </a:r>
            <a:r>
              <a:rPr lang="en-US" sz="1200" b="1" dirty="0" smtClean="0">
                <a:solidFill>
                  <a:srgbClr val="007987"/>
                </a:solidFill>
              </a:rPr>
              <a:t>27,200+</a:t>
            </a:r>
          </a:p>
        </p:txBody>
      </p:sp>
      <p:grpSp>
        <p:nvGrpSpPr>
          <p:cNvPr id="641" name="Group 640"/>
          <p:cNvGrpSpPr/>
          <p:nvPr/>
        </p:nvGrpSpPr>
        <p:grpSpPr>
          <a:xfrm flipV="1">
            <a:off x="223843" y="4803781"/>
            <a:ext cx="117054" cy="117053"/>
            <a:chOff x="1245319" y="2595044"/>
            <a:chExt cx="241609" cy="241606"/>
          </a:xfrm>
        </p:grpSpPr>
        <p:sp>
          <p:nvSpPr>
            <p:cNvPr id="642" name="Oval 641">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43" name="TextBox 642">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52</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44" name="Group 643"/>
          <p:cNvGrpSpPr/>
          <p:nvPr/>
        </p:nvGrpSpPr>
        <p:grpSpPr>
          <a:xfrm flipV="1">
            <a:off x="1227538" y="3722006"/>
            <a:ext cx="117054" cy="117053"/>
            <a:chOff x="1245319" y="2595044"/>
            <a:chExt cx="241609" cy="241606"/>
          </a:xfrm>
        </p:grpSpPr>
        <p:sp>
          <p:nvSpPr>
            <p:cNvPr id="645" name="Oval 644">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46" name="TextBox 645">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5</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47" name="Group 646"/>
          <p:cNvGrpSpPr/>
          <p:nvPr/>
        </p:nvGrpSpPr>
        <p:grpSpPr>
          <a:xfrm flipV="1">
            <a:off x="1525956" y="3472664"/>
            <a:ext cx="117054" cy="117053"/>
            <a:chOff x="1245319" y="2595044"/>
            <a:chExt cx="241609" cy="241606"/>
          </a:xfrm>
        </p:grpSpPr>
        <p:sp>
          <p:nvSpPr>
            <p:cNvPr id="648" name="Oval 647">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49" name="TextBox 648">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a:solidFill>
                    <a:schemeClr val="bg1"/>
                  </a:solidFill>
                  <a:latin typeface="Arial" panose="020B0604020202020204" pitchFamily="34" charset="0"/>
                  <a:cs typeface="Arial" panose="020B0604020202020204" pitchFamily="34" charset="0"/>
                </a:rPr>
                <a:t>6</a:t>
              </a:r>
            </a:p>
          </p:txBody>
        </p:sp>
      </p:grpSp>
      <p:grpSp>
        <p:nvGrpSpPr>
          <p:cNvPr id="650" name="Group 649"/>
          <p:cNvGrpSpPr/>
          <p:nvPr/>
        </p:nvGrpSpPr>
        <p:grpSpPr>
          <a:xfrm flipV="1">
            <a:off x="3232748" y="4270615"/>
            <a:ext cx="117054" cy="117053"/>
            <a:chOff x="1245319" y="2595044"/>
            <a:chExt cx="241609" cy="241606"/>
          </a:xfrm>
        </p:grpSpPr>
        <p:sp>
          <p:nvSpPr>
            <p:cNvPr id="651" name="Oval 650">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52" name="TextBox 651">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1</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53" name="Group 652"/>
          <p:cNvGrpSpPr/>
          <p:nvPr/>
        </p:nvGrpSpPr>
        <p:grpSpPr>
          <a:xfrm flipV="1">
            <a:off x="3970595" y="4273200"/>
            <a:ext cx="117054" cy="117053"/>
            <a:chOff x="1245319" y="2595044"/>
            <a:chExt cx="241609" cy="241606"/>
          </a:xfrm>
        </p:grpSpPr>
        <p:sp>
          <p:nvSpPr>
            <p:cNvPr id="654" name="Oval 653">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55" name="TextBox 654">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4</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56" name="Group 655"/>
          <p:cNvGrpSpPr/>
          <p:nvPr/>
        </p:nvGrpSpPr>
        <p:grpSpPr>
          <a:xfrm flipV="1">
            <a:off x="5159947" y="4268979"/>
            <a:ext cx="117054" cy="117053"/>
            <a:chOff x="1245319" y="2595044"/>
            <a:chExt cx="241609" cy="241606"/>
          </a:xfrm>
        </p:grpSpPr>
        <p:sp>
          <p:nvSpPr>
            <p:cNvPr id="657" name="Oval 656">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58" name="TextBox 657">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1</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59" name="Group 658"/>
          <p:cNvGrpSpPr/>
          <p:nvPr/>
        </p:nvGrpSpPr>
        <p:grpSpPr>
          <a:xfrm flipV="1">
            <a:off x="6712907" y="1037751"/>
            <a:ext cx="117054" cy="117053"/>
            <a:chOff x="1245319" y="2595044"/>
            <a:chExt cx="241609" cy="241606"/>
          </a:xfrm>
        </p:grpSpPr>
        <p:sp>
          <p:nvSpPr>
            <p:cNvPr id="660" name="Oval 659">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61" name="TextBox 660">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5</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62" name="Group 661"/>
          <p:cNvGrpSpPr/>
          <p:nvPr/>
        </p:nvGrpSpPr>
        <p:grpSpPr>
          <a:xfrm flipV="1">
            <a:off x="5789022" y="1041643"/>
            <a:ext cx="117054" cy="117053"/>
            <a:chOff x="1245319" y="2595044"/>
            <a:chExt cx="241609" cy="241606"/>
          </a:xfrm>
        </p:grpSpPr>
        <p:sp>
          <p:nvSpPr>
            <p:cNvPr id="663" name="Oval 662">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64" name="TextBox 663">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5</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65" name="Group 664"/>
          <p:cNvGrpSpPr/>
          <p:nvPr/>
        </p:nvGrpSpPr>
        <p:grpSpPr>
          <a:xfrm flipV="1">
            <a:off x="4834897" y="1042305"/>
            <a:ext cx="117054" cy="117053"/>
            <a:chOff x="1245319" y="2595044"/>
            <a:chExt cx="241609" cy="241606"/>
          </a:xfrm>
        </p:grpSpPr>
        <p:sp>
          <p:nvSpPr>
            <p:cNvPr id="667" name="Oval 666">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68" name="TextBox 667">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7</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69" name="Group 668"/>
          <p:cNvGrpSpPr/>
          <p:nvPr/>
        </p:nvGrpSpPr>
        <p:grpSpPr>
          <a:xfrm flipV="1">
            <a:off x="4051637" y="1039165"/>
            <a:ext cx="117054" cy="117053"/>
            <a:chOff x="1245319" y="2595044"/>
            <a:chExt cx="241609" cy="241606"/>
          </a:xfrm>
        </p:grpSpPr>
        <p:sp>
          <p:nvSpPr>
            <p:cNvPr id="670" name="Oval 669">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71" name="TextBox 670">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1</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72" name="Group 671"/>
          <p:cNvGrpSpPr/>
          <p:nvPr/>
        </p:nvGrpSpPr>
        <p:grpSpPr>
          <a:xfrm flipV="1">
            <a:off x="2062853" y="1036059"/>
            <a:ext cx="117054" cy="117053"/>
            <a:chOff x="1245319" y="2595044"/>
            <a:chExt cx="241609" cy="241606"/>
          </a:xfrm>
        </p:grpSpPr>
        <p:sp>
          <p:nvSpPr>
            <p:cNvPr id="673" name="Oval 672">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74" name="TextBox 673">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24</a:t>
              </a:r>
              <a:endParaRPr lang="en-US" sz="600" b="1" dirty="0">
                <a:solidFill>
                  <a:schemeClr val="bg1"/>
                </a:solidFill>
                <a:latin typeface="Arial" panose="020B0604020202020204" pitchFamily="34" charset="0"/>
                <a:cs typeface="Arial" panose="020B0604020202020204" pitchFamily="34" charset="0"/>
              </a:endParaRPr>
            </a:p>
          </p:txBody>
        </p:sp>
      </p:grpSp>
      <p:grpSp>
        <p:nvGrpSpPr>
          <p:cNvPr id="666" name="Group 665"/>
          <p:cNvGrpSpPr/>
          <p:nvPr/>
        </p:nvGrpSpPr>
        <p:grpSpPr>
          <a:xfrm flipV="1">
            <a:off x="5925974" y="4270614"/>
            <a:ext cx="117054" cy="117053"/>
            <a:chOff x="1245319" y="2595044"/>
            <a:chExt cx="241609" cy="241606"/>
          </a:xfrm>
        </p:grpSpPr>
        <p:sp>
          <p:nvSpPr>
            <p:cNvPr id="675" name="Oval 674">
              <a:extLst>
                <a:ext uri="{FF2B5EF4-FFF2-40B4-BE49-F238E27FC236}">
                  <a16:creationId xmlns:a16="http://schemas.microsoft.com/office/drawing/2014/main" id="{E3F7B0A6-5F0D-9747-865A-A51729559EAF}"/>
                </a:ext>
              </a:extLst>
            </p:cNvPr>
            <p:cNvSpPr/>
            <p:nvPr/>
          </p:nvSpPr>
          <p:spPr>
            <a:xfrm>
              <a:off x="1245322" y="2595044"/>
              <a:ext cx="241606" cy="241606"/>
            </a:xfrm>
            <a:prstGeom prst="ellipse">
              <a:avLst/>
            </a:prstGeom>
            <a:solidFill>
              <a:schemeClr val="tx2"/>
            </a:solidFill>
            <a:ln w="9525">
              <a:solidFill>
                <a:srgbClr val="BC4E2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676" name="TextBox 675">
              <a:extLst>
                <a:ext uri="{FF2B5EF4-FFF2-40B4-BE49-F238E27FC236}">
                  <a16:creationId xmlns:a16="http://schemas.microsoft.com/office/drawing/2014/main" id="{6D5498E1-96B1-DF49-A60C-13A45189C662}"/>
                </a:ext>
              </a:extLst>
            </p:cNvPr>
            <p:cNvSpPr txBox="1"/>
            <p:nvPr/>
          </p:nvSpPr>
          <p:spPr>
            <a:xfrm rot="10800000">
              <a:off x="1245319" y="2623514"/>
              <a:ext cx="241606" cy="184666"/>
            </a:xfrm>
            <a:prstGeom prst="rect">
              <a:avLst/>
            </a:prstGeom>
            <a:noFill/>
          </p:spPr>
          <p:txBody>
            <a:bodyPr wrap="square" lIns="0" tIns="0" rIns="0" bIns="0" rtlCol="0" anchor="ctr" anchorCtr="0">
              <a:noAutofit/>
            </a:bodyPr>
            <a:lstStyle/>
            <a:p>
              <a:pPr algn="ctr"/>
              <a:r>
                <a:rPr lang="en-US" sz="600" b="1" dirty="0" smtClean="0">
                  <a:solidFill>
                    <a:schemeClr val="bg1"/>
                  </a:solidFill>
                  <a:latin typeface="Arial" panose="020B0604020202020204" pitchFamily="34" charset="0"/>
                  <a:cs typeface="Arial" panose="020B0604020202020204" pitchFamily="34" charset="0"/>
                </a:rPr>
                <a:t>2</a:t>
              </a:r>
              <a:endParaRPr lang="en-US" sz="600" b="1" dirty="0">
                <a:solidFill>
                  <a:schemeClr val="bg1"/>
                </a:solidFill>
                <a:latin typeface="Arial" panose="020B0604020202020204" pitchFamily="34" charset="0"/>
                <a:cs typeface="Arial" panose="020B0604020202020204" pitchFamily="34" charset="0"/>
              </a:endParaRPr>
            </a:p>
          </p:txBody>
        </p:sp>
      </p:grpSp>
      <p:sp>
        <p:nvSpPr>
          <p:cNvPr id="677" name="TextBox 676"/>
          <p:cNvSpPr txBox="1"/>
          <p:nvPr/>
        </p:nvSpPr>
        <p:spPr>
          <a:xfrm>
            <a:off x="6961877" y="3935909"/>
            <a:ext cx="2029723" cy="769441"/>
          </a:xfrm>
          <a:prstGeom prst="rect">
            <a:avLst/>
          </a:prstGeom>
          <a:noFill/>
        </p:spPr>
        <p:txBody>
          <a:bodyPr wrap="none" rtlCol="0">
            <a:spAutoFit/>
          </a:bodyPr>
          <a:lstStyle/>
          <a:p>
            <a:pPr algn="r"/>
            <a:r>
              <a:rPr lang="bg-BG" sz="1100" dirty="0" smtClean="0">
                <a:solidFill>
                  <a:srgbClr val="404040"/>
                </a:solidFill>
                <a:latin typeface="Arial Narrow" pitchFamily="34" charset="0"/>
              </a:rPr>
              <a:t>Производствени предприятия </a:t>
            </a:r>
            <a:r>
              <a:rPr lang="en-CA" sz="1100" dirty="0" smtClean="0">
                <a:solidFill>
                  <a:srgbClr val="404040"/>
                </a:solidFill>
                <a:latin typeface="Arial Narrow" pitchFamily="34" charset="0"/>
              </a:rPr>
              <a:t>(61</a:t>
            </a:r>
            <a:r>
              <a:rPr lang="en-CA" sz="1100" dirty="0">
                <a:solidFill>
                  <a:srgbClr val="404040"/>
                </a:solidFill>
                <a:latin typeface="Arial Narrow" pitchFamily="34" charset="0"/>
              </a:rPr>
              <a:t>)</a:t>
            </a:r>
          </a:p>
          <a:p>
            <a:pPr algn="r"/>
            <a:r>
              <a:rPr lang="bg-BG" sz="1100" dirty="0" smtClean="0">
                <a:solidFill>
                  <a:srgbClr val="404040"/>
                </a:solidFill>
                <a:latin typeface="Arial Narrow" pitchFamily="34" charset="0"/>
              </a:rPr>
              <a:t>Търговски офиси </a:t>
            </a:r>
            <a:r>
              <a:rPr lang="en-US" sz="1100" dirty="0" smtClean="0">
                <a:solidFill>
                  <a:srgbClr val="404040"/>
                </a:solidFill>
                <a:latin typeface="Arial Narrow" pitchFamily="34" charset="0"/>
              </a:rPr>
              <a:t>(25</a:t>
            </a:r>
            <a:r>
              <a:rPr lang="en-US" sz="1100" dirty="0">
                <a:solidFill>
                  <a:srgbClr val="404040"/>
                </a:solidFill>
                <a:latin typeface="Arial Narrow" pitchFamily="34" charset="0"/>
              </a:rPr>
              <a:t>)</a:t>
            </a:r>
          </a:p>
          <a:p>
            <a:pPr algn="r"/>
            <a:r>
              <a:rPr lang="bg-BG" sz="1100" dirty="0" smtClean="0">
                <a:solidFill>
                  <a:srgbClr val="404040"/>
                </a:solidFill>
                <a:latin typeface="Arial Narrow" pitchFamily="34" charset="0"/>
              </a:rPr>
              <a:t>Развойни центрове </a:t>
            </a:r>
            <a:r>
              <a:rPr lang="en-US" sz="1100" dirty="0" smtClean="0">
                <a:solidFill>
                  <a:srgbClr val="404040"/>
                </a:solidFill>
                <a:latin typeface="Arial Narrow" pitchFamily="34" charset="0"/>
              </a:rPr>
              <a:t>(10</a:t>
            </a:r>
            <a:r>
              <a:rPr lang="en-US" sz="1100" dirty="0">
                <a:solidFill>
                  <a:srgbClr val="404040"/>
                </a:solidFill>
                <a:latin typeface="Arial Narrow" pitchFamily="34" charset="0"/>
              </a:rPr>
              <a:t>)</a:t>
            </a:r>
          </a:p>
          <a:p>
            <a:pPr algn="r"/>
            <a:r>
              <a:rPr lang="bg-BG" sz="1100" dirty="0" smtClean="0">
                <a:solidFill>
                  <a:srgbClr val="404040"/>
                </a:solidFill>
                <a:latin typeface="Arial Narrow" pitchFamily="34" charset="0"/>
              </a:rPr>
              <a:t>Помощни съоръжения </a:t>
            </a:r>
            <a:r>
              <a:rPr lang="en-US" sz="1100" dirty="0" smtClean="0">
                <a:solidFill>
                  <a:srgbClr val="404040"/>
                </a:solidFill>
                <a:latin typeface="Arial Narrow" pitchFamily="34" charset="0"/>
              </a:rPr>
              <a:t>(4</a:t>
            </a:r>
            <a:r>
              <a:rPr lang="en-US" sz="1100" dirty="0">
                <a:solidFill>
                  <a:srgbClr val="404040"/>
                </a:solidFill>
                <a:latin typeface="Arial Narrow" pitchFamily="34" charset="0"/>
              </a:rPr>
              <a:t>)</a:t>
            </a:r>
            <a:endParaRPr lang="en-US" sz="1100" dirty="0">
              <a:solidFill>
                <a:srgbClr val="404040"/>
              </a:solidFill>
            </a:endParaRPr>
          </a:p>
        </p:txBody>
      </p:sp>
    </p:spTree>
    <p:extLst>
      <p:ext uri="{BB962C8B-B14F-4D97-AF65-F5344CB8AC3E}">
        <p14:creationId xmlns:p14="http://schemas.microsoft.com/office/powerpoint/2010/main" val="7564850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4164" y="133348"/>
            <a:ext cx="4327835" cy="762001"/>
          </a:xfrm>
        </p:spPr>
        <p:txBody>
          <a:bodyPr>
            <a:normAutofit fontScale="90000"/>
          </a:bodyPr>
          <a:lstStyle/>
          <a:p>
            <a:r>
              <a:rPr lang="bg-BG" dirty="0" smtClean="0"/>
              <a:t>Разнообразни ключови продукти</a:t>
            </a:r>
            <a:endParaRPr lang="en-CA" b="0" dirty="0"/>
          </a:p>
        </p:txBody>
      </p:sp>
      <p:sp>
        <p:nvSpPr>
          <p:cNvPr id="4" name="TextBox 3"/>
          <p:cNvSpPr txBox="1"/>
          <p:nvPr/>
        </p:nvSpPr>
        <p:spPr>
          <a:xfrm>
            <a:off x="152400" y="899160"/>
            <a:ext cx="4221166" cy="369332"/>
          </a:xfrm>
          <a:prstGeom prst="rect">
            <a:avLst/>
          </a:prstGeom>
          <a:noFill/>
        </p:spPr>
        <p:txBody>
          <a:bodyPr wrap="square" rtlCol="0">
            <a:spAutoFit/>
          </a:bodyPr>
          <a:lstStyle/>
          <a:p>
            <a:pPr algn="ctr"/>
            <a:r>
              <a:rPr lang="bg-BG" b="1" dirty="0" smtClean="0">
                <a:solidFill>
                  <a:srgbClr val="BBB0A6"/>
                </a:solidFill>
              </a:rPr>
              <a:t>Индустрия</a:t>
            </a:r>
            <a:endParaRPr lang="en-US" b="1" dirty="0">
              <a:solidFill>
                <a:srgbClr val="BBB0A6"/>
              </a:solidFill>
            </a:endParaRPr>
          </a:p>
        </p:txBody>
      </p:sp>
      <p:sp>
        <p:nvSpPr>
          <p:cNvPr id="44" name="TextBox 43"/>
          <p:cNvSpPr txBox="1"/>
          <p:nvPr/>
        </p:nvSpPr>
        <p:spPr>
          <a:xfrm>
            <a:off x="4646200" y="895350"/>
            <a:ext cx="4279392" cy="369332"/>
          </a:xfrm>
          <a:prstGeom prst="rect">
            <a:avLst/>
          </a:prstGeom>
          <a:noFill/>
        </p:spPr>
        <p:txBody>
          <a:bodyPr wrap="square" rtlCol="0">
            <a:spAutoFit/>
          </a:bodyPr>
          <a:lstStyle/>
          <a:p>
            <a:pPr algn="ctr"/>
            <a:r>
              <a:rPr lang="bg-BG" b="1" dirty="0" smtClean="0">
                <a:solidFill>
                  <a:srgbClr val="BC4E21"/>
                </a:solidFill>
              </a:rPr>
              <a:t>Транспортен сектор</a:t>
            </a:r>
            <a:endParaRPr lang="en-US" b="1" dirty="0">
              <a:solidFill>
                <a:srgbClr val="BC4E21"/>
              </a:solidFill>
            </a:endParaRPr>
          </a:p>
        </p:txBody>
      </p:sp>
      <p:pic>
        <p:nvPicPr>
          <p:cNvPr id="47" name="Picture 4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715235" y="3684659"/>
            <a:ext cx="492026" cy="414379"/>
          </a:xfrm>
          <a:prstGeom prst="rect">
            <a:avLst/>
          </a:prstGeom>
        </p:spPr>
      </p:pic>
      <p:pic>
        <p:nvPicPr>
          <p:cNvPr id="48" name="Picture 4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32444" y="3648467"/>
            <a:ext cx="491803" cy="438455"/>
          </a:xfrm>
          <a:prstGeom prst="rect">
            <a:avLst/>
          </a:prstGeom>
        </p:spPr>
      </p:pic>
      <p:pic>
        <p:nvPicPr>
          <p:cNvPr id="49" name="Picture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96505" y="4015395"/>
            <a:ext cx="778395" cy="518928"/>
          </a:xfrm>
          <a:prstGeom prst="rect">
            <a:avLst/>
          </a:prstGeom>
        </p:spPr>
      </p:pic>
      <p:pic>
        <p:nvPicPr>
          <p:cNvPr id="50" name="Picture 4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4867273" y="4530777"/>
            <a:ext cx="836858" cy="453381"/>
          </a:xfrm>
          <a:prstGeom prst="rect">
            <a:avLst/>
          </a:prstGeom>
        </p:spPr>
      </p:pic>
      <p:pic>
        <p:nvPicPr>
          <p:cNvPr id="51" name="Picture 50"/>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996861" y="4206999"/>
            <a:ext cx="725289" cy="392740"/>
          </a:xfrm>
          <a:prstGeom prst="rect">
            <a:avLst/>
          </a:prstGeom>
        </p:spPr>
      </p:pic>
      <p:pic>
        <p:nvPicPr>
          <p:cNvPr id="52" name="Picture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627387" y="4550841"/>
            <a:ext cx="725289" cy="483526"/>
          </a:xfrm>
          <a:prstGeom prst="rect">
            <a:avLst/>
          </a:prstGeom>
        </p:spPr>
      </p:pic>
      <p:pic>
        <p:nvPicPr>
          <p:cNvPr id="53" name="Picture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29545" y="4534323"/>
            <a:ext cx="726719" cy="483526"/>
          </a:xfrm>
          <a:prstGeom prst="rect">
            <a:avLst/>
          </a:prstGeom>
        </p:spPr>
      </p:pic>
      <p:pic>
        <p:nvPicPr>
          <p:cNvPr id="54" name="Picture 5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816076" y="3593397"/>
            <a:ext cx="926359" cy="617572"/>
          </a:xfrm>
          <a:prstGeom prst="rect">
            <a:avLst/>
          </a:prstGeom>
        </p:spPr>
      </p:pic>
      <p:pic>
        <p:nvPicPr>
          <p:cNvPr id="62" name="Picture 6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86821" y="3888652"/>
            <a:ext cx="762993" cy="610394"/>
          </a:xfrm>
          <a:prstGeom prst="rect">
            <a:avLst/>
          </a:prstGeom>
        </p:spPr>
      </p:pic>
      <p:pic>
        <p:nvPicPr>
          <p:cNvPr id="63" name="Picture 6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220366" y="4412117"/>
            <a:ext cx="783982" cy="527018"/>
          </a:xfrm>
          <a:prstGeom prst="rect">
            <a:avLst/>
          </a:prstGeom>
        </p:spPr>
      </p:pic>
      <p:grpSp>
        <p:nvGrpSpPr>
          <p:cNvPr id="2" name="Group 1"/>
          <p:cNvGrpSpPr/>
          <p:nvPr/>
        </p:nvGrpSpPr>
        <p:grpSpPr>
          <a:xfrm>
            <a:off x="7113034" y="1803532"/>
            <a:ext cx="1627772" cy="1065871"/>
            <a:chOff x="4888007" y="-305682"/>
            <a:chExt cx="1627772" cy="1065871"/>
          </a:xfrm>
        </p:grpSpPr>
        <p:pic>
          <p:nvPicPr>
            <p:cNvPr id="57" name="Picture 2" descr="F:\Photos\Product Photos\GF Products\GF Center Console_no bg.pn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5579508" y="-305682"/>
              <a:ext cx="686714" cy="61001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3" descr="F:\Photos\Product Photos\GF Products\GF IP Beam no bg.pn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rot="21013952">
              <a:off x="5592678" y="63279"/>
              <a:ext cx="923101" cy="69691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F:\Photos\Product Photos\GF Products\federbeinaufnahme AUDI C7 300dpi.tif"/>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888007" y="-243642"/>
              <a:ext cx="540015" cy="455514"/>
            </a:xfrm>
            <a:prstGeom prst="rect">
              <a:avLst/>
            </a:prstGeom>
            <a:noFill/>
            <a:extLst>
              <a:ext uri="{909E8E84-426E-40DD-AFC4-6F175D3DCCD1}">
                <a14:hiddenFill xmlns:a14="http://schemas.microsoft.com/office/drawing/2010/main">
                  <a:solidFill>
                    <a:srgbClr val="FFFFFF"/>
                  </a:solidFill>
                </a14:hiddenFill>
              </a:ext>
            </a:extLst>
          </p:spPr>
        </p:pic>
      </p:grpSp>
      <p:pic>
        <p:nvPicPr>
          <p:cNvPr id="61" name="Picture 60"/>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132413" y="3637078"/>
            <a:ext cx="742361" cy="556771"/>
          </a:xfrm>
          <a:prstGeom prst="rect">
            <a:avLst/>
          </a:prstGeom>
        </p:spPr>
      </p:pic>
      <p:cxnSp>
        <p:nvCxnSpPr>
          <p:cNvPr id="89" name="Straight Connector 88"/>
          <p:cNvCxnSpPr/>
          <p:nvPr/>
        </p:nvCxnSpPr>
        <p:spPr>
          <a:xfrm>
            <a:off x="7549814" y="3628557"/>
            <a:ext cx="0" cy="1381593"/>
          </a:xfrm>
          <a:prstGeom prst="line">
            <a:avLst/>
          </a:prstGeom>
          <a:ln w="12700">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6013578" y="3617196"/>
            <a:ext cx="0" cy="1381593"/>
          </a:xfrm>
          <a:prstGeom prst="line">
            <a:avLst/>
          </a:prstGeom>
          <a:ln w="12700">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6796883" y="1809750"/>
            <a:ext cx="0" cy="1381593"/>
          </a:xfrm>
          <a:prstGeom prst="line">
            <a:avLst/>
          </a:prstGeom>
          <a:ln w="12700">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228600" y="1276350"/>
            <a:ext cx="4144966" cy="0"/>
          </a:xfrm>
          <a:prstGeom prst="line">
            <a:avLst/>
          </a:prstGeom>
          <a:ln w="12700">
            <a:solidFill>
              <a:srgbClr val="BBB0A6"/>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4724400" y="1276350"/>
            <a:ext cx="4144966"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75" name="Picture 2"/>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280660" y="1894238"/>
            <a:ext cx="787638" cy="111151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3497264" y="1706787"/>
            <a:ext cx="919457" cy="1377714"/>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3"/>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1097475" y="1921192"/>
            <a:ext cx="1176367" cy="106814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3"/>
          <p:cNvPicPr>
            <a:picLocks noChangeAspect="1"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2264639" y="1855127"/>
            <a:ext cx="1377853" cy="116550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889049" y="2303045"/>
            <a:ext cx="937870" cy="661098"/>
          </a:xfrm>
          <a:prstGeom prst="rect">
            <a:avLst/>
          </a:prstGeom>
        </p:spPr>
      </p:pic>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34384" y="3649119"/>
            <a:ext cx="1272925" cy="632043"/>
          </a:xfrm>
          <a:prstGeom prst="rect">
            <a:avLst/>
          </a:prstGeom>
        </p:spPr>
      </p:pic>
      <p:pic>
        <p:nvPicPr>
          <p:cNvPr id="10" name="Picture 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414704" y="3562350"/>
            <a:ext cx="1264379" cy="786725"/>
          </a:xfrm>
          <a:prstGeom prst="rect">
            <a:avLst/>
          </a:prstGeom>
        </p:spPr>
      </p:pic>
      <p:pic>
        <p:nvPicPr>
          <p:cNvPr id="11" name="Picture 1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776273" y="3663277"/>
            <a:ext cx="1263922" cy="653870"/>
          </a:xfrm>
          <a:prstGeom prst="rect">
            <a:avLst/>
          </a:prstGeom>
        </p:spPr>
      </p:pic>
      <p:pic>
        <p:nvPicPr>
          <p:cNvPr id="12" name="Picture 1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96926" y="4408839"/>
            <a:ext cx="1399532" cy="53739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279398" y="4189093"/>
            <a:ext cx="1348337" cy="898891"/>
          </a:xfrm>
          <a:prstGeom prst="rect">
            <a:avLst/>
          </a:prstGeom>
        </p:spPr>
      </p:pic>
      <p:pic>
        <p:nvPicPr>
          <p:cNvPr id="59" name="Content Placeholder 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570054" y="2663016"/>
            <a:ext cx="1080663" cy="348712"/>
          </a:xfrm>
          <a:prstGeom prst="rect">
            <a:avLst/>
          </a:prstGeom>
        </p:spPr>
      </p:pic>
      <p:pic>
        <p:nvPicPr>
          <p:cNvPr id="64" name="Picture 3"/>
          <p:cNvPicPr>
            <a:picLocks noChangeAspect="1" noChangeArrowheads="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786644" y="1830349"/>
            <a:ext cx="861510" cy="8181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66"/>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716268" y="2451463"/>
            <a:ext cx="879214" cy="586142"/>
          </a:xfrm>
          <a:prstGeom prst="rect">
            <a:avLst/>
          </a:prstGeom>
        </p:spPr>
      </p:pic>
      <p:pic>
        <p:nvPicPr>
          <p:cNvPr id="72" name="Picture 7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786881" y="1859900"/>
            <a:ext cx="909069" cy="606705"/>
          </a:xfrm>
          <a:prstGeom prst="rect">
            <a:avLst/>
          </a:prstGeom>
        </p:spPr>
      </p:pic>
    </p:spTree>
    <p:extLst>
      <p:ext uri="{BB962C8B-B14F-4D97-AF65-F5344CB8AC3E}">
        <p14:creationId xmlns:p14="http://schemas.microsoft.com/office/powerpoint/2010/main" val="391505828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Група ЛЛМ</a:t>
            </a:r>
            <a:endParaRPr lang="bg-BG" b="0" dirty="0"/>
          </a:p>
        </p:txBody>
      </p:sp>
    </p:spTree>
    <p:extLst>
      <p:ext uri="{BB962C8B-B14F-4D97-AF65-F5344CB8AC3E}">
        <p14:creationId xmlns:p14="http://schemas.microsoft.com/office/powerpoint/2010/main" val="1076310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bg-BG" dirty="0" smtClean="0"/>
              <a:t>Линамар Леки Метали (ЛЛМ) </a:t>
            </a:r>
            <a:endParaRPr lang="bg-BG" b="0" dirty="0"/>
          </a:p>
        </p:txBody>
      </p:sp>
      <p:grpSp>
        <p:nvGrpSpPr>
          <p:cNvPr id="22" name="Group 21"/>
          <p:cNvGrpSpPr/>
          <p:nvPr/>
        </p:nvGrpSpPr>
        <p:grpSpPr>
          <a:xfrm>
            <a:off x="448464" y="1340947"/>
            <a:ext cx="3971136" cy="2339102"/>
            <a:chOff x="228599" y="1261705"/>
            <a:chExt cx="4267201" cy="2339102"/>
          </a:xfrm>
        </p:grpSpPr>
        <p:sp>
          <p:nvSpPr>
            <p:cNvPr id="5" name="Rectangle 4"/>
            <p:cNvSpPr/>
            <p:nvPr/>
          </p:nvSpPr>
          <p:spPr>
            <a:xfrm>
              <a:off x="228599" y="1569482"/>
              <a:ext cx="4267201" cy="2031325"/>
            </a:xfrm>
            <a:prstGeom prst="rect">
              <a:avLst/>
            </a:prstGeom>
            <a:solidFill>
              <a:schemeClr val="bg1">
                <a:lumMod val="95000"/>
              </a:schemeClr>
            </a:solidFill>
            <a:ln>
              <a:solidFill>
                <a:schemeClr val="bg1">
                  <a:lumMod val="85000"/>
                </a:schemeClr>
              </a:solidFill>
            </a:ln>
            <a:effectLst>
              <a:outerShdw blurRad="50800" dist="38100" dir="5400000" algn="t" rotWithShape="0">
                <a:prstClr val="black">
                  <a:alpha val="40000"/>
                </a:prstClr>
              </a:outerShdw>
            </a:effectLst>
          </p:spPr>
          <p:txBody>
            <a:bodyPr wrap="square">
              <a:spAutoFit/>
            </a:bodyPr>
            <a:lstStyle/>
            <a:p>
              <a:pPr indent="0">
                <a:lnSpc>
                  <a:spcPct val="105000"/>
                </a:lnSpc>
              </a:pPr>
              <a:r>
                <a:rPr lang="ru-RU" sz="1200" b="1" dirty="0">
                  <a:solidFill>
                    <a:srgbClr val="404040"/>
                  </a:solidFill>
                </a:rPr>
                <a:t>Специалист в алуминиевите компоненти с висока добавена стойност за автомобилната индустрия</a:t>
              </a:r>
              <a:endParaRPr lang="bg-BG" sz="1200" b="1" dirty="0" smtClean="0">
                <a:solidFill>
                  <a:srgbClr val="404040"/>
                </a:solidFill>
              </a:endParaRPr>
            </a:p>
            <a:p>
              <a:pPr indent="0">
                <a:lnSpc>
                  <a:spcPct val="105000"/>
                </a:lnSpc>
              </a:pPr>
              <a:endParaRPr lang="en-US" sz="1200" b="1" dirty="0">
                <a:solidFill>
                  <a:srgbClr val="404040"/>
                </a:solidFill>
              </a:endParaRPr>
            </a:p>
            <a:p>
              <a:pPr>
                <a:lnSpc>
                  <a:spcPct val="105000"/>
                </a:lnSpc>
              </a:pPr>
              <a:r>
                <a:rPr lang="bg-BG" sz="1200" b="1" dirty="0" smtClean="0">
                  <a:solidFill>
                    <a:srgbClr val="404040"/>
                  </a:solidFill>
                </a:rPr>
                <a:t>Основана</a:t>
              </a:r>
              <a:r>
                <a:rPr lang="en-US" sz="1200" dirty="0" smtClean="0">
                  <a:solidFill>
                    <a:srgbClr val="404040"/>
                  </a:solidFill>
                </a:rPr>
                <a:t>		1894</a:t>
              </a:r>
            </a:p>
            <a:p>
              <a:pPr>
                <a:lnSpc>
                  <a:spcPct val="105000"/>
                </a:lnSpc>
              </a:pPr>
              <a:r>
                <a:rPr lang="bg-BG" sz="1200" b="1" dirty="0" smtClean="0">
                  <a:solidFill>
                    <a:srgbClr val="404040"/>
                  </a:solidFill>
                </a:rPr>
                <a:t>Централа</a:t>
              </a:r>
              <a:r>
                <a:rPr lang="en-US" sz="1200" dirty="0" smtClean="0">
                  <a:solidFill>
                    <a:srgbClr val="404040"/>
                  </a:solidFill>
                </a:rPr>
                <a:t>		</a:t>
              </a:r>
              <a:r>
                <a:rPr lang="bg-BG" sz="1200" dirty="0" smtClean="0">
                  <a:solidFill>
                    <a:srgbClr val="404040"/>
                  </a:solidFill>
                </a:rPr>
                <a:t>Ленвил</a:t>
              </a:r>
              <a:r>
                <a:rPr lang="en-US" sz="1200" dirty="0" smtClean="0">
                  <a:solidFill>
                    <a:srgbClr val="404040"/>
                  </a:solidFill>
                </a:rPr>
                <a:t>, </a:t>
              </a:r>
              <a:r>
                <a:rPr lang="bg-BG" sz="1200" dirty="0" smtClean="0">
                  <a:solidFill>
                    <a:srgbClr val="404040"/>
                  </a:solidFill>
                </a:rPr>
                <a:t>Франция</a:t>
              </a:r>
              <a:endParaRPr lang="en-US" sz="1200" dirty="0" smtClean="0">
                <a:solidFill>
                  <a:srgbClr val="404040"/>
                </a:solidFill>
              </a:endParaRPr>
            </a:p>
            <a:p>
              <a:pPr>
                <a:lnSpc>
                  <a:spcPct val="105000"/>
                </a:lnSpc>
              </a:pPr>
              <a:r>
                <a:rPr lang="bg-BG" sz="1200" b="1" dirty="0" smtClean="0">
                  <a:solidFill>
                    <a:srgbClr val="404040"/>
                  </a:solidFill>
                </a:rPr>
                <a:t>Служители</a:t>
              </a:r>
              <a:r>
                <a:rPr lang="en-US" sz="1200" dirty="0" smtClean="0">
                  <a:solidFill>
                    <a:srgbClr val="404040"/>
                  </a:solidFill>
                </a:rPr>
                <a:t>		4,200 (2018)</a:t>
              </a:r>
            </a:p>
            <a:p>
              <a:pPr>
                <a:lnSpc>
                  <a:spcPct val="105000"/>
                </a:lnSpc>
              </a:pPr>
              <a:r>
                <a:rPr lang="bg-BG" sz="1200" b="1" dirty="0" smtClean="0">
                  <a:solidFill>
                    <a:srgbClr val="404040"/>
                  </a:solidFill>
                </a:rPr>
                <a:t>Тонове алуминий</a:t>
              </a:r>
              <a:r>
                <a:rPr lang="en-US" sz="1200" dirty="0" smtClean="0">
                  <a:solidFill>
                    <a:srgbClr val="404040"/>
                  </a:solidFill>
                </a:rPr>
                <a:t>	88,000 </a:t>
              </a:r>
              <a:r>
                <a:rPr lang="bg-BG" sz="1200" dirty="0" smtClean="0">
                  <a:solidFill>
                    <a:srgbClr val="404040"/>
                  </a:solidFill>
                </a:rPr>
                <a:t>тона</a:t>
              </a:r>
              <a:r>
                <a:rPr lang="en-US" sz="1200" dirty="0" smtClean="0">
                  <a:solidFill>
                    <a:srgbClr val="404040"/>
                  </a:solidFill>
                </a:rPr>
                <a:t> (2018)</a:t>
              </a:r>
            </a:p>
            <a:p>
              <a:pPr>
                <a:lnSpc>
                  <a:spcPct val="105000"/>
                </a:lnSpc>
              </a:pPr>
              <a:r>
                <a:rPr lang="bg-BG" sz="1200" b="1" dirty="0" smtClean="0">
                  <a:solidFill>
                    <a:srgbClr val="404040"/>
                  </a:solidFill>
                </a:rPr>
                <a:t>Технология на леене</a:t>
              </a:r>
              <a:r>
                <a:rPr lang="en-US" sz="1200" dirty="0">
                  <a:solidFill>
                    <a:srgbClr val="404040"/>
                  </a:solidFill>
                </a:rPr>
                <a:t>	GDC, LPDC, HPDC</a:t>
              </a:r>
            </a:p>
            <a:p>
              <a:pPr>
                <a:lnSpc>
                  <a:spcPct val="105000"/>
                </a:lnSpc>
              </a:pPr>
              <a:r>
                <a:rPr lang="bg-BG" sz="1200" b="1" dirty="0" smtClean="0">
                  <a:solidFill>
                    <a:srgbClr val="404040"/>
                  </a:solidFill>
                </a:rPr>
                <a:t>Собственик</a:t>
              </a:r>
              <a:r>
                <a:rPr lang="en-US" sz="1200" dirty="0" smtClean="0">
                  <a:solidFill>
                    <a:srgbClr val="404040"/>
                  </a:solidFill>
                </a:rPr>
                <a:t>		2016 </a:t>
              </a:r>
              <a:r>
                <a:rPr lang="bg-BG" sz="1200" dirty="0" smtClean="0">
                  <a:solidFill>
                    <a:srgbClr val="404040"/>
                  </a:solidFill>
                </a:rPr>
                <a:t>закупена от 			Корпорация Линамар</a:t>
              </a:r>
              <a:endParaRPr lang="en-US" sz="1200" dirty="0">
                <a:solidFill>
                  <a:srgbClr val="404040"/>
                </a:solidFill>
              </a:endParaRPr>
            </a:p>
          </p:txBody>
        </p:sp>
        <p:sp>
          <p:nvSpPr>
            <p:cNvPr id="11" name="TextBox 10"/>
            <p:cNvSpPr txBox="1"/>
            <p:nvPr/>
          </p:nvSpPr>
          <p:spPr>
            <a:xfrm>
              <a:off x="228599" y="1261705"/>
              <a:ext cx="4267201" cy="307777"/>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4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bg-BG" dirty="0" smtClean="0"/>
                <a:t>Профил</a:t>
              </a:r>
              <a:endParaRPr lang="bg-BG" dirty="0"/>
            </a:p>
          </p:txBody>
        </p:sp>
      </p:grpSp>
      <p:grpSp>
        <p:nvGrpSpPr>
          <p:cNvPr id="20" name="Group 19"/>
          <p:cNvGrpSpPr/>
          <p:nvPr/>
        </p:nvGrpSpPr>
        <p:grpSpPr>
          <a:xfrm>
            <a:off x="4646645" y="1340946"/>
            <a:ext cx="4040155" cy="2145204"/>
            <a:chOff x="4799045" y="3100284"/>
            <a:chExt cx="4040155" cy="1757466"/>
          </a:xfrm>
        </p:grpSpPr>
        <p:sp>
          <p:nvSpPr>
            <p:cNvPr id="14" name="Rectangle 13"/>
            <p:cNvSpPr/>
            <p:nvPr/>
          </p:nvSpPr>
          <p:spPr>
            <a:xfrm>
              <a:off x="4802124" y="3398282"/>
              <a:ext cx="4037076" cy="1459468"/>
            </a:xfrm>
            <a:prstGeom prst="rect">
              <a:avLst/>
            </a:prstGeom>
            <a:solidFill>
              <a:srgbClr val="F2F2F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 name="Rectangle 6"/>
            <p:cNvSpPr/>
            <p:nvPr/>
          </p:nvSpPr>
          <p:spPr>
            <a:xfrm>
              <a:off x="5185775" y="3486162"/>
              <a:ext cx="975360" cy="304800"/>
            </a:xfrm>
            <a:prstGeom prst="rect">
              <a:avLst/>
            </a:prstGeom>
            <a:solidFill>
              <a:schemeClr val="bg1">
                <a:lumMod val="95000"/>
              </a:schemeClr>
            </a:solidFill>
          </p:spPr>
          <p:txBody>
            <a:bodyPr lIns="0" tIns="0" rIns="0" bIns="0">
              <a:noAutofit/>
            </a:bodyPr>
            <a:lstStyle/>
            <a:p>
              <a:pPr indent="0" algn="ctr">
                <a:lnSpc>
                  <a:spcPct val="105000"/>
                </a:lnSpc>
              </a:pPr>
              <a:r>
                <a:rPr lang="bg-BG" sz="1100" b="1" dirty="0" smtClean="0">
                  <a:solidFill>
                    <a:srgbClr val="404040"/>
                  </a:solidFill>
                  <a:latin typeface="Arial Narrow"/>
                </a:rPr>
                <a:t>Цилиндрови глави и блокове</a:t>
              </a:r>
              <a:endParaRPr lang="en-US" sz="1100" b="1" dirty="0">
                <a:solidFill>
                  <a:srgbClr val="404040"/>
                </a:solidFill>
                <a:latin typeface="Arial Narrow"/>
              </a:endParaRPr>
            </a:p>
          </p:txBody>
        </p:sp>
        <p:sp>
          <p:nvSpPr>
            <p:cNvPr id="8" name="Rectangle 7"/>
            <p:cNvSpPr/>
            <p:nvPr/>
          </p:nvSpPr>
          <p:spPr>
            <a:xfrm>
              <a:off x="6527614" y="3486162"/>
              <a:ext cx="847344" cy="304800"/>
            </a:xfrm>
            <a:prstGeom prst="rect">
              <a:avLst/>
            </a:prstGeom>
            <a:solidFill>
              <a:schemeClr val="bg1">
                <a:lumMod val="95000"/>
              </a:schemeClr>
            </a:solidFill>
            <a:ln>
              <a:noFill/>
            </a:ln>
          </p:spPr>
          <p:txBody>
            <a:bodyPr lIns="0" tIns="0" rIns="0" bIns="0">
              <a:noAutofit/>
            </a:bodyPr>
            <a:lstStyle/>
            <a:p>
              <a:pPr indent="0" algn="ctr">
                <a:lnSpc>
                  <a:spcPct val="105000"/>
                </a:lnSpc>
              </a:pPr>
              <a:r>
                <a:rPr lang="bg-BG" sz="1100" b="1" dirty="0" smtClean="0">
                  <a:solidFill>
                    <a:srgbClr val="404040"/>
                  </a:solidFill>
                  <a:latin typeface="Arial Narrow"/>
                </a:rPr>
                <a:t>Турбо</a:t>
              </a:r>
              <a:r>
                <a:rPr lang="en-US" sz="1100" b="1" dirty="0" smtClean="0">
                  <a:solidFill>
                    <a:srgbClr val="404040"/>
                  </a:solidFill>
                  <a:latin typeface="Arial Narrow"/>
                </a:rPr>
                <a:t>, </a:t>
              </a:r>
              <a:r>
                <a:rPr lang="en-US" sz="1100" b="1" dirty="0">
                  <a:solidFill>
                    <a:srgbClr val="404040"/>
                  </a:solidFill>
                  <a:latin typeface="Arial Narrow"/>
                </a:rPr>
                <a:t>EGR &amp; </a:t>
              </a:r>
              <a:r>
                <a:rPr lang="bg-BG" sz="1100" b="1" dirty="0" smtClean="0">
                  <a:solidFill>
                    <a:srgbClr val="404040"/>
                  </a:solidFill>
                  <a:latin typeface="Arial Narrow"/>
                </a:rPr>
                <a:t>трансмисии</a:t>
              </a:r>
              <a:endParaRPr lang="en-US" sz="1100" b="1" dirty="0">
                <a:solidFill>
                  <a:srgbClr val="404040"/>
                </a:solidFill>
                <a:latin typeface="Arial Narrow"/>
              </a:endParaRPr>
            </a:p>
          </p:txBody>
        </p:sp>
        <p:sp>
          <p:nvSpPr>
            <p:cNvPr id="9" name="Rectangle 8"/>
            <p:cNvSpPr/>
            <p:nvPr/>
          </p:nvSpPr>
          <p:spPr>
            <a:xfrm>
              <a:off x="7741437" y="3491022"/>
              <a:ext cx="688923" cy="304800"/>
            </a:xfrm>
            <a:prstGeom prst="rect">
              <a:avLst/>
            </a:prstGeom>
            <a:solidFill>
              <a:schemeClr val="bg1">
                <a:lumMod val="95000"/>
              </a:schemeClr>
            </a:solidFill>
            <a:ln>
              <a:noFill/>
            </a:ln>
          </p:spPr>
          <p:txBody>
            <a:bodyPr lIns="0" tIns="0" rIns="0" bIns="0">
              <a:noAutofit/>
            </a:bodyPr>
            <a:lstStyle/>
            <a:p>
              <a:pPr indent="0" algn="ctr">
                <a:lnSpc>
                  <a:spcPct val="105000"/>
                </a:lnSpc>
              </a:pPr>
              <a:r>
                <a:rPr lang="bg-BG" sz="1100" b="1" dirty="0" smtClean="0">
                  <a:solidFill>
                    <a:srgbClr val="404040"/>
                  </a:solidFill>
                  <a:latin typeface="Arial Narrow"/>
                </a:rPr>
                <a:t>Шаси</a:t>
              </a:r>
              <a:r>
                <a:rPr lang="en-US" sz="1100" b="1" dirty="0" smtClean="0">
                  <a:solidFill>
                    <a:srgbClr val="404040"/>
                  </a:solidFill>
                  <a:latin typeface="Arial Narrow"/>
                </a:rPr>
                <a:t> </a:t>
              </a:r>
              <a:r>
                <a:rPr lang="en-US" sz="1100" b="1" dirty="0">
                  <a:solidFill>
                    <a:srgbClr val="404040"/>
                  </a:solidFill>
                  <a:latin typeface="Arial Narrow"/>
                </a:rPr>
                <a:t>&amp; </a:t>
              </a:r>
              <a:r>
                <a:rPr lang="bg-BG" sz="1100" b="1" dirty="0" smtClean="0">
                  <a:solidFill>
                    <a:srgbClr val="404040"/>
                  </a:solidFill>
                  <a:latin typeface="Arial Narrow"/>
                </a:rPr>
                <a:t>Структурни компоненти</a:t>
              </a:r>
              <a:endParaRPr lang="en-US" sz="1100" b="1" dirty="0">
                <a:solidFill>
                  <a:srgbClr val="404040"/>
                </a:solidFill>
                <a:latin typeface="Arial Narrow"/>
              </a:endParaRPr>
            </a:p>
          </p:txBody>
        </p:sp>
        <p:sp>
          <p:nvSpPr>
            <p:cNvPr id="12" name="TextBox 11"/>
            <p:cNvSpPr txBox="1"/>
            <p:nvPr/>
          </p:nvSpPr>
          <p:spPr>
            <a:xfrm>
              <a:off x="4799045" y="3100284"/>
              <a:ext cx="4037076" cy="307777"/>
            </a:xfrm>
            <a:prstGeom prst="rect">
              <a:avLst/>
            </a:prstGeom>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4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bg-BG" dirty="0" smtClean="0"/>
                <a:t>Продуктови семейства</a:t>
              </a:r>
              <a:endParaRPr lang="bg-BG" dirty="0"/>
            </a:p>
          </p:txBody>
        </p:sp>
        <p:pic>
          <p:nvPicPr>
            <p:cNvPr id="13" name="Picture 12"/>
            <p:cNvPicPr>
              <a:picLocks noChangeAspect="1"/>
            </p:cNvPicPr>
            <p:nvPr/>
          </p:nvPicPr>
          <p:blipFill>
            <a:blip r:embed="rId2"/>
            <a:stretch>
              <a:fillRect/>
            </a:stretch>
          </p:blipFill>
          <p:spPr>
            <a:xfrm>
              <a:off x="5029200" y="3943350"/>
              <a:ext cx="3648343" cy="704344"/>
            </a:xfrm>
            <a:prstGeom prst="rect">
              <a:avLst/>
            </a:prstGeom>
          </p:spPr>
        </p:pic>
      </p:grpSp>
    </p:spTree>
    <p:extLst>
      <p:ext uri="{BB962C8B-B14F-4D97-AF65-F5344CB8AC3E}">
        <p14:creationId xmlns:p14="http://schemas.microsoft.com/office/powerpoint/2010/main" val="40290698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bg-BG" dirty="0" smtClean="0"/>
              <a:t>ЛЛМ – Глобален отпечатък</a:t>
            </a:r>
            <a:endParaRPr lang="bg-BG" b="0" dirty="0"/>
          </a:p>
        </p:txBody>
      </p:sp>
      <p:grpSp>
        <p:nvGrpSpPr>
          <p:cNvPr id="5" name="Group 4"/>
          <p:cNvGrpSpPr/>
          <p:nvPr/>
        </p:nvGrpSpPr>
        <p:grpSpPr>
          <a:xfrm>
            <a:off x="342899" y="971550"/>
            <a:ext cx="8458200" cy="3920649"/>
            <a:chOff x="342899" y="971550"/>
            <a:chExt cx="8458200" cy="3920649"/>
          </a:xfrm>
        </p:grpSpPr>
        <p:pic>
          <p:nvPicPr>
            <p:cNvPr id="4" name="Picture 3"/>
            <p:cNvPicPr>
              <a:picLocks noChangeAspect="1"/>
            </p:cNvPicPr>
            <p:nvPr/>
          </p:nvPicPr>
          <p:blipFill>
            <a:blip r:embed="rId2"/>
            <a:stretch>
              <a:fillRect/>
            </a:stretch>
          </p:blipFill>
          <p:spPr>
            <a:xfrm>
              <a:off x="342899" y="971550"/>
              <a:ext cx="8458200" cy="3920649"/>
            </a:xfrm>
            <a:prstGeom prst="rect">
              <a:avLst/>
            </a:prstGeom>
          </p:spPr>
        </p:pic>
        <p:sp>
          <p:nvSpPr>
            <p:cNvPr id="2" name="Rectangle 1"/>
            <p:cNvSpPr/>
            <p:nvPr/>
          </p:nvSpPr>
          <p:spPr>
            <a:xfrm>
              <a:off x="685800" y="4248150"/>
              <a:ext cx="4038600" cy="63746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bg-BG" sz="1200" dirty="0" smtClean="0">
                  <a:solidFill>
                    <a:srgbClr val="0070C0"/>
                  </a:solidFill>
                </a:rPr>
                <a:t>Завод за леене под висока налягане</a:t>
              </a:r>
            </a:p>
            <a:p>
              <a:r>
                <a:rPr lang="bg-BG" sz="1200" dirty="0">
                  <a:solidFill>
                    <a:srgbClr val="BC4E21"/>
                  </a:solidFill>
                </a:rPr>
                <a:t>Завод за </a:t>
              </a:r>
              <a:r>
                <a:rPr lang="bg-BG" sz="1200" dirty="0" smtClean="0">
                  <a:solidFill>
                    <a:srgbClr val="BC4E21"/>
                  </a:solidFill>
                </a:rPr>
                <a:t>гравитационно леене и </a:t>
              </a:r>
              <a:r>
                <a:rPr lang="ru-RU" sz="1200" dirty="0" smtClean="0">
                  <a:solidFill>
                    <a:srgbClr val="BC4E21"/>
                  </a:solidFill>
                </a:rPr>
                <a:t>за леене </a:t>
              </a:r>
              <a:r>
                <a:rPr lang="ru-RU" sz="1200" dirty="0">
                  <a:solidFill>
                    <a:srgbClr val="BC4E21"/>
                  </a:solidFill>
                </a:rPr>
                <a:t>под </a:t>
              </a:r>
              <a:r>
                <a:rPr lang="ru-RU" sz="1200" dirty="0" smtClean="0">
                  <a:solidFill>
                    <a:srgbClr val="BC4E21"/>
                  </a:solidFill>
                </a:rPr>
                <a:t>нисока </a:t>
              </a:r>
              <a:r>
                <a:rPr lang="ru-RU" sz="1200" dirty="0">
                  <a:solidFill>
                    <a:srgbClr val="BC4E21"/>
                  </a:solidFill>
                </a:rPr>
                <a:t>налягане</a:t>
              </a:r>
              <a:r>
                <a:rPr lang="bg-BG" sz="1200" dirty="0" smtClean="0">
                  <a:solidFill>
                    <a:srgbClr val="BC4E21"/>
                  </a:solidFill>
                </a:rPr>
                <a:t> </a:t>
              </a:r>
            </a:p>
            <a:p>
              <a:r>
                <a:rPr lang="bg-BG" sz="1200" dirty="0" smtClean="0">
                  <a:solidFill>
                    <a:schemeClr val="tx1"/>
                  </a:solidFill>
                </a:rPr>
                <a:t>Търговско представителство</a:t>
              </a:r>
            </a:p>
            <a:p>
              <a:endParaRPr lang="bg-BG" sz="1200" dirty="0">
                <a:solidFill>
                  <a:srgbClr val="0070C0"/>
                </a:solidFill>
              </a:endParaRPr>
            </a:p>
          </p:txBody>
        </p:sp>
      </p:grpSp>
    </p:spTree>
    <p:extLst>
      <p:ext uri="{BB962C8B-B14F-4D97-AF65-F5344CB8AC3E}">
        <p14:creationId xmlns:p14="http://schemas.microsoft.com/office/powerpoint/2010/main" val="40855136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bg-BG" dirty="0" smtClean="0"/>
              <a:t>ЛЛМ - Русе</a:t>
            </a:r>
            <a:endParaRPr lang="bg-BG" b="0" dirty="0"/>
          </a:p>
        </p:txBody>
      </p:sp>
    </p:spTree>
    <p:extLst>
      <p:ext uri="{BB962C8B-B14F-4D97-AF65-F5344CB8AC3E}">
        <p14:creationId xmlns:p14="http://schemas.microsoft.com/office/powerpoint/2010/main" val="25878299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heme/theme1.xml><?xml version="1.0" encoding="utf-8"?>
<a:theme xmlns:a="http://schemas.openxmlformats.org/drawingml/2006/main" name="Linamar Template">
  <a:themeElements>
    <a:clrScheme name="Linamar Colours">
      <a:dk1>
        <a:srgbClr val="404040"/>
      </a:dk1>
      <a:lt1>
        <a:srgbClr val="FFFFFF"/>
      </a:lt1>
      <a:dk2>
        <a:srgbClr val="BC4E21"/>
      </a:dk2>
      <a:lt2>
        <a:srgbClr val="FFFFFF"/>
      </a:lt2>
      <a:accent1>
        <a:srgbClr val="BC4E21"/>
      </a:accent1>
      <a:accent2>
        <a:srgbClr val="007987"/>
      </a:accent2>
      <a:accent3>
        <a:srgbClr val="899639"/>
      </a:accent3>
      <a:accent4>
        <a:srgbClr val="D7D134"/>
      </a:accent4>
      <a:accent5>
        <a:srgbClr val="D8D8D8"/>
      </a:accent5>
      <a:accent6>
        <a:srgbClr val="FFFFFF"/>
      </a:accent6>
      <a:hlink>
        <a:srgbClr val="BC4E21"/>
      </a:hlink>
      <a:folHlink>
        <a:srgbClr val="404040"/>
      </a:folHlink>
    </a:clrScheme>
    <a:fontScheme name="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Linamar Template">
  <a:themeElements>
    <a:clrScheme name="Linamar Colours">
      <a:dk1>
        <a:srgbClr val="404040"/>
      </a:dk1>
      <a:lt1>
        <a:srgbClr val="FFFFFF"/>
      </a:lt1>
      <a:dk2>
        <a:srgbClr val="BC4E21"/>
      </a:dk2>
      <a:lt2>
        <a:srgbClr val="FFFFFF"/>
      </a:lt2>
      <a:accent1>
        <a:srgbClr val="BC4E21"/>
      </a:accent1>
      <a:accent2>
        <a:srgbClr val="007987"/>
      </a:accent2>
      <a:accent3>
        <a:srgbClr val="899639"/>
      </a:accent3>
      <a:accent4>
        <a:srgbClr val="D7D134"/>
      </a:accent4>
      <a:accent5>
        <a:srgbClr val="D8D8D8"/>
      </a:accent5>
      <a:accent6>
        <a:srgbClr val="FFFFFF"/>
      </a:accent6>
      <a:hlink>
        <a:srgbClr val="BC4E21"/>
      </a:hlink>
      <a:folHlink>
        <a:srgbClr val="404040"/>
      </a:folHlink>
    </a:clrScheme>
    <a:fontScheme name="Arial 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_dlc_DocId xmlns="73c6a9f0-5026-4a16-83bc-39644e0e64f3">N64WC64HNMQH-2012-756</_dlc_DocId>
    <_dlc_DocIdUrl xmlns="73c6a9f0-5026-4a16-83bc-39644e0e64f3">
      <Url>http://linus/marketing_resources/_layouts/15/DocIdRedir.aspx?ID=N64WC64HNMQH-2012-756</Url>
      <Description>N64WC64HNMQH-2012-756</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5907F94FD3D31545B17FB189167481BC" ma:contentTypeVersion="4" ma:contentTypeDescription="Create a new document." ma:contentTypeScope="" ma:versionID="80ae03fa96c3c61b509513f3ebaaf7d0">
  <xsd:schema xmlns:xsd="http://www.w3.org/2001/XMLSchema" xmlns:xs="http://www.w3.org/2001/XMLSchema" xmlns:p="http://schemas.microsoft.com/office/2006/metadata/properties" xmlns:ns2="73c6a9f0-5026-4a16-83bc-39644e0e64f3" targetNamespace="http://schemas.microsoft.com/office/2006/metadata/properties" ma:root="true" ma:fieldsID="c161dfa32634640b25eaa5d86b08334c" ns2:_="">
    <xsd:import namespace="73c6a9f0-5026-4a16-83bc-39644e0e64f3"/>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c6a9f0-5026-4a16-83bc-39644e0e64f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625C77-DFA0-48F2-8AD0-67AAC8FA1B2B}">
  <ds:schemaRefs>
    <ds:schemaRef ds:uri="http://schemas.microsoft.com/sharepoint/v3/contenttype/forms"/>
  </ds:schemaRefs>
</ds:datastoreItem>
</file>

<file path=customXml/itemProps2.xml><?xml version="1.0" encoding="utf-8"?>
<ds:datastoreItem xmlns:ds="http://schemas.openxmlformats.org/officeDocument/2006/customXml" ds:itemID="{80364A52-6FDB-4573-907E-613D7761DDDA}">
  <ds:schemaRefs>
    <ds:schemaRef ds:uri="http://schemas.microsoft.com/office/2006/documentManagement/types"/>
    <ds:schemaRef ds:uri="http://purl.org/dc/terms/"/>
    <ds:schemaRef ds:uri="73c6a9f0-5026-4a16-83bc-39644e0e64f3"/>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B140994-3A32-4E55-8FCB-91BAF6911684}">
  <ds:schemaRefs>
    <ds:schemaRef ds:uri="http://schemas.microsoft.com/sharepoint/events"/>
  </ds:schemaRefs>
</ds:datastoreItem>
</file>

<file path=customXml/itemProps4.xml><?xml version="1.0" encoding="utf-8"?>
<ds:datastoreItem xmlns:ds="http://schemas.openxmlformats.org/officeDocument/2006/customXml" ds:itemID="{180C13B6-825B-4411-8EAB-4C8C099A01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c6a9f0-5026-4a16-83bc-39644e0e64f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184</TotalTime>
  <Words>1121</Words>
  <Application>Microsoft Office PowerPoint</Application>
  <PresentationFormat>On-screen Show (16:9)</PresentationFormat>
  <Paragraphs>209</Paragraphs>
  <Slides>36</Slides>
  <Notes>3</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6</vt:i4>
      </vt:variant>
    </vt:vector>
  </HeadingPairs>
  <TitlesOfParts>
    <vt:vector size="44" baseType="lpstr">
      <vt:lpstr>Arial</vt:lpstr>
      <vt:lpstr>Arial Narrow</vt:lpstr>
      <vt:lpstr>Calibri</vt:lpstr>
      <vt:lpstr>Rockwell</vt:lpstr>
      <vt:lpstr>Tahoma</vt:lpstr>
      <vt:lpstr>Wingdings</vt:lpstr>
      <vt:lpstr>Linamar Template</vt:lpstr>
      <vt:lpstr>6_Linamar Template</vt:lpstr>
      <vt:lpstr>Лорето Айбанез Управител</vt:lpstr>
      <vt:lpstr>PowerPoint Presentation</vt:lpstr>
      <vt:lpstr>Линамар глобален преглед</vt:lpstr>
      <vt:lpstr>Глобален отпечатък</vt:lpstr>
      <vt:lpstr>Разнообразни ключови продукти</vt:lpstr>
      <vt:lpstr>Група ЛЛМ</vt:lpstr>
      <vt:lpstr>Линамар Леки Метали (ЛЛМ) </vt:lpstr>
      <vt:lpstr>ЛЛМ – Глобален отпечатък</vt:lpstr>
      <vt:lpstr>ЛЛМ - Русе</vt:lpstr>
      <vt:lpstr>Нашия завод</vt:lpstr>
      <vt:lpstr>Нашите продукти</vt:lpstr>
      <vt:lpstr>Клиентска мрежа</vt:lpstr>
      <vt:lpstr>PowerPoint Presentation</vt:lpstr>
      <vt:lpstr>Стандарти на световно ниво &amp; Награди</vt:lpstr>
      <vt:lpstr>Екологични инициативи</vt:lpstr>
      <vt:lpstr>Политика по околната среда</vt:lpstr>
      <vt:lpstr>Инвестиционна програма по окона среда</vt:lpstr>
      <vt:lpstr>Био филтри</vt:lpstr>
      <vt:lpstr>Вентури скрубери</vt:lpstr>
      <vt:lpstr>Мултициклон</vt:lpstr>
      <vt:lpstr>Модификация на аспирационната система на каруселите</vt:lpstr>
      <vt:lpstr>Увеличен поток на машините за изработка на сърцa</vt:lpstr>
      <vt:lpstr>Трошачи на сърца</vt:lpstr>
      <vt:lpstr>Гореща полимеризация</vt:lpstr>
      <vt:lpstr>46 бр. Адиабатни охладители</vt:lpstr>
      <vt:lpstr>Нови машини за производство на сърца - неорганични</vt:lpstr>
      <vt:lpstr>PowerPoint Presentation</vt:lpstr>
      <vt:lpstr>Система за непрекъснат мониторинг</vt:lpstr>
      <vt:lpstr>Инвестиционна програма по околна среда</vt:lpstr>
      <vt:lpstr>PowerPoint Presentation</vt:lpstr>
      <vt:lpstr>ПРИЛОЖЕНИЯ</vt:lpstr>
      <vt:lpstr>Източници на ООС в Русе, съгл. писмо от РИОСВ</vt:lpstr>
      <vt:lpstr>Карта на всички точки на измервания в региона</vt:lpstr>
      <vt:lpstr>Бензол в околната среда - лимит за градски зони 5 µg / m3</vt:lpstr>
      <vt:lpstr>Крезол в околната среда - Ограничение за градски райони 5 µg / m3</vt:lpstr>
      <vt:lpstr>Измервания чрез системата за мониторинг</vt:lpstr>
    </vt:vector>
  </TitlesOfParts>
  <Company>Linamar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an MacIvor</dc:creator>
  <cp:lastModifiedBy>Zornitsa Veselinova</cp:lastModifiedBy>
  <cp:revision>515</cp:revision>
  <cp:lastPrinted>2020-06-25T12:40:30Z</cp:lastPrinted>
  <dcterms:created xsi:type="dcterms:W3CDTF">2013-12-18T14:51:03Z</dcterms:created>
  <dcterms:modified xsi:type="dcterms:W3CDTF">2020-06-25T12:4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07F94FD3D31545B17FB189167481BC</vt:lpwstr>
  </property>
  <property fmtid="{D5CDD505-2E9C-101B-9397-08002B2CF9AE}" pid="3" name="_dlc_DocIdItemGuid">
    <vt:lpwstr>147667be-fbfc-49c8-9635-fa83ba64a1ae</vt:lpwstr>
  </property>
</Properties>
</file>